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theme/theme2.xml" ContentType="application/vnd.openxmlformats-officedocument.theme+xml"/>
  <Override PartName="/ppt/tags/tag1.xml" ContentType="application/vnd.openxmlformats-officedocument.presentationml.tags+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theme/themeOverride1.xml" ContentType="application/vnd.openxmlformats-officedocument.themeOverride+xml"/>
  <Override PartName="/ppt/notesSlides/notesSlide6.xml" ContentType="application/vnd.openxmlformats-officedocument.presentationml.notesSlid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changesInfos/changesInfo1.xml" ContentType="application/vnd.ms-powerpoint.changesinfo+xml"/>
  <Override PartName="/ppt/revisionInfo.xml" ContentType="application/vnd.ms-powerpoint.revisioninfo+xml"/>
  <Override PartName="/ppt/authors.xml" ContentType="application/vnd.ms-powerpoint.author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Override PartName="/docMetadata/LabelInfo.xml" ContentType="application/vnd.ms-office.classificationlabel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5" Type="http://schemas.microsoft.com/office/2020/02/relationships/classificationlabels" Target="docMetadata/LabelInfo.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4"/>
    <p:sldMasterId id="2147483660" r:id="rId5"/>
  </p:sldMasterIdLst>
  <p:notesMasterIdLst>
    <p:notesMasterId r:id="rId32"/>
  </p:notesMasterIdLst>
  <p:sldIdLst>
    <p:sldId id="2147470840" r:id="rId6"/>
    <p:sldId id="2147471696" r:id="rId7"/>
    <p:sldId id="2147471480" r:id="rId8"/>
    <p:sldId id="2147471697" r:id="rId9"/>
    <p:sldId id="2147471509" r:id="rId10"/>
    <p:sldId id="2147471503" r:id="rId11"/>
    <p:sldId id="2147471504" r:id="rId12"/>
    <p:sldId id="2147471532" r:id="rId13"/>
    <p:sldId id="2147471495" r:id="rId14"/>
    <p:sldId id="2147471520" r:id="rId15"/>
    <p:sldId id="2147471514" r:id="rId16"/>
    <p:sldId id="2147471516" r:id="rId17"/>
    <p:sldId id="2147471518" r:id="rId18"/>
    <p:sldId id="2147471500" r:id="rId19"/>
    <p:sldId id="2147471522" r:id="rId20"/>
    <p:sldId id="2147471527" r:id="rId21"/>
    <p:sldId id="2147471528" r:id="rId22"/>
    <p:sldId id="2147471533" r:id="rId23"/>
    <p:sldId id="261" r:id="rId24"/>
    <p:sldId id="262" r:id="rId25"/>
    <p:sldId id="2147471478" r:id="rId26"/>
    <p:sldId id="2147471694" r:id="rId27"/>
    <p:sldId id="2147471534" r:id="rId28"/>
    <p:sldId id="2147471530" r:id="rId29"/>
    <p:sldId id="2147471695" r:id="rId30"/>
    <p:sldId id="1449" r:id="rId31"/>
  </p:sldIdLst>
  <p:sldSz cx="12192000" cy="6858000"/>
  <p:notesSz cx="6858000" cy="9144000"/>
  <p:defaultText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ext>
  </p:extLst>
</p:presentation>
</file>

<file path=ppt/authors.xml><?xml version="1.0" encoding="utf-8"?>
<p188:authorLst xmlns:a="http://schemas.openxmlformats.org/drawingml/2006/main" xmlns:r="http://schemas.openxmlformats.org/officeDocument/2006/relationships" xmlns:p188="http://schemas.microsoft.com/office/powerpoint/2018/8/main">
  <p188:author id="{BF29F5DE-8BED-4D65-DBD6-826D8403B44E}" name="Rossi, Giacomo" initials="RG" userId="S::giacomorossi1@KPMG.IT::5422c964-e557-4b58-b804-75090d2ecc3a" providerId="AD"/>
</p188: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09D9B"/>
    <a:srgbClr val="F2F2F2"/>
    <a:srgbClr val="DAE3F3"/>
    <a:srgbClr val="81B2DF"/>
    <a:srgbClr val="FFFFFF"/>
    <a:srgbClr val="DAF0F6"/>
    <a:srgbClr val="2E75B6"/>
    <a:srgbClr val="A6DAE9"/>
    <a:srgbClr val="2D2F45"/>
    <a:srgbClr val="2C5871"/>
  </p:clrMru>
  <p:extLst>
    <p:ext uri="{E76CE94A-603C-4142-B9EB-6D1370010A27}">
      <p14:discardImageEditData xmlns:p14="http://schemas.microsoft.com/office/powerpoint/2010/main" val="0"/>
    </p:ext>
    <p:ext uri="{D31A062A-798A-4329-ABDD-BBA856620510}">
      <p14:defaultImageDpi xmlns:p14="http://schemas.microsoft.com/office/powerpoint/2010/main" val="32767"/>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692429D4-F6E8-44DC-9AA1-537C99C455EB}" v="3" dt="2023-11-13T14:23:31.743"/>
  </p1510:revLst>
</p1510:revInfo>
</file>

<file path=ppt/tableStyles.xml><?xml version="1.0" encoding="utf-8"?>
<a:tblStyleLst xmlns:a="http://schemas.openxmlformats.org/drawingml/2006/main" def="{5C22544A-7EE6-4342-B048-85BDC9FD1C3A}">
  <a:tblStyle styleId="{5C22544A-7EE6-4342-B048-85BDC9FD1C3A}" styleName="Stile medio 2 - Colore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00A15C55-8517-42AA-B614-E9B94910E393}" styleName="Stile medio 2 - Colore 4">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4">
              <a:tint val="20000"/>
            </a:schemeClr>
          </a:solidFill>
        </a:fill>
      </a:tcStyle>
    </a:wholeTbl>
    <a:band1H>
      <a:tcStyle>
        <a:tcBdr/>
        <a:fill>
          <a:solidFill>
            <a:schemeClr val="accent4">
              <a:tint val="40000"/>
            </a:schemeClr>
          </a:solidFill>
        </a:fill>
      </a:tcStyle>
    </a:band1H>
    <a:band2H>
      <a:tcStyle>
        <a:tcBdr/>
      </a:tcStyle>
    </a:band2H>
    <a:band1V>
      <a:tcStyle>
        <a:tcBdr/>
        <a:fill>
          <a:solidFill>
            <a:schemeClr val="accent4">
              <a:tint val="40000"/>
            </a:schemeClr>
          </a:solidFill>
        </a:fill>
      </a:tcStyle>
    </a:band1V>
    <a:band2V>
      <a:tcStyle>
        <a:tcBdr/>
      </a:tcStyle>
    </a:band2V>
    <a:lastCol>
      <a:tcTxStyle b="on">
        <a:fontRef idx="minor">
          <a:prstClr val="black"/>
        </a:fontRef>
        <a:schemeClr val="lt1"/>
      </a:tcTxStyle>
      <a:tcStyle>
        <a:tcBdr/>
        <a:fill>
          <a:solidFill>
            <a:schemeClr val="accent4"/>
          </a:solidFill>
        </a:fill>
      </a:tcStyle>
    </a:lastCol>
    <a:firstCol>
      <a:tcTxStyle b="on">
        <a:fontRef idx="minor">
          <a:prstClr val="black"/>
        </a:fontRef>
        <a:schemeClr val="lt1"/>
      </a:tcTxStyle>
      <a:tcStyle>
        <a:tcBdr/>
        <a:fill>
          <a:solidFill>
            <a:schemeClr val="accent4"/>
          </a:solidFill>
        </a:fill>
      </a:tcStyle>
    </a:firstCol>
    <a:lastRow>
      <a:tcTxStyle b="on">
        <a:fontRef idx="minor">
          <a:prstClr val="black"/>
        </a:fontRef>
        <a:schemeClr val="lt1"/>
      </a:tcTxStyle>
      <a:tcStyle>
        <a:tcBdr>
          <a:top>
            <a:ln w="38100" cmpd="sng">
              <a:solidFill>
                <a:schemeClr val="lt1"/>
              </a:solidFill>
            </a:ln>
          </a:top>
        </a:tcBdr>
        <a:fill>
          <a:solidFill>
            <a:schemeClr val="accent4"/>
          </a:solidFill>
        </a:fill>
      </a:tcStyle>
    </a:lastRow>
    <a:firstRow>
      <a:tcTxStyle b="on">
        <a:fontRef idx="minor">
          <a:prstClr val="black"/>
        </a:fontRef>
        <a:schemeClr val="lt1"/>
      </a:tcTxStyle>
      <a:tcStyle>
        <a:tcBdr>
          <a:bottom>
            <a:ln w="38100" cmpd="sng">
              <a:solidFill>
                <a:schemeClr val="lt1"/>
              </a:solidFill>
            </a:ln>
          </a:bottom>
        </a:tcBdr>
        <a:fill>
          <a:solidFill>
            <a:schemeClr val="accent4"/>
          </a:solidFill>
        </a:fill>
      </a:tcStyle>
    </a:firstRow>
  </a:tblStyle>
  <a:tblStyle styleId="{F5AB1C69-6EDB-4FF4-983F-18BD219EF322}" styleName="Stile medio 2 - Colore 3">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3">
              <a:tint val="20000"/>
            </a:schemeClr>
          </a:solidFill>
        </a:fill>
      </a:tcStyle>
    </a:wholeTbl>
    <a:band1H>
      <a:tcStyle>
        <a:tcBdr/>
        <a:fill>
          <a:solidFill>
            <a:schemeClr val="accent3">
              <a:tint val="40000"/>
            </a:schemeClr>
          </a:solidFill>
        </a:fill>
      </a:tcStyle>
    </a:band1H>
    <a:band2H>
      <a:tcStyle>
        <a:tcBdr/>
      </a:tcStyle>
    </a:band2H>
    <a:band1V>
      <a:tcStyle>
        <a:tcBdr/>
        <a:fill>
          <a:solidFill>
            <a:schemeClr val="accent3">
              <a:tint val="40000"/>
            </a:schemeClr>
          </a:solidFill>
        </a:fill>
      </a:tcStyle>
    </a:band1V>
    <a:band2V>
      <a:tcStyle>
        <a:tcBdr/>
      </a:tcStyle>
    </a:band2V>
    <a:lastCol>
      <a:tcTxStyle b="on">
        <a:fontRef idx="minor">
          <a:prstClr val="black"/>
        </a:fontRef>
        <a:schemeClr val="lt1"/>
      </a:tcTxStyle>
      <a:tcStyle>
        <a:tcBdr/>
        <a:fill>
          <a:solidFill>
            <a:schemeClr val="accent3"/>
          </a:solidFill>
        </a:fill>
      </a:tcStyle>
    </a:lastCol>
    <a:firstCol>
      <a:tcTxStyle b="on">
        <a:fontRef idx="minor">
          <a:prstClr val="black"/>
        </a:fontRef>
        <a:schemeClr val="lt1"/>
      </a:tcTxStyle>
      <a:tcStyle>
        <a:tcBdr/>
        <a:fill>
          <a:solidFill>
            <a:schemeClr val="accent3"/>
          </a:solidFill>
        </a:fill>
      </a:tcStyle>
    </a:firstCol>
    <a:lastRow>
      <a:tcTxStyle b="on">
        <a:fontRef idx="minor">
          <a:prstClr val="black"/>
        </a:fontRef>
        <a:schemeClr val="lt1"/>
      </a:tcTxStyle>
      <a:tcStyle>
        <a:tcBdr>
          <a:top>
            <a:ln w="38100" cmpd="sng">
              <a:solidFill>
                <a:schemeClr val="lt1"/>
              </a:solidFill>
            </a:ln>
          </a:top>
        </a:tcBdr>
        <a:fill>
          <a:solidFill>
            <a:schemeClr val="accent3"/>
          </a:solidFill>
        </a:fill>
      </a:tcStyle>
    </a:lastRow>
    <a:firstRow>
      <a:tcTxStyle b="on">
        <a:fontRef idx="minor">
          <a:prstClr val="black"/>
        </a:fontRef>
        <a:schemeClr val="lt1"/>
      </a:tcTxStyle>
      <a:tcStyle>
        <a:tcBdr>
          <a:bottom>
            <a:ln w="38100" cmpd="sng">
              <a:solidFill>
                <a:schemeClr val="lt1"/>
              </a:solidFill>
            </a:ln>
          </a:bottom>
        </a:tcBdr>
        <a:fill>
          <a:solidFill>
            <a:schemeClr val="accent3"/>
          </a:solidFill>
        </a:fill>
      </a:tcStyle>
    </a:firstRow>
  </a:tblStyle>
  <a:tblStyle styleId="{8799B23B-EC83-4686-B30A-512413B5E67A}" styleName="Stile chiaro 3 - Colore 3">
    <a:wholeTbl>
      <a:tcTxStyle>
        <a:fontRef idx="minor">
          <a:scrgbClr r="0" g="0" b="0"/>
        </a:fontRef>
        <a:schemeClr val="tx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w="12700" cmpd="sng">
              <a:solidFill>
                <a:schemeClr val="accent3"/>
              </a:solidFill>
            </a:ln>
          </a:insideV>
        </a:tcBdr>
        <a:fill>
          <a:noFill/>
        </a:fill>
      </a:tcStyle>
    </a:wholeTbl>
    <a:band1H>
      <a:tcStyle>
        <a:tcBdr/>
        <a:fill>
          <a:solidFill>
            <a:schemeClr val="accent3">
              <a:alpha val="20000"/>
            </a:schemeClr>
          </a:solidFill>
        </a:fill>
      </a:tcStyle>
    </a:band1H>
    <a:band1V>
      <a:tcStyle>
        <a:tcBdr/>
        <a:fill>
          <a:solidFill>
            <a:schemeClr val="accent3">
              <a:alpha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noFill/>
        </a:fill>
      </a:tcStyle>
    </a:lastRow>
    <a:firstRow>
      <a:tcTxStyle b="on"/>
      <a:tcStyle>
        <a:tcBdr>
          <a:bottom>
            <a:ln w="25400" cmpd="sng">
              <a:solidFill>
                <a:schemeClr val="accent3"/>
              </a:solidFill>
            </a:ln>
          </a:bottom>
        </a:tcBdr>
        <a:fill>
          <a:noFill/>
        </a:fill>
      </a:tcStyle>
    </a:firstRow>
  </a:tblStyle>
  <a:tblStyle styleId="{793D81CF-94F2-401A-BA57-92F5A7B2D0C5}" styleName="Stile medio 1">
    <a:wholeTbl>
      <a:tcTxStyle>
        <a:fontRef idx="minor">
          <a:scrgbClr r="0" g="0" b="0"/>
        </a:fontRef>
        <a:schemeClr val="dk1"/>
      </a:tcTxStyle>
      <a:tcStyle>
        <a:tcBdr>
          <a:left>
            <a:ln w="12700" cmpd="sng">
              <a:solidFill>
                <a:schemeClr val="dk1"/>
              </a:solidFill>
            </a:ln>
          </a:left>
          <a:right>
            <a:ln w="12700" cmpd="sng">
              <a:solidFill>
                <a:schemeClr val="dk1"/>
              </a:solidFill>
            </a:ln>
          </a:right>
          <a:top>
            <a:ln w="12700" cmpd="sng">
              <a:solidFill>
                <a:schemeClr val="dk1"/>
              </a:solidFill>
            </a:ln>
          </a:top>
          <a:bottom>
            <a:ln w="12700" cmpd="sng">
              <a:solidFill>
                <a:schemeClr val="dk1"/>
              </a:solidFill>
            </a:ln>
          </a:bottom>
          <a:insideH>
            <a:ln w="12700" cmpd="sng">
              <a:solidFill>
                <a:schemeClr val="dk1"/>
              </a:solidFill>
            </a:ln>
          </a:insideH>
          <a:insideV>
            <a:ln>
              <a:noFill/>
            </a:ln>
          </a:insideV>
        </a:tcBdr>
        <a:fill>
          <a:solidFill>
            <a:schemeClr val="lt1"/>
          </a:solidFill>
        </a:fill>
      </a:tcStyle>
    </a:wholeTbl>
    <a:band1H>
      <a:tcStyle>
        <a:tcBdr/>
        <a:fill>
          <a:solidFill>
            <a:schemeClr val="dk1">
              <a:tint val="20000"/>
            </a:schemeClr>
          </a:solidFill>
        </a:fill>
      </a:tcStyle>
    </a:band1H>
    <a:band1V>
      <a:tcStyle>
        <a:tcBdr/>
        <a:fill>
          <a:solidFill>
            <a:schemeClr val="dk1">
              <a:tint val="20000"/>
            </a:schemeClr>
          </a:solidFill>
        </a:fill>
      </a:tcStyle>
    </a:band1V>
    <a:lastCol>
      <a:tcTxStyle b="on"/>
      <a:tcStyle>
        <a:tcBdr/>
      </a:tcStyle>
    </a:lastCol>
    <a:firstCol>
      <a:tcTxStyle b="on"/>
      <a:tcStyle>
        <a:tcBdr/>
      </a:tcStyle>
    </a:firstCol>
    <a:lastRow>
      <a:tcTxStyle b="on"/>
      <a:tcStyle>
        <a:tcBdr>
          <a:top>
            <a:ln w="50800" cmpd="dbl">
              <a:solidFill>
                <a:schemeClr val="dk1"/>
              </a:solidFill>
            </a:ln>
          </a:top>
        </a:tcBdr>
        <a:fill>
          <a:solidFill>
            <a:schemeClr val="lt1"/>
          </a:solidFill>
        </a:fill>
      </a:tcStyle>
    </a:lastRow>
    <a:firstRow>
      <a:tcTxStyle b="on">
        <a:fontRef idx="minor">
          <a:scrgbClr r="0" g="0" b="0"/>
        </a:fontRef>
        <a:schemeClr val="lt1"/>
      </a:tcTxStyle>
      <a:tcStyle>
        <a:tcBdr/>
        <a:fill>
          <a:solidFill>
            <a:schemeClr val="dk1"/>
          </a:solidFill>
        </a:fill>
      </a:tcStyle>
    </a:firstRow>
  </a:tblStyle>
  <a:tblStyle styleId="{E8B1032C-EA38-4F05-BA0D-38AFFFC7BED3}" styleName="Stile chiaro 3 - Colore 6">
    <a:wholeTbl>
      <a:tcTxStyle>
        <a:fontRef idx="minor">
          <a:scrgbClr r="0" g="0" b="0"/>
        </a:fontRef>
        <a:schemeClr val="tx1"/>
      </a:tcTxStyle>
      <a:tcStyle>
        <a:tcBdr>
          <a:left>
            <a:ln w="12700" cmpd="sng">
              <a:solidFill>
                <a:schemeClr val="accent6"/>
              </a:solidFill>
            </a:ln>
          </a:left>
          <a:right>
            <a:ln w="12700" cmpd="sng">
              <a:solidFill>
                <a:schemeClr val="accent6"/>
              </a:solidFill>
            </a:ln>
          </a:right>
          <a:top>
            <a:ln w="12700" cmpd="sng">
              <a:solidFill>
                <a:schemeClr val="accent6"/>
              </a:solidFill>
            </a:ln>
          </a:top>
          <a:bottom>
            <a:ln w="12700" cmpd="sng">
              <a:solidFill>
                <a:schemeClr val="accent6"/>
              </a:solidFill>
            </a:ln>
          </a:bottom>
          <a:insideH>
            <a:ln w="12700" cmpd="sng">
              <a:solidFill>
                <a:schemeClr val="accent6"/>
              </a:solidFill>
            </a:ln>
          </a:insideH>
          <a:insideV>
            <a:ln w="12700" cmpd="sng">
              <a:solidFill>
                <a:schemeClr val="accent6"/>
              </a:solidFill>
            </a:ln>
          </a:insideV>
        </a:tcBdr>
        <a:fill>
          <a:noFill/>
        </a:fill>
      </a:tcStyle>
    </a:wholeTbl>
    <a:band1H>
      <a:tcStyle>
        <a:tcBdr/>
        <a:fill>
          <a:solidFill>
            <a:schemeClr val="accent6">
              <a:alpha val="20000"/>
            </a:schemeClr>
          </a:solidFill>
        </a:fill>
      </a:tcStyle>
    </a:band1H>
    <a:band1V>
      <a:tcStyle>
        <a:tcBdr/>
        <a:fill>
          <a:solidFill>
            <a:schemeClr val="accent6">
              <a:alpha val="20000"/>
            </a:schemeClr>
          </a:solidFill>
        </a:fill>
      </a:tcStyle>
    </a:band1V>
    <a:lastCol>
      <a:tcTxStyle b="on"/>
      <a:tcStyle>
        <a:tcBdr/>
      </a:tcStyle>
    </a:lastCol>
    <a:firstCol>
      <a:tcTxStyle b="on"/>
      <a:tcStyle>
        <a:tcBdr/>
      </a:tcStyle>
    </a:firstCol>
    <a:lastRow>
      <a:tcTxStyle b="on"/>
      <a:tcStyle>
        <a:tcBdr>
          <a:top>
            <a:ln w="50800" cmpd="dbl">
              <a:solidFill>
                <a:schemeClr val="accent6"/>
              </a:solidFill>
            </a:ln>
          </a:top>
        </a:tcBdr>
        <a:fill>
          <a:noFill/>
        </a:fill>
      </a:tcStyle>
    </a:lastRow>
    <a:firstRow>
      <a:tcTxStyle b="on"/>
      <a:tcStyle>
        <a:tcBdr>
          <a:bottom>
            <a:ln w="25400" cmpd="sng">
              <a:solidFill>
                <a:schemeClr val="accent6"/>
              </a:solidFill>
            </a:ln>
          </a:bottom>
        </a:tcBdr>
        <a:fill>
          <a:noFill/>
        </a:fill>
      </a:tcStyle>
    </a:firstRow>
  </a:tblStyle>
  <a:tblStyle styleId="{BDBED569-4797-4DF1-A0F4-6AAB3CD982D8}" styleName="Stile chiaro 3 - Colore 5">
    <a:wholeTbl>
      <a:tcTxStyle>
        <a:fontRef idx="minor">
          <a:scrgbClr r="0" g="0" b="0"/>
        </a:fontRef>
        <a:schemeClr val="tx1"/>
      </a:tcTxStyle>
      <a:tcStyle>
        <a:tcBdr>
          <a:left>
            <a:ln w="12700" cmpd="sng">
              <a:solidFill>
                <a:schemeClr val="accent5"/>
              </a:solidFill>
            </a:ln>
          </a:left>
          <a:right>
            <a:ln w="12700" cmpd="sng">
              <a:solidFill>
                <a:schemeClr val="accent5"/>
              </a:solidFill>
            </a:ln>
          </a:right>
          <a:top>
            <a:ln w="12700" cmpd="sng">
              <a:solidFill>
                <a:schemeClr val="accent5"/>
              </a:solidFill>
            </a:ln>
          </a:top>
          <a:bottom>
            <a:ln w="12700" cmpd="sng">
              <a:solidFill>
                <a:schemeClr val="accent5"/>
              </a:solidFill>
            </a:ln>
          </a:bottom>
          <a:insideH>
            <a:ln w="12700" cmpd="sng">
              <a:solidFill>
                <a:schemeClr val="accent5"/>
              </a:solidFill>
            </a:ln>
          </a:insideH>
          <a:insideV>
            <a:ln w="12700" cmpd="sng">
              <a:solidFill>
                <a:schemeClr val="accent5"/>
              </a:solidFill>
            </a:ln>
          </a:insideV>
        </a:tcBdr>
        <a:fill>
          <a:noFill/>
        </a:fill>
      </a:tcStyle>
    </a:wholeTbl>
    <a:band1H>
      <a:tcStyle>
        <a:tcBdr/>
        <a:fill>
          <a:solidFill>
            <a:schemeClr val="accent5">
              <a:alpha val="20000"/>
            </a:schemeClr>
          </a:solidFill>
        </a:fill>
      </a:tcStyle>
    </a:band1H>
    <a:band1V>
      <a:tcStyle>
        <a:tcBdr/>
        <a:fill>
          <a:solidFill>
            <a:schemeClr val="accent5">
              <a:alpha val="20000"/>
            </a:schemeClr>
          </a:solidFill>
        </a:fill>
      </a:tcStyle>
    </a:band1V>
    <a:lastCol>
      <a:tcTxStyle b="on"/>
      <a:tcStyle>
        <a:tcBdr/>
      </a:tcStyle>
    </a:lastCol>
    <a:firstCol>
      <a:tcTxStyle b="on"/>
      <a:tcStyle>
        <a:tcBdr/>
      </a:tcStyle>
    </a:firstCol>
    <a:lastRow>
      <a:tcTxStyle b="on"/>
      <a:tcStyle>
        <a:tcBdr>
          <a:top>
            <a:ln w="50800" cmpd="dbl">
              <a:solidFill>
                <a:schemeClr val="accent5"/>
              </a:solidFill>
            </a:ln>
          </a:top>
        </a:tcBdr>
        <a:fill>
          <a:noFill/>
        </a:fill>
      </a:tcStyle>
    </a:lastRow>
    <a:firstRow>
      <a:tcTxStyle b="on"/>
      <a:tcStyle>
        <a:tcBdr>
          <a:bottom>
            <a:ln w="25400" cmpd="sng">
              <a:solidFill>
                <a:schemeClr val="accent5"/>
              </a:solidFill>
            </a:ln>
          </a:bottom>
        </a:tcBdr>
        <a:fill>
          <a:no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5620"/>
    <p:restoredTop sz="94660"/>
  </p:normalViewPr>
  <p:slideViewPr>
    <p:cSldViewPr snapToGrid="0">
      <p:cViewPr varScale="1">
        <p:scale>
          <a:sx n="61" d="100"/>
          <a:sy n="61" d="100"/>
        </p:scale>
        <p:origin x="788" y="44"/>
      </p:cViewPr>
      <p:guideLst/>
    </p:cSldViewPr>
  </p:slideViewPr>
  <p:notesTextViewPr>
    <p:cViewPr>
      <p:scale>
        <a:sx n="1" d="1"/>
        <a:sy n="1" d="1"/>
      </p:scale>
      <p:origin x="0" y="0"/>
    </p:cViewPr>
  </p:notesText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 Target="slides/slide8.xml"/><Relationship Id="rId18" Type="http://schemas.openxmlformats.org/officeDocument/2006/relationships/slide" Target="slides/slide13.xml"/><Relationship Id="rId26" Type="http://schemas.openxmlformats.org/officeDocument/2006/relationships/slide" Target="slides/slide21.xml"/><Relationship Id="rId39" Type="http://schemas.microsoft.com/office/2018/10/relationships/authors" Target="authors.xml"/><Relationship Id="rId21" Type="http://schemas.openxmlformats.org/officeDocument/2006/relationships/slide" Target="slides/slide16.xml"/><Relationship Id="rId34" Type="http://schemas.openxmlformats.org/officeDocument/2006/relationships/viewProps" Target="viewProps.xml"/><Relationship Id="rId7" Type="http://schemas.openxmlformats.org/officeDocument/2006/relationships/slide" Target="slides/slide2.xml"/><Relationship Id="rId12" Type="http://schemas.openxmlformats.org/officeDocument/2006/relationships/slide" Target="slides/slide7.xml"/><Relationship Id="rId17" Type="http://schemas.openxmlformats.org/officeDocument/2006/relationships/slide" Target="slides/slide12.xml"/><Relationship Id="rId25" Type="http://schemas.openxmlformats.org/officeDocument/2006/relationships/slide" Target="slides/slide20.xml"/><Relationship Id="rId33" Type="http://schemas.openxmlformats.org/officeDocument/2006/relationships/presProps" Target="presProps.xml"/><Relationship Id="rId38" Type="http://schemas.microsoft.com/office/2015/10/relationships/revisionInfo" Target="revisionInfo.xml"/><Relationship Id="rId2" Type="http://schemas.openxmlformats.org/officeDocument/2006/relationships/customXml" Target="../customXml/item2.xml"/><Relationship Id="rId16" Type="http://schemas.openxmlformats.org/officeDocument/2006/relationships/slide" Target="slides/slide11.xml"/><Relationship Id="rId20" Type="http://schemas.openxmlformats.org/officeDocument/2006/relationships/slide" Target="slides/slide15.xml"/><Relationship Id="rId29" Type="http://schemas.openxmlformats.org/officeDocument/2006/relationships/slide" Target="slides/slide24.xml"/><Relationship Id="rId1" Type="http://schemas.openxmlformats.org/officeDocument/2006/relationships/customXml" Target="../customXml/item1.xml"/><Relationship Id="rId6" Type="http://schemas.openxmlformats.org/officeDocument/2006/relationships/slide" Target="slides/slide1.xml"/><Relationship Id="rId11" Type="http://schemas.openxmlformats.org/officeDocument/2006/relationships/slide" Target="slides/slide6.xml"/><Relationship Id="rId24" Type="http://schemas.openxmlformats.org/officeDocument/2006/relationships/slide" Target="slides/slide19.xml"/><Relationship Id="rId32" Type="http://schemas.openxmlformats.org/officeDocument/2006/relationships/notesMaster" Target="notesMasters/notesMaster1.xml"/><Relationship Id="rId37" Type="http://schemas.microsoft.com/office/2016/11/relationships/changesInfo" Target="changesInfos/changesInfo1.xml"/><Relationship Id="rId5" Type="http://schemas.openxmlformats.org/officeDocument/2006/relationships/slideMaster" Target="slideMasters/slideMaster2.xml"/><Relationship Id="rId15" Type="http://schemas.openxmlformats.org/officeDocument/2006/relationships/slide" Target="slides/slide10.xml"/><Relationship Id="rId23" Type="http://schemas.openxmlformats.org/officeDocument/2006/relationships/slide" Target="slides/slide18.xml"/><Relationship Id="rId28" Type="http://schemas.openxmlformats.org/officeDocument/2006/relationships/slide" Target="slides/slide23.xml"/><Relationship Id="rId36" Type="http://schemas.openxmlformats.org/officeDocument/2006/relationships/tableStyles" Target="tableStyles.xml"/><Relationship Id="rId10" Type="http://schemas.openxmlformats.org/officeDocument/2006/relationships/slide" Target="slides/slide5.xml"/><Relationship Id="rId19" Type="http://schemas.openxmlformats.org/officeDocument/2006/relationships/slide" Target="slides/slide14.xml"/><Relationship Id="rId31" Type="http://schemas.openxmlformats.org/officeDocument/2006/relationships/slide" Target="slides/slide26.xml"/><Relationship Id="rId4" Type="http://schemas.openxmlformats.org/officeDocument/2006/relationships/slideMaster" Target="slideMasters/slideMaster1.xml"/><Relationship Id="rId9" Type="http://schemas.openxmlformats.org/officeDocument/2006/relationships/slide" Target="slides/slide4.xml"/><Relationship Id="rId14" Type="http://schemas.openxmlformats.org/officeDocument/2006/relationships/slide" Target="slides/slide9.xml"/><Relationship Id="rId22" Type="http://schemas.openxmlformats.org/officeDocument/2006/relationships/slide" Target="slides/slide17.xml"/><Relationship Id="rId27" Type="http://schemas.openxmlformats.org/officeDocument/2006/relationships/slide" Target="slides/slide22.xml"/><Relationship Id="rId30" Type="http://schemas.openxmlformats.org/officeDocument/2006/relationships/slide" Target="slides/slide25.xml"/><Relationship Id="rId35" Type="http://schemas.openxmlformats.org/officeDocument/2006/relationships/theme" Target="theme/theme1.xml"/><Relationship Id="rId8" Type="http://schemas.openxmlformats.org/officeDocument/2006/relationships/slide" Target="slides/slide3.xml"/><Relationship Id="rId3" Type="http://schemas.openxmlformats.org/officeDocument/2006/relationships/customXml" Target="../customXml/item3.xml"/></Relationships>
</file>

<file path=ppt/changesInfos/changesInfo1.xml><?xml version="1.0" encoding="utf-8"?>
<pc:chgInfo xmlns:a="http://schemas.openxmlformats.org/drawingml/2006/main" xmlns:r="http://schemas.openxmlformats.org/officeDocument/2006/relationships" xmlns:ac="http://schemas.microsoft.com/office/drawing/2013/main/command" xmlns:pc="http://schemas.microsoft.com/office/powerpoint/2013/main/command">
  <pc:docChgLst>
    <pc:chgData name="Lattanzi, Giulietta" userId="54a216b7-12ce-4e00-8a70-eddffae226a8" providerId="ADAL" clId="{569E0B6C-E3B0-4D29-8371-982B030E4017}"/>
    <pc:docChg chg="undo custSel delSld modSld sldOrd delMainMaster">
      <pc:chgData name="Lattanzi, Giulietta" userId="54a216b7-12ce-4e00-8a70-eddffae226a8" providerId="ADAL" clId="{569E0B6C-E3B0-4D29-8371-982B030E4017}" dt="2023-11-07T10:24:08.631" v="265" actId="478"/>
      <pc:docMkLst>
        <pc:docMk/>
      </pc:docMkLst>
      <pc:sldChg chg="addSp delSp modSp del mod">
        <pc:chgData name="Lattanzi, Giulietta" userId="54a216b7-12ce-4e00-8a70-eddffae226a8" providerId="ADAL" clId="{569E0B6C-E3B0-4D29-8371-982B030E4017}" dt="2023-11-07T10:22:19.507" v="259" actId="2696"/>
        <pc:sldMkLst>
          <pc:docMk/>
          <pc:sldMk cId="3826948897" sldId="2147471494"/>
        </pc:sldMkLst>
        <pc:spChg chg="mod">
          <ac:chgData name="Lattanzi, Giulietta" userId="54a216b7-12ce-4e00-8a70-eddffae226a8" providerId="ADAL" clId="{569E0B6C-E3B0-4D29-8371-982B030E4017}" dt="2023-11-07T10:22:06.391" v="257" actId="164"/>
          <ac:spMkLst>
            <pc:docMk/>
            <pc:sldMk cId="3826948897" sldId="2147471494"/>
            <ac:spMk id="3" creationId="{D531F37A-BEF4-BE06-CB77-6FE38AA8F995}"/>
          </ac:spMkLst>
        </pc:spChg>
        <pc:spChg chg="mod">
          <ac:chgData name="Lattanzi, Giulietta" userId="54a216b7-12ce-4e00-8a70-eddffae226a8" providerId="ADAL" clId="{569E0B6C-E3B0-4D29-8371-982B030E4017}" dt="2023-11-07T10:22:06.391" v="257" actId="164"/>
          <ac:spMkLst>
            <pc:docMk/>
            <pc:sldMk cId="3826948897" sldId="2147471494"/>
            <ac:spMk id="9" creationId="{1EA8F46A-3474-1582-58DF-22969C2E2124}"/>
          </ac:spMkLst>
        </pc:spChg>
        <pc:spChg chg="mod">
          <ac:chgData name="Lattanzi, Giulietta" userId="54a216b7-12ce-4e00-8a70-eddffae226a8" providerId="ADAL" clId="{569E0B6C-E3B0-4D29-8371-982B030E4017}" dt="2023-11-07T10:22:06.391" v="257" actId="164"/>
          <ac:spMkLst>
            <pc:docMk/>
            <pc:sldMk cId="3826948897" sldId="2147471494"/>
            <ac:spMk id="10" creationId="{ACA43351-B2F2-09CF-5BD3-664F377D2C76}"/>
          </ac:spMkLst>
        </pc:spChg>
        <pc:spChg chg="mod">
          <ac:chgData name="Lattanzi, Giulietta" userId="54a216b7-12ce-4e00-8a70-eddffae226a8" providerId="ADAL" clId="{569E0B6C-E3B0-4D29-8371-982B030E4017}" dt="2023-11-07T10:22:06.391" v="257" actId="164"/>
          <ac:spMkLst>
            <pc:docMk/>
            <pc:sldMk cId="3826948897" sldId="2147471494"/>
            <ac:spMk id="11" creationId="{46D456E1-9708-F097-1C09-72971E9679A5}"/>
          </ac:spMkLst>
        </pc:spChg>
        <pc:spChg chg="mod">
          <ac:chgData name="Lattanzi, Giulietta" userId="54a216b7-12ce-4e00-8a70-eddffae226a8" providerId="ADAL" clId="{569E0B6C-E3B0-4D29-8371-982B030E4017}" dt="2023-11-07T10:21:48.698" v="241" actId="164"/>
          <ac:spMkLst>
            <pc:docMk/>
            <pc:sldMk cId="3826948897" sldId="2147471494"/>
            <ac:spMk id="14" creationId="{2A7D76F8-461F-4727-D425-55B7D1D76216}"/>
          </ac:spMkLst>
        </pc:spChg>
        <pc:spChg chg="mod">
          <ac:chgData name="Lattanzi, Giulietta" userId="54a216b7-12ce-4e00-8a70-eddffae226a8" providerId="ADAL" clId="{569E0B6C-E3B0-4D29-8371-982B030E4017}" dt="2023-11-07T10:21:48.698" v="241" actId="164"/>
          <ac:spMkLst>
            <pc:docMk/>
            <pc:sldMk cId="3826948897" sldId="2147471494"/>
            <ac:spMk id="15" creationId="{F8CC64CF-0298-EB55-8B3C-6399027CA23F}"/>
          </ac:spMkLst>
        </pc:spChg>
        <pc:spChg chg="mod">
          <ac:chgData name="Lattanzi, Giulietta" userId="54a216b7-12ce-4e00-8a70-eddffae226a8" providerId="ADAL" clId="{569E0B6C-E3B0-4D29-8371-982B030E4017}" dt="2023-11-07T10:22:06.391" v="257" actId="164"/>
          <ac:spMkLst>
            <pc:docMk/>
            <pc:sldMk cId="3826948897" sldId="2147471494"/>
            <ac:spMk id="18" creationId="{53796337-59EF-5D72-ED8A-392E5ED52872}"/>
          </ac:spMkLst>
        </pc:spChg>
        <pc:spChg chg="mod">
          <ac:chgData name="Lattanzi, Giulietta" userId="54a216b7-12ce-4e00-8a70-eddffae226a8" providerId="ADAL" clId="{569E0B6C-E3B0-4D29-8371-982B030E4017}" dt="2023-11-07T10:22:06.391" v="257" actId="164"/>
          <ac:spMkLst>
            <pc:docMk/>
            <pc:sldMk cId="3826948897" sldId="2147471494"/>
            <ac:spMk id="22" creationId="{2B96AB5C-AD91-07DA-818D-54F37B9C92E9}"/>
          </ac:spMkLst>
        </pc:spChg>
        <pc:spChg chg="mod">
          <ac:chgData name="Lattanzi, Giulietta" userId="54a216b7-12ce-4e00-8a70-eddffae226a8" providerId="ADAL" clId="{569E0B6C-E3B0-4D29-8371-982B030E4017}" dt="2023-11-07T10:21:37.047" v="237"/>
          <ac:spMkLst>
            <pc:docMk/>
            <pc:sldMk cId="3826948897" sldId="2147471494"/>
            <ac:spMk id="26" creationId="{EDDAA236-CE3B-5E17-86DD-1C808E18067B}"/>
          </ac:spMkLst>
        </pc:spChg>
        <pc:spChg chg="mod">
          <ac:chgData name="Lattanzi, Giulietta" userId="54a216b7-12ce-4e00-8a70-eddffae226a8" providerId="ADAL" clId="{569E0B6C-E3B0-4D29-8371-982B030E4017}" dt="2023-11-07T10:21:40.655" v="239" actId="20577"/>
          <ac:spMkLst>
            <pc:docMk/>
            <pc:sldMk cId="3826948897" sldId="2147471494"/>
            <ac:spMk id="27" creationId="{B8548DCF-46E4-2DE1-FAC4-279305FBF9F0}"/>
          </ac:spMkLst>
        </pc:spChg>
        <pc:grpChg chg="add del mod">
          <ac:chgData name="Lattanzi, Giulietta" userId="54a216b7-12ce-4e00-8a70-eddffae226a8" providerId="ADAL" clId="{569E0B6C-E3B0-4D29-8371-982B030E4017}" dt="2023-11-07T10:22:06.391" v="257" actId="164"/>
          <ac:grpSpMkLst>
            <pc:docMk/>
            <pc:sldMk cId="3826948897" sldId="2147471494"/>
            <ac:grpSpMk id="12" creationId="{19929D34-AD32-54A0-E353-C03A3B79EE42}"/>
          </ac:grpSpMkLst>
        </pc:grpChg>
        <pc:grpChg chg="del">
          <ac:chgData name="Lattanzi, Giulietta" userId="54a216b7-12ce-4e00-8a70-eddffae226a8" providerId="ADAL" clId="{569E0B6C-E3B0-4D29-8371-982B030E4017}" dt="2023-11-07T10:21:43.465" v="240" actId="478"/>
          <ac:grpSpMkLst>
            <pc:docMk/>
            <pc:sldMk cId="3826948897" sldId="2147471494"/>
            <ac:grpSpMk id="13" creationId="{D0114387-20D3-6F3E-C0EA-9B79CC6FC38F}"/>
          </ac:grpSpMkLst>
        </pc:grpChg>
        <pc:grpChg chg="add mod">
          <ac:chgData name="Lattanzi, Giulietta" userId="54a216b7-12ce-4e00-8a70-eddffae226a8" providerId="ADAL" clId="{569E0B6C-E3B0-4D29-8371-982B030E4017}" dt="2023-11-07T10:22:06.391" v="257" actId="164"/>
          <ac:grpSpMkLst>
            <pc:docMk/>
            <pc:sldMk cId="3826948897" sldId="2147471494"/>
            <ac:grpSpMk id="17" creationId="{0358EE09-975B-E667-B2E7-3E0303184CE4}"/>
          </ac:grpSpMkLst>
        </pc:grpChg>
        <pc:grpChg chg="add mod">
          <ac:chgData name="Lattanzi, Giulietta" userId="54a216b7-12ce-4e00-8a70-eddffae226a8" providerId="ADAL" clId="{569E0B6C-E3B0-4D29-8371-982B030E4017}" dt="2023-11-07T10:22:06.391" v="257" actId="164"/>
          <ac:grpSpMkLst>
            <pc:docMk/>
            <pc:sldMk cId="3826948897" sldId="2147471494"/>
            <ac:grpSpMk id="19" creationId="{31115AE7-0DB8-54DF-2179-82D79CC15F83}"/>
          </ac:grpSpMkLst>
        </pc:grpChg>
      </pc:sldChg>
      <pc:sldChg chg="modSp mod">
        <pc:chgData name="Lattanzi, Giulietta" userId="54a216b7-12ce-4e00-8a70-eddffae226a8" providerId="ADAL" clId="{569E0B6C-E3B0-4D29-8371-982B030E4017}" dt="2023-11-07T10:16:13.604" v="232" actId="20577"/>
        <pc:sldMkLst>
          <pc:docMk/>
          <pc:sldMk cId="3300857222" sldId="2147471500"/>
        </pc:sldMkLst>
        <pc:spChg chg="mod">
          <ac:chgData name="Lattanzi, Giulietta" userId="54a216b7-12ce-4e00-8a70-eddffae226a8" providerId="ADAL" clId="{569E0B6C-E3B0-4D29-8371-982B030E4017}" dt="2023-11-07T10:16:13.604" v="232" actId="20577"/>
          <ac:spMkLst>
            <pc:docMk/>
            <pc:sldMk cId="3300857222" sldId="2147471500"/>
            <ac:spMk id="8" creationId="{65DC9145-62AA-05FE-F1A0-CA73FF8A3E0B}"/>
          </ac:spMkLst>
        </pc:spChg>
      </pc:sldChg>
      <pc:sldChg chg="addSp delSp modSp mod">
        <pc:chgData name="Lattanzi, Giulietta" userId="54a216b7-12ce-4e00-8a70-eddffae226a8" providerId="ADAL" clId="{569E0B6C-E3B0-4D29-8371-982B030E4017}" dt="2023-11-07T10:22:22.298" v="260" actId="478"/>
        <pc:sldMkLst>
          <pc:docMk/>
          <pc:sldMk cId="3521931156" sldId="2147471504"/>
        </pc:sldMkLst>
        <pc:spChg chg="del">
          <ac:chgData name="Lattanzi, Giulietta" userId="54a216b7-12ce-4e00-8a70-eddffae226a8" providerId="ADAL" clId="{569E0B6C-E3B0-4D29-8371-982B030E4017}" dt="2023-11-07T10:22:22.298" v="260" actId="478"/>
          <ac:spMkLst>
            <pc:docMk/>
            <pc:sldMk cId="3521931156" sldId="2147471504"/>
            <ac:spMk id="7" creationId="{11468CE7-A882-6C07-5348-948A613B9CB2}"/>
          </ac:spMkLst>
        </pc:spChg>
        <pc:picChg chg="mod">
          <ac:chgData name="Lattanzi, Giulietta" userId="54a216b7-12ce-4e00-8a70-eddffae226a8" providerId="ADAL" clId="{569E0B6C-E3B0-4D29-8371-982B030E4017}" dt="2023-11-07T10:22:12.636" v="258" actId="14826"/>
          <ac:picMkLst>
            <pc:docMk/>
            <pc:sldMk cId="3521931156" sldId="2147471504"/>
            <ac:picMk id="9" creationId="{A8A87F10-8CA6-30E5-6679-EBF631C8C03A}"/>
          </ac:picMkLst>
        </pc:picChg>
        <pc:picChg chg="add del mod">
          <ac:chgData name="Lattanzi, Giulietta" userId="54a216b7-12ce-4e00-8a70-eddffae226a8" providerId="ADAL" clId="{569E0B6C-E3B0-4D29-8371-982B030E4017}" dt="2023-11-07T10:19:16.881" v="234" actId="478"/>
          <ac:picMkLst>
            <pc:docMk/>
            <pc:sldMk cId="3521931156" sldId="2147471504"/>
            <ac:picMk id="14" creationId="{B326CFF6-BDC4-0AF8-01B3-AB6025D60730}"/>
          </ac:picMkLst>
        </pc:picChg>
      </pc:sldChg>
      <pc:sldChg chg="modSp mod">
        <pc:chgData name="Lattanzi, Giulietta" userId="54a216b7-12ce-4e00-8a70-eddffae226a8" providerId="ADAL" clId="{569E0B6C-E3B0-4D29-8371-982B030E4017}" dt="2023-11-07T09:58:09.950" v="206" actId="20577"/>
        <pc:sldMkLst>
          <pc:docMk/>
          <pc:sldMk cId="420327124" sldId="2147471518"/>
        </pc:sldMkLst>
        <pc:spChg chg="mod">
          <ac:chgData name="Lattanzi, Giulietta" userId="54a216b7-12ce-4e00-8a70-eddffae226a8" providerId="ADAL" clId="{569E0B6C-E3B0-4D29-8371-982B030E4017}" dt="2023-11-07T09:58:09.950" v="206" actId="20577"/>
          <ac:spMkLst>
            <pc:docMk/>
            <pc:sldMk cId="420327124" sldId="2147471518"/>
            <ac:spMk id="81" creationId="{857BA48E-8023-9F58-DC20-7E6F63F21941}"/>
          </ac:spMkLst>
        </pc:spChg>
      </pc:sldChg>
      <pc:sldChg chg="modSp mod">
        <pc:chgData name="Lattanzi, Giulietta" userId="54a216b7-12ce-4e00-8a70-eddffae226a8" providerId="ADAL" clId="{569E0B6C-E3B0-4D29-8371-982B030E4017}" dt="2023-11-07T10:23:32.223" v="262" actId="123"/>
        <pc:sldMkLst>
          <pc:docMk/>
          <pc:sldMk cId="267750848" sldId="2147471522"/>
        </pc:sldMkLst>
        <pc:spChg chg="mod">
          <ac:chgData name="Lattanzi, Giulietta" userId="54a216b7-12ce-4e00-8a70-eddffae226a8" providerId="ADAL" clId="{569E0B6C-E3B0-4D29-8371-982B030E4017}" dt="2023-11-07T10:23:32.223" v="262" actId="123"/>
          <ac:spMkLst>
            <pc:docMk/>
            <pc:sldMk cId="267750848" sldId="2147471522"/>
            <ac:spMk id="19" creationId="{1FF3A17F-10BE-AECB-62DC-63B9B9701F13}"/>
          </ac:spMkLst>
        </pc:spChg>
      </pc:sldChg>
      <pc:sldChg chg="modSp mod">
        <pc:chgData name="Lattanzi, Giulietta" userId="54a216b7-12ce-4e00-8a70-eddffae226a8" providerId="ADAL" clId="{569E0B6C-E3B0-4D29-8371-982B030E4017}" dt="2023-11-07T10:23:35.587" v="263" actId="123"/>
        <pc:sldMkLst>
          <pc:docMk/>
          <pc:sldMk cId="441648778" sldId="2147471527"/>
        </pc:sldMkLst>
        <pc:spChg chg="mod">
          <ac:chgData name="Lattanzi, Giulietta" userId="54a216b7-12ce-4e00-8a70-eddffae226a8" providerId="ADAL" clId="{569E0B6C-E3B0-4D29-8371-982B030E4017}" dt="2023-11-07T10:23:35.587" v="263" actId="123"/>
          <ac:spMkLst>
            <pc:docMk/>
            <pc:sldMk cId="441648778" sldId="2147471527"/>
            <ac:spMk id="19" creationId="{1FF3A17F-10BE-AECB-62DC-63B9B9701F13}"/>
          </ac:spMkLst>
        </pc:spChg>
      </pc:sldChg>
      <pc:sldChg chg="addSp delSp modSp mod">
        <pc:chgData name="Lattanzi, Giulietta" userId="54a216b7-12ce-4e00-8a70-eddffae226a8" providerId="ADAL" clId="{569E0B6C-E3B0-4D29-8371-982B030E4017}" dt="2023-11-07T10:23:38.262" v="264" actId="123"/>
        <pc:sldMkLst>
          <pc:docMk/>
          <pc:sldMk cId="1353762516" sldId="2147471528"/>
        </pc:sldMkLst>
        <pc:spChg chg="add del mod">
          <ac:chgData name="Lattanzi, Giulietta" userId="54a216b7-12ce-4e00-8a70-eddffae226a8" providerId="ADAL" clId="{569E0B6C-E3B0-4D29-8371-982B030E4017}" dt="2023-11-07T09:56:40.044" v="205" actId="478"/>
          <ac:spMkLst>
            <pc:docMk/>
            <pc:sldMk cId="1353762516" sldId="2147471528"/>
            <ac:spMk id="4" creationId="{6AF25DE1-6BB8-ECA6-C1AE-CC73D09A9BF8}"/>
          </ac:spMkLst>
        </pc:spChg>
        <pc:spChg chg="mod">
          <ac:chgData name="Lattanzi, Giulietta" userId="54a216b7-12ce-4e00-8a70-eddffae226a8" providerId="ADAL" clId="{569E0B6C-E3B0-4D29-8371-982B030E4017}" dt="2023-11-07T10:23:38.262" v="264" actId="123"/>
          <ac:spMkLst>
            <pc:docMk/>
            <pc:sldMk cId="1353762516" sldId="2147471528"/>
            <ac:spMk id="19" creationId="{1FF3A17F-10BE-AECB-62DC-63B9B9701F13}"/>
          </ac:spMkLst>
        </pc:spChg>
      </pc:sldChg>
      <pc:sldChg chg="delSp mod">
        <pc:chgData name="Lattanzi, Giulietta" userId="54a216b7-12ce-4e00-8a70-eddffae226a8" providerId="ADAL" clId="{569E0B6C-E3B0-4D29-8371-982B030E4017}" dt="2023-11-07T10:24:08.631" v="265" actId="478"/>
        <pc:sldMkLst>
          <pc:docMk/>
          <pc:sldMk cId="2803934531" sldId="2147471530"/>
        </pc:sldMkLst>
        <pc:spChg chg="del">
          <ac:chgData name="Lattanzi, Giulietta" userId="54a216b7-12ce-4e00-8a70-eddffae226a8" providerId="ADAL" clId="{569E0B6C-E3B0-4D29-8371-982B030E4017}" dt="2023-11-07T10:24:08.631" v="265" actId="478"/>
          <ac:spMkLst>
            <pc:docMk/>
            <pc:sldMk cId="2803934531" sldId="2147471530"/>
            <ac:spMk id="5" creationId="{7338E8DA-E353-4AE4-390C-BBFCCC81ECD2}"/>
          </ac:spMkLst>
        </pc:spChg>
      </pc:sldChg>
      <pc:sldChg chg="modSp del mod">
        <pc:chgData name="Lattanzi, Giulietta" userId="54a216b7-12ce-4e00-8a70-eddffae226a8" providerId="ADAL" clId="{569E0B6C-E3B0-4D29-8371-982B030E4017}" dt="2023-11-07T10:22:35.608" v="261" actId="2696"/>
        <pc:sldMkLst>
          <pc:docMk/>
          <pc:sldMk cId="1379922869" sldId="2147471531"/>
        </pc:sldMkLst>
        <pc:spChg chg="mod">
          <ac:chgData name="Lattanzi, Giulietta" userId="54a216b7-12ce-4e00-8a70-eddffae226a8" providerId="ADAL" clId="{569E0B6C-E3B0-4D29-8371-982B030E4017}" dt="2023-11-07T09:59:09.299" v="207" actId="12789"/>
          <ac:spMkLst>
            <pc:docMk/>
            <pc:sldMk cId="1379922869" sldId="2147471531"/>
            <ac:spMk id="81" creationId="{857BA48E-8023-9F58-DC20-7E6F63F21941}"/>
          </ac:spMkLst>
        </pc:spChg>
      </pc:sldChg>
      <pc:sldChg chg="addSp delSp modSp mod ord">
        <pc:chgData name="Lattanzi, Giulietta" userId="54a216b7-12ce-4e00-8a70-eddffae226a8" providerId="ADAL" clId="{569E0B6C-E3B0-4D29-8371-982B030E4017}" dt="2023-11-07T10:04:45.014" v="231" actId="20577"/>
        <pc:sldMkLst>
          <pc:docMk/>
          <pc:sldMk cId="681479093" sldId="2147471694"/>
        </pc:sldMkLst>
        <pc:spChg chg="del">
          <ac:chgData name="Lattanzi, Giulietta" userId="54a216b7-12ce-4e00-8a70-eddffae226a8" providerId="ADAL" clId="{569E0B6C-E3B0-4D29-8371-982B030E4017}" dt="2023-11-07T10:04:39.508" v="210" actId="478"/>
          <ac:spMkLst>
            <pc:docMk/>
            <pc:sldMk cId="681479093" sldId="2147471694"/>
            <ac:spMk id="4" creationId="{D25A8BEF-4A5E-EC5B-50A3-EA445F18BC69}"/>
          </ac:spMkLst>
        </pc:spChg>
        <pc:spChg chg="add mod">
          <ac:chgData name="Lattanzi, Giulietta" userId="54a216b7-12ce-4e00-8a70-eddffae226a8" providerId="ADAL" clId="{569E0B6C-E3B0-4D29-8371-982B030E4017}" dt="2023-11-07T10:04:45.014" v="231" actId="20577"/>
          <ac:spMkLst>
            <pc:docMk/>
            <pc:sldMk cId="681479093" sldId="2147471694"/>
            <ac:spMk id="52" creationId="{C777941C-1DB6-557A-858B-6B04EAA5DDB8}"/>
          </ac:spMkLst>
        </pc:spChg>
      </pc:sldChg>
      <pc:sldMasterChg chg="del delSldLayout">
        <pc:chgData name="Lattanzi, Giulietta" userId="54a216b7-12ce-4e00-8a70-eddffae226a8" providerId="ADAL" clId="{569E0B6C-E3B0-4D29-8371-982B030E4017}" dt="2023-11-07T10:22:19.507" v="259" actId="2696"/>
        <pc:sldMasterMkLst>
          <pc:docMk/>
          <pc:sldMasterMk cId="3662540055" sldId="2147483706"/>
        </pc:sldMasterMkLst>
        <pc:sldLayoutChg chg="del">
          <pc:chgData name="Lattanzi, Giulietta" userId="54a216b7-12ce-4e00-8a70-eddffae226a8" providerId="ADAL" clId="{569E0B6C-E3B0-4D29-8371-982B030E4017}" dt="2023-11-07T10:22:19.507" v="259" actId="2696"/>
          <pc:sldLayoutMkLst>
            <pc:docMk/>
            <pc:sldMasterMk cId="3662540055" sldId="2147483706"/>
            <pc:sldLayoutMk cId="2402806343" sldId="2147483707"/>
          </pc:sldLayoutMkLst>
        </pc:sldLayoutChg>
        <pc:sldLayoutChg chg="del">
          <pc:chgData name="Lattanzi, Giulietta" userId="54a216b7-12ce-4e00-8a70-eddffae226a8" providerId="ADAL" clId="{569E0B6C-E3B0-4D29-8371-982B030E4017}" dt="2023-11-07T10:22:19.507" v="259" actId="2696"/>
          <pc:sldLayoutMkLst>
            <pc:docMk/>
            <pc:sldMasterMk cId="3662540055" sldId="2147483706"/>
            <pc:sldLayoutMk cId="2182416355" sldId="2147483708"/>
          </pc:sldLayoutMkLst>
        </pc:sldLayoutChg>
        <pc:sldLayoutChg chg="del">
          <pc:chgData name="Lattanzi, Giulietta" userId="54a216b7-12ce-4e00-8a70-eddffae226a8" providerId="ADAL" clId="{569E0B6C-E3B0-4D29-8371-982B030E4017}" dt="2023-11-07T10:22:19.507" v="259" actId="2696"/>
          <pc:sldLayoutMkLst>
            <pc:docMk/>
            <pc:sldMasterMk cId="3662540055" sldId="2147483706"/>
            <pc:sldLayoutMk cId="1640770782" sldId="2147483709"/>
          </pc:sldLayoutMkLst>
        </pc:sldLayoutChg>
        <pc:sldLayoutChg chg="del">
          <pc:chgData name="Lattanzi, Giulietta" userId="54a216b7-12ce-4e00-8a70-eddffae226a8" providerId="ADAL" clId="{569E0B6C-E3B0-4D29-8371-982B030E4017}" dt="2023-11-07T10:22:19.507" v="259" actId="2696"/>
          <pc:sldLayoutMkLst>
            <pc:docMk/>
            <pc:sldMasterMk cId="3662540055" sldId="2147483706"/>
            <pc:sldLayoutMk cId="2331408660" sldId="2147483710"/>
          </pc:sldLayoutMkLst>
        </pc:sldLayoutChg>
        <pc:sldLayoutChg chg="del">
          <pc:chgData name="Lattanzi, Giulietta" userId="54a216b7-12ce-4e00-8a70-eddffae226a8" providerId="ADAL" clId="{569E0B6C-E3B0-4D29-8371-982B030E4017}" dt="2023-11-07T10:22:19.507" v="259" actId="2696"/>
          <pc:sldLayoutMkLst>
            <pc:docMk/>
            <pc:sldMasterMk cId="3662540055" sldId="2147483706"/>
            <pc:sldLayoutMk cId="919867417" sldId="2147483711"/>
          </pc:sldLayoutMkLst>
        </pc:sldLayoutChg>
        <pc:sldLayoutChg chg="del">
          <pc:chgData name="Lattanzi, Giulietta" userId="54a216b7-12ce-4e00-8a70-eddffae226a8" providerId="ADAL" clId="{569E0B6C-E3B0-4D29-8371-982B030E4017}" dt="2023-11-07T10:22:19.507" v="259" actId="2696"/>
          <pc:sldLayoutMkLst>
            <pc:docMk/>
            <pc:sldMasterMk cId="3662540055" sldId="2147483706"/>
            <pc:sldLayoutMk cId="3376433509" sldId="2147483712"/>
          </pc:sldLayoutMkLst>
        </pc:sldLayoutChg>
        <pc:sldLayoutChg chg="del">
          <pc:chgData name="Lattanzi, Giulietta" userId="54a216b7-12ce-4e00-8a70-eddffae226a8" providerId="ADAL" clId="{569E0B6C-E3B0-4D29-8371-982B030E4017}" dt="2023-11-07T10:22:19.507" v="259" actId="2696"/>
          <pc:sldLayoutMkLst>
            <pc:docMk/>
            <pc:sldMasterMk cId="3662540055" sldId="2147483706"/>
            <pc:sldLayoutMk cId="1650089231" sldId="2147483713"/>
          </pc:sldLayoutMkLst>
        </pc:sldLayoutChg>
        <pc:sldLayoutChg chg="del">
          <pc:chgData name="Lattanzi, Giulietta" userId="54a216b7-12ce-4e00-8a70-eddffae226a8" providerId="ADAL" clId="{569E0B6C-E3B0-4D29-8371-982B030E4017}" dt="2023-11-07T10:22:19.507" v="259" actId="2696"/>
          <pc:sldLayoutMkLst>
            <pc:docMk/>
            <pc:sldMasterMk cId="3662540055" sldId="2147483706"/>
            <pc:sldLayoutMk cId="1084242499" sldId="2147483714"/>
          </pc:sldLayoutMkLst>
        </pc:sldLayoutChg>
        <pc:sldLayoutChg chg="del">
          <pc:chgData name="Lattanzi, Giulietta" userId="54a216b7-12ce-4e00-8a70-eddffae226a8" providerId="ADAL" clId="{569E0B6C-E3B0-4D29-8371-982B030E4017}" dt="2023-11-07T10:22:19.507" v="259" actId="2696"/>
          <pc:sldLayoutMkLst>
            <pc:docMk/>
            <pc:sldMasterMk cId="3662540055" sldId="2147483706"/>
            <pc:sldLayoutMk cId="3788980333" sldId="2147483715"/>
          </pc:sldLayoutMkLst>
        </pc:sldLayoutChg>
        <pc:sldLayoutChg chg="del">
          <pc:chgData name="Lattanzi, Giulietta" userId="54a216b7-12ce-4e00-8a70-eddffae226a8" providerId="ADAL" clId="{569E0B6C-E3B0-4D29-8371-982B030E4017}" dt="2023-11-07T10:22:19.507" v="259" actId="2696"/>
          <pc:sldLayoutMkLst>
            <pc:docMk/>
            <pc:sldMasterMk cId="3662540055" sldId="2147483706"/>
            <pc:sldLayoutMk cId="1977532849" sldId="2147483716"/>
          </pc:sldLayoutMkLst>
        </pc:sldLayoutChg>
        <pc:sldLayoutChg chg="del">
          <pc:chgData name="Lattanzi, Giulietta" userId="54a216b7-12ce-4e00-8a70-eddffae226a8" providerId="ADAL" clId="{569E0B6C-E3B0-4D29-8371-982B030E4017}" dt="2023-11-07T10:22:19.507" v="259" actId="2696"/>
          <pc:sldLayoutMkLst>
            <pc:docMk/>
            <pc:sldMasterMk cId="3662540055" sldId="2147483706"/>
            <pc:sldLayoutMk cId="3277897475" sldId="2147483717"/>
          </pc:sldLayoutMkLst>
        </pc:sldLayoutChg>
      </pc:sldMasterChg>
    </pc:docChg>
  </pc:docChgLst>
  <pc:docChgLst>
    <pc:chgData name="Lattanzi, Giulietta" userId="54a216b7-12ce-4e00-8a70-eddffae226a8" providerId="ADAL" clId="{692429D4-F6E8-44DC-9AA1-537C99C455EB}"/>
    <pc:docChg chg="custSel modSld">
      <pc:chgData name="Lattanzi, Giulietta" userId="54a216b7-12ce-4e00-8a70-eddffae226a8" providerId="ADAL" clId="{692429D4-F6E8-44DC-9AA1-537C99C455EB}" dt="2023-11-13T14:23:33.608" v="110" actId="167"/>
      <pc:docMkLst>
        <pc:docMk/>
      </pc:docMkLst>
      <pc:sldChg chg="addSp delSp modSp mod">
        <pc:chgData name="Lattanzi, Giulietta" userId="54a216b7-12ce-4e00-8a70-eddffae226a8" providerId="ADAL" clId="{692429D4-F6E8-44DC-9AA1-537C99C455EB}" dt="2023-11-07T14:57:25.906" v="4" actId="1076"/>
        <pc:sldMkLst>
          <pc:docMk/>
          <pc:sldMk cId="2520409664" sldId="261"/>
        </pc:sldMkLst>
        <pc:spChg chg="del">
          <ac:chgData name="Lattanzi, Giulietta" userId="54a216b7-12ce-4e00-8a70-eddffae226a8" providerId="ADAL" clId="{692429D4-F6E8-44DC-9AA1-537C99C455EB}" dt="2023-11-07T14:57:16.174" v="1" actId="478"/>
          <ac:spMkLst>
            <pc:docMk/>
            <pc:sldMk cId="2520409664" sldId="261"/>
            <ac:spMk id="2" creationId="{9FA58846-8AD0-ADBC-7F7F-86C37BC161F7}"/>
          </ac:spMkLst>
        </pc:spChg>
        <pc:spChg chg="mod">
          <ac:chgData name="Lattanzi, Giulietta" userId="54a216b7-12ce-4e00-8a70-eddffae226a8" providerId="ADAL" clId="{692429D4-F6E8-44DC-9AA1-537C99C455EB}" dt="2023-11-07T14:57:19.757" v="2" actId="164"/>
          <ac:spMkLst>
            <pc:docMk/>
            <pc:sldMk cId="2520409664" sldId="261"/>
            <ac:spMk id="5" creationId="{46AAFA72-3AFA-52F0-0DAB-269101E5DBB6}"/>
          </ac:spMkLst>
        </pc:spChg>
        <pc:spChg chg="del">
          <ac:chgData name="Lattanzi, Giulietta" userId="54a216b7-12ce-4e00-8a70-eddffae226a8" providerId="ADAL" clId="{692429D4-F6E8-44DC-9AA1-537C99C455EB}" dt="2023-11-07T14:57:14.184" v="0" actId="478"/>
          <ac:spMkLst>
            <pc:docMk/>
            <pc:sldMk cId="2520409664" sldId="261"/>
            <ac:spMk id="6" creationId="{CD8EC472-8727-3A00-7C15-72465A0C1F26}"/>
          </ac:spMkLst>
        </pc:spChg>
        <pc:grpChg chg="add mod">
          <ac:chgData name="Lattanzi, Giulietta" userId="54a216b7-12ce-4e00-8a70-eddffae226a8" providerId="ADAL" clId="{692429D4-F6E8-44DC-9AA1-537C99C455EB}" dt="2023-11-07T14:57:25.906" v="4" actId="1076"/>
          <ac:grpSpMkLst>
            <pc:docMk/>
            <pc:sldMk cId="2520409664" sldId="261"/>
            <ac:grpSpMk id="9" creationId="{0D361DBE-1584-10C4-E421-0048BAA6D685}"/>
          </ac:grpSpMkLst>
        </pc:grpChg>
        <pc:picChg chg="mod">
          <ac:chgData name="Lattanzi, Giulietta" userId="54a216b7-12ce-4e00-8a70-eddffae226a8" providerId="ADAL" clId="{692429D4-F6E8-44DC-9AA1-537C99C455EB}" dt="2023-11-07T14:57:19.757" v="2" actId="164"/>
          <ac:picMkLst>
            <pc:docMk/>
            <pc:sldMk cId="2520409664" sldId="261"/>
            <ac:picMk id="15" creationId="{5F1E1293-D5D7-240E-73D6-6C0CBDCE574E}"/>
          </ac:picMkLst>
        </pc:picChg>
      </pc:sldChg>
      <pc:sldChg chg="addSp modSp mod">
        <pc:chgData name="Lattanzi, Giulietta" userId="54a216b7-12ce-4e00-8a70-eddffae226a8" providerId="ADAL" clId="{692429D4-F6E8-44DC-9AA1-537C99C455EB}" dt="2023-11-13T14:23:33.608" v="110" actId="167"/>
        <pc:sldMkLst>
          <pc:docMk/>
          <pc:sldMk cId="4111279975" sldId="2147471503"/>
        </pc:sldMkLst>
        <pc:spChg chg="add mod">
          <ac:chgData name="Lattanzi, Giulietta" userId="54a216b7-12ce-4e00-8a70-eddffae226a8" providerId="ADAL" clId="{692429D4-F6E8-44DC-9AA1-537C99C455EB}" dt="2023-11-13T14:23:31.743" v="109" actId="164"/>
          <ac:spMkLst>
            <pc:docMk/>
            <pc:sldMk cId="4111279975" sldId="2147471503"/>
            <ac:spMk id="4" creationId="{15839277-BC1E-1B91-5E46-35204DA8A84D}"/>
          </ac:spMkLst>
        </pc:spChg>
        <pc:spChg chg="add mod">
          <ac:chgData name="Lattanzi, Giulietta" userId="54a216b7-12ce-4e00-8a70-eddffae226a8" providerId="ADAL" clId="{692429D4-F6E8-44DC-9AA1-537C99C455EB}" dt="2023-11-13T14:23:31.743" v="109" actId="164"/>
          <ac:spMkLst>
            <pc:docMk/>
            <pc:sldMk cId="4111279975" sldId="2147471503"/>
            <ac:spMk id="14" creationId="{16AD396A-3F15-7762-BB1C-1EF639663EE1}"/>
          </ac:spMkLst>
        </pc:spChg>
        <pc:grpChg chg="add mod ord">
          <ac:chgData name="Lattanzi, Giulietta" userId="54a216b7-12ce-4e00-8a70-eddffae226a8" providerId="ADAL" clId="{692429D4-F6E8-44DC-9AA1-537C99C455EB}" dt="2023-11-13T14:23:33.608" v="110" actId="167"/>
          <ac:grpSpMkLst>
            <pc:docMk/>
            <pc:sldMk cId="4111279975" sldId="2147471503"/>
            <ac:grpSpMk id="15" creationId="{17498662-1A10-4CE9-A2C3-8677B6F1EBE5}"/>
          </ac:grpSpMkLst>
        </pc:grpChg>
        <pc:picChg chg="mod">
          <ac:chgData name="Lattanzi, Giulietta" userId="54a216b7-12ce-4e00-8a70-eddffae226a8" providerId="ADAL" clId="{692429D4-F6E8-44DC-9AA1-537C99C455EB}" dt="2023-11-13T14:23:31.743" v="109" actId="164"/>
          <ac:picMkLst>
            <pc:docMk/>
            <pc:sldMk cId="4111279975" sldId="2147471503"/>
            <ac:picMk id="9" creationId="{A8A87F10-8CA6-30E5-6679-EBF631C8C03A}"/>
          </ac:picMkLst>
        </pc:picChg>
      </pc:sldChg>
    </pc:docChg>
  </pc:docChgLst>
</pc:chgInfo>
</file>

<file path=ppt/notesMasters/_rels/notesMaster1.xml.rels><?xml version="1.0" encoding="UTF-8" standalone="yes"?>
<Relationships xmlns="http://schemas.openxmlformats.org/package/2006/relationships"><Relationship Id="rId1" Type="http://schemas.openxmlformats.org/officeDocument/2006/relationships/theme" Target="../theme/theme3.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intestazione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it-IT"/>
          </a:p>
        </p:txBody>
      </p:sp>
      <p:sp>
        <p:nvSpPr>
          <p:cNvPr id="3" name="Segnaposto data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A57F79F7-46AF-4842-9BA7-4EF291D24AD4}" type="datetimeFigureOut">
              <a:rPr lang="it-IT" smtClean="0"/>
              <a:t>09/11/2023</a:t>
            </a:fld>
            <a:endParaRPr lang="it-IT"/>
          </a:p>
        </p:txBody>
      </p:sp>
      <p:sp>
        <p:nvSpPr>
          <p:cNvPr id="4" name="Segnaposto immagine diapositiva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it-IT"/>
          </a:p>
        </p:txBody>
      </p:sp>
      <p:sp>
        <p:nvSpPr>
          <p:cNvPr id="5" name="Segnaposto note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6" name="Segnaposto piè di pagina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it-IT"/>
          </a:p>
        </p:txBody>
      </p:sp>
      <p:sp>
        <p:nvSpPr>
          <p:cNvPr id="7" name="Segnaposto numero diapositiva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692C1097-F89C-4614-9CEA-78383444B32C}" type="slidenum">
              <a:rPr lang="it-IT" smtClean="0"/>
              <a:t>‹N›</a:t>
            </a:fld>
            <a:endParaRPr lang="it-IT"/>
          </a:p>
        </p:txBody>
      </p:sp>
    </p:spTree>
    <p:extLst>
      <p:ext uri="{BB962C8B-B14F-4D97-AF65-F5344CB8AC3E}">
        <p14:creationId xmlns:p14="http://schemas.microsoft.com/office/powerpoint/2010/main" val="413835716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a:xfrm>
            <a:off x="92075" y="744538"/>
            <a:ext cx="6616700" cy="3722687"/>
          </a:xfrm>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D8377BB1-BB3E-4EDF-B5FC-A3BA0BC965C5}" type="slidenum">
              <a:rPr kumimoji="0" lang="en-US"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842344752"/>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F5AF3-5CFC-477A-A81A-3706C434F7D0}"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460838192"/>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F5AF3-5CFC-477A-A81A-3706C434F7D0}"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791162521"/>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fld id="{692C1097-F89C-4614-9CEA-78383444B32C}" type="slidenum">
              <a:rPr lang="it-IT" smtClean="0"/>
              <a:t>5</a:t>
            </a:fld>
            <a:endParaRPr lang="it-IT"/>
          </a:p>
        </p:txBody>
      </p:sp>
    </p:spTree>
    <p:extLst>
      <p:ext uri="{BB962C8B-B14F-4D97-AF65-F5344CB8AC3E}">
        <p14:creationId xmlns:p14="http://schemas.microsoft.com/office/powerpoint/2010/main" val="799053024"/>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F5AF3-5CFC-477A-A81A-3706C434F7D0}"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3655295334"/>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F5AF3-5CFC-477A-A81A-3706C434F7D0}"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656895560"/>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lstStyle/>
          <a:p>
            <a:endParaRPr lang="it-IT"/>
          </a:p>
        </p:txBody>
      </p:sp>
      <p:sp>
        <p:nvSpPr>
          <p:cNvPr id="4" name="Segnaposto numero diapositiva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688F5AF3-5CFC-477A-A81A-3706C434F7D0}"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3</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1989058271"/>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3254A1-CCD7-44DF-9523-45381288C8C7}"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5</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628467"/>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egnaposto immagine diapositiva 1"/>
          <p:cNvSpPr>
            <a:spLocks noGrp="1" noRot="1" noChangeAspect="1"/>
          </p:cNvSpPr>
          <p:nvPr>
            <p:ph type="sldImg"/>
          </p:nvPr>
        </p:nvSpPr>
        <p:spPr/>
      </p:sp>
      <p:sp>
        <p:nvSpPr>
          <p:cNvPr id="3" name="Segnaposto note 2"/>
          <p:cNvSpPr>
            <a:spLocks noGrp="1"/>
          </p:cNvSpPr>
          <p:nvPr>
            <p:ph type="body" idx="1"/>
          </p:nvPr>
        </p:nvSpPr>
        <p:spPr/>
        <p:txBody>
          <a:bodyPr>
            <a:normAutofit/>
          </a:bodyPr>
          <a:lstStyle/>
          <a:p>
            <a:endParaRPr lang="it-IT"/>
          </a:p>
        </p:txBody>
      </p:sp>
      <p:sp>
        <p:nvSpPr>
          <p:cNvPr id="4" name="Segnaposto numero diapositiva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BB3254A1-CCD7-44DF-9523-45381288C8C7}" type="slidenum">
              <a:rPr kumimoji="0" lang="it-IT" sz="1200" b="0" i="0" u="none" strike="noStrike" kern="1200" cap="none" spc="0" normalizeH="0" baseline="0" noProof="0" smtClean="0">
                <a:ln>
                  <a:noFill/>
                </a:ln>
                <a:solidFill>
                  <a:prstClr val="black"/>
                </a:solidFill>
                <a:effectLst/>
                <a:uLnTx/>
                <a:uFillTx/>
                <a:latin typeface="Calibri" panose="020F0502020204030204"/>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6</a:t>
            </a:fld>
            <a:endParaRPr kumimoji="0" lang="it-IT" sz="1200" b="0" i="0" u="none" strike="noStrike" kern="1200" cap="none" spc="0" normalizeH="0" baseline="0" noProof="0">
              <a:ln>
                <a:noFill/>
              </a:ln>
              <a:solidFill>
                <a:prstClr val="black"/>
              </a:solidFill>
              <a:effectLst/>
              <a:uLnTx/>
              <a:uFillTx/>
              <a:latin typeface="Calibri" panose="020F0502020204030204"/>
              <a:ea typeface="+mn-ea"/>
              <a:cs typeface="+mn-cs"/>
            </a:endParaRPr>
          </a:p>
        </p:txBody>
      </p:sp>
    </p:spTree>
    <p:extLst>
      <p:ext uri="{BB962C8B-B14F-4D97-AF65-F5344CB8AC3E}">
        <p14:creationId xmlns:p14="http://schemas.microsoft.com/office/powerpoint/2010/main" val="2909628467"/>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2" Type="http://schemas.openxmlformats.org/officeDocument/2006/relationships/image" Target="../media/image1.emf"/><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32879EEA-4892-2604-4D2A-2CC5A6A74D8C}"/>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714CFBE0-BF03-0674-F915-FA18E398EF12}"/>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9D815577-C579-39EF-B479-EC3362E4A0E7}"/>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E29FD782-A1B8-AFFF-DEF6-B711A7F28989}"/>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1C4A3596-9A83-76CF-F201-897C71D7DA28}"/>
              </a:ext>
            </a:extLst>
          </p:cNvPr>
          <p:cNvSpPr>
            <a:spLocks noGrp="1"/>
          </p:cNvSpPr>
          <p:nvPr>
            <p:ph type="sldNum" sz="quarter" idx="12"/>
          </p:nvPr>
        </p:nvSpPr>
        <p:spPr/>
        <p:txBody>
          <a:bodyPr/>
          <a:lstStyle/>
          <a:p>
            <a:fld id="{00F0C1FD-41C3-4D85-8E51-9C56B45C685D}" type="slidenum">
              <a:rPr lang="it-IT" smtClean="0"/>
              <a:t>‹N›</a:t>
            </a:fld>
            <a:endParaRPr lang="it-IT"/>
          </a:p>
        </p:txBody>
      </p:sp>
    </p:spTree>
    <p:extLst>
      <p:ext uri="{BB962C8B-B14F-4D97-AF65-F5344CB8AC3E}">
        <p14:creationId xmlns:p14="http://schemas.microsoft.com/office/powerpoint/2010/main" val="1778411327"/>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E4AF963A-01E3-7092-F792-9360ECFFE9B7}"/>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8D4D8699-6233-45FF-C58C-5C6D9F3DA5D0}"/>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55B65862-E6D4-60A3-E0B0-5A894EE114BF}"/>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1A833683-CB2B-C59F-B046-8E88D23DDB91}"/>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866F2E5C-9A75-2737-D4EC-F6230DC00038}"/>
              </a:ext>
            </a:extLst>
          </p:cNvPr>
          <p:cNvSpPr>
            <a:spLocks noGrp="1"/>
          </p:cNvSpPr>
          <p:nvPr>
            <p:ph type="sldNum" sz="quarter" idx="12"/>
          </p:nvPr>
        </p:nvSpPr>
        <p:spPr/>
        <p:txBody>
          <a:bodyPr/>
          <a:lstStyle/>
          <a:p>
            <a:fld id="{00F0C1FD-41C3-4D85-8E51-9C56B45C685D}" type="slidenum">
              <a:rPr lang="it-IT" smtClean="0"/>
              <a:t>‹N›</a:t>
            </a:fld>
            <a:endParaRPr lang="it-IT"/>
          </a:p>
        </p:txBody>
      </p:sp>
    </p:spTree>
    <p:extLst>
      <p:ext uri="{BB962C8B-B14F-4D97-AF65-F5344CB8AC3E}">
        <p14:creationId xmlns:p14="http://schemas.microsoft.com/office/powerpoint/2010/main" val="1789290136"/>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74034C50-3FBD-F5C1-8BF9-312823978D46}"/>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0E0A54D3-3129-DF93-BA29-4D754AAB9FB8}"/>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C12F83CE-8D97-02A1-377A-42AD2205C8F6}"/>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B24C26A1-E553-B2F4-B955-59B4D34C3E19}"/>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6353D3A2-A526-8B57-1A6F-63A753D8D87B}"/>
              </a:ext>
            </a:extLst>
          </p:cNvPr>
          <p:cNvSpPr>
            <a:spLocks noGrp="1"/>
          </p:cNvSpPr>
          <p:nvPr>
            <p:ph type="sldNum" sz="quarter" idx="12"/>
          </p:nvPr>
        </p:nvSpPr>
        <p:spPr/>
        <p:txBody>
          <a:bodyPr/>
          <a:lstStyle/>
          <a:p>
            <a:fld id="{00F0C1FD-41C3-4D85-8E51-9C56B45C685D}" type="slidenum">
              <a:rPr lang="it-IT" smtClean="0"/>
              <a:t>‹N›</a:t>
            </a:fld>
            <a:endParaRPr lang="it-IT"/>
          </a:p>
        </p:txBody>
      </p:sp>
    </p:spTree>
    <p:extLst>
      <p:ext uri="{BB962C8B-B14F-4D97-AF65-F5344CB8AC3E}">
        <p14:creationId xmlns:p14="http://schemas.microsoft.com/office/powerpoint/2010/main" val="92921035"/>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218330135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type="title" preserve="1">
  <p:cSld name="Diapositiva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D7ABBD3-FD23-4002-AF8D-1722355D7572}"/>
              </a:ext>
            </a:extLst>
          </p:cNvPr>
          <p:cNvSpPr>
            <a:spLocks noGrp="1"/>
          </p:cNvSpPr>
          <p:nvPr>
            <p:ph type="ctrTitle"/>
          </p:nvPr>
        </p:nvSpPr>
        <p:spPr>
          <a:xfrm>
            <a:off x="1524000" y="1122363"/>
            <a:ext cx="9144000" cy="2387600"/>
          </a:xfrm>
        </p:spPr>
        <p:txBody>
          <a:bodyPr anchor="b"/>
          <a:lstStyle>
            <a:lvl1pPr algn="ctr">
              <a:defRPr sz="6000"/>
            </a:lvl1pPr>
          </a:lstStyle>
          <a:p>
            <a:r>
              <a:rPr lang="it-IT"/>
              <a:t>Fare clic per modificare lo stile del titolo dello schema</a:t>
            </a:r>
          </a:p>
        </p:txBody>
      </p:sp>
      <p:sp>
        <p:nvSpPr>
          <p:cNvPr id="3" name="Sottotitolo 2">
            <a:extLst>
              <a:ext uri="{FF2B5EF4-FFF2-40B4-BE49-F238E27FC236}">
                <a16:creationId xmlns:a16="http://schemas.microsoft.com/office/drawing/2014/main" id="{B791234C-2CC9-48B1-A4C7-9A64DE4993B1}"/>
              </a:ext>
            </a:extLst>
          </p:cNvPr>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it-IT"/>
              <a:t>Fare clic per modificare lo stile del sottotitolo dello schema</a:t>
            </a:r>
          </a:p>
        </p:txBody>
      </p:sp>
      <p:sp>
        <p:nvSpPr>
          <p:cNvPr id="4" name="Segnaposto data 3">
            <a:extLst>
              <a:ext uri="{FF2B5EF4-FFF2-40B4-BE49-F238E27FC236}">
                <a16:creationId xmlns:a16="http://schemas.microsoft.com/office/drawing/2014/main" id="{9B449466-DA29-470E-9491-271F2E0163DF}"/>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A1DE2B1D-21B0-4F84-B61E-D6AA13A22321}"/>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6AE52A38-1C8D-4BCC-B689-F50234059193}"/>
              </a:ext>
            </a:extLst>
          </p:cNvPr>
          <p:cNvSpPr>
            <a:spLocks noGrp="1"/>
          </p:cNvSpPr>
          <p:nvPr>
            <p:ph type="sldNum" sz="quarter" idx="12"/>
          </p:nvPr>
        </p:nvSpPr>
        <p:spPr/>
        <p:txBody>
          <a:bodyPr/>
          <a:lstStyle/>
          <a:p>
            <a:fld id="{71E9EC38-8305-49C0-AE54-8A8CA2E3146B}" type="slidenum">
              <a:rPr lang="it-IT" smtClean="0"/>
              <a:t>‹N›</a:t>
            </a:fld>
            <a:endParaRPr lang="it-IT"/>
          </a:p>
        </p:txBody>
      </p:sp>
    </p:spTree>
    <p:extLst>
      <p:ext uri="{BB962C8B-B14F-4D97-AF65-F5344CB8AC3E}">
        <p14:creationId xmlns:p14="http://schemas.microsoft.com/office/powerpoint/2010/main" val="1308371427"/>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14B6C46-D3D2-4D5F-A6D5-587A6EE22B02}"/>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936B8703-E45E-4C2E-B7A5-798A1CFE7FAF}"/>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0656B6D5-FC9A-44A6-98D1-197DCC4AB4BB}"/>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3CEB5E58-98A0-4697-B0DF-23E779E62FD9}"/>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B08DB723-5834-4F7E-8862-20B351241A57}"/>
              </a:ext>
            </a:extLst>
          </p:cNvPr>
          <p:cNvSpPr>
            <a:spLocks noGrp="1"/>
          </p:cNvSpPr>
          <p:nvPr>
            <p:ph type="sldNum" sz="quarter" idx="12"/>
          </p:nvPr>
        </p:nvSpPr>
        <p:spPr/>
        <p:txBody>
          <a:bodyPr/>
          <a:lstStyle/>
          <a:p>
            <a:fld id="{71E9EC38-8305-49C0-AE54-8A8CA2E3146B}" type="slidenum">
              <a:rPr lang="it-IT" smtClean="0"/>
              <a:t>‹N›</a:t>
            </a:fld>
            <a:endParaRPr lang="it-IT"/>
          </a:p>
        </p:txBody>
      </p:sp>
    </p:spTree>
    <p:extLst>
      <p:ext uri="{BB962C8B-B14F-4D97-AF65-F5344CB8AC3E}">
        <p14:creationId xmlns:p14="http://schemas.microsoft.com/office/powerpoint/2010/main" val="831246631"/>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D92105F-DACF-4F2A-B1FB-51A97A4E7263}"/>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22CFF8E9-C511-438A-9BDE-FE4E46AC962D}"/>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2B9196E3-29B0-4E08-AC9A-D1FCAD78FF66}"/>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257A400E-6B9B-4E24-87BE-6B0172BBEAAD}"/>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EF4C6851-D623-4881-82EC-5FEB53AE9826}"/>
              </a:ext>
            </a:extLst>
          </p:cNvPr>
          <p:cNvSpPr>
            <a:spLocks noGrp="1"/>
          </p:cNvSpPr>
          <p:nvPr>
            <p:ph type="sldNum" sz="quarter" idx="12"/>
          </p:nvPr>
        </p:nvSpPr>
        <p:spPr/>
        <p:txBody>
          <a:bodyPr/>
          <a:lstStyle/>
          <a:p>
            <a:fld id="{71E9EC38-8305-49C0-AE54-8A8CA2E3146B}" type="slidenum">
              <a:rPr lang="it-IT" smtClean="0"/>
              <a:t>‹N›</a:t>
            </a:fld>
            <a:endParaRPr lang="it-IT"/>
          </a:p>
        </p:txBody>
      </p:sp>
    </p:spTree>
    <p:extLst>
      <p:ext uri="{BB962C8B-B14F-4D97-AF65-F5344CB8AC3E}">
        <p14:creationId xmlns:p14="http://schemas.microsoft.com/office/powerpoint/2010/main" val="2589602073"/>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2BF03BA-F87D-4C70-B6ED-5D1DE8D54317}"/>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6CC70FEA-E5B9-408E-AA6F-9265DB10F583}"/>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8D4BBDCD-BBE8-4D72-93EE-1458A3B76CD6}"/>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6D7B8E97-569B-4F64-B15C-6328F0BCDCB7}"/>
              </a:ext>
            </a:extLst>
          </p:cNvPr>
          <p:cNvSpPr>
            <a:spLocks noGrp="1"/>
          </p:cNvSpPr>
          <p:nvPr>
            <p:ph type="dt" sz="half" idx="10"/>
          </p:nvPr>
        </p:nvSpPr>
        <p:spPr/>
        <p:txBody>
          <a:bodyPr/>
          <a:lstStyle/>
          <a:p>
            <a:endParaRPr lang="it-IT"/>
          </a:p>
        </p:txBody>
      </p:sp>
      <p:sp>
        <p:nvSpPr>
          <p:cNvPr id="6" name="Segnaposto piè di pagina 5">
            <a:extLst>
              <a:ext uri="{FF2B5EF4-FFF2-40B4-BE49-F238E27FC236}">
                <a16:creationId xmlns:a16="http://schemas.microsoft.com/office/drawing/2014/main" id="{F565B32B-3E39-4815-B5A4-29CFFC708BED}"/>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BC950A63-23B5-498E-9BD9-EED0DD686486}"/>
              </a:ext>
            </a:extLst>
          </p:cNvPr>
          <p:cNvSpPr>
            <a:spLocks noGrp="1"/>
          </p:cNvSpPr>
          <p:nvPr>
            <p:ph type="sldNum" sz="quarter" idx="12"/>
          </p:nvPr>
        </p:nvSpPr>
        <p:spPr/>
        <p:txBody>
          <a:bodyPr/>
          <a:lstStyle/>
          <a:p>
            <a:fld id="{71E9EC38-8305-49C0-AE54-8A8CA2E3146B}" type="slidenum">
              <a:rPr lang="it-IT" smtClean="0"/>
              <a:t>‹N›</a:t>
            </a:fld>
            <a:endParaRPr lang="it-IT"/>
          </a:p>
        </p:txBody>
      </p:sp>
    </p:spTree>
    <p:extLst>
      <p:ext uri="{BB962C8B-B14F-4D97-AF65-F5344CB8AC3E}">
        <p14:creationId xmlns:p14="http://schemas.microsoft.com/office/powerpoint/2010/main" val="1819291316"/>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76FE02D-4E53-4D31-B7CD-C623F5C6DDCC}"/>
              </a:ext>
            </a:extLst>
          </p:cNvPr>
          <p:cNvSpPr>
            <a:spLocks noGrp="1"/>
          </p:cNvSpPr>
          <p:nvPr>
            <p:ph type="title"/>
          </p:nvPr>
        </p:nvSpPr>
        <p:spPr>
          <a:xfrm>
            <a:off x="839788" y="365125"/>
            <a:ext cx="105156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BF07672D-6043-4961-B031-6013E6EB1F3B}"/>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82B6BFE1-3A1F-41C0-8533-B8D304CBE90E}"/>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F12BFA0B-0F46-4349-BC63-DF4505C5E3F1}"/>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409B215F-A2B5-4574-8AB1-6DE102F983D3}"/>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E4DBE3E6-997D-4002-BA6D-AA1CB3764934}"/>
              </a:ext>
            </a:extLst>
          </p:cNvPr>
          <p:cNvSpPr>
            <a:spLocks noGrp="1"/>
          </p:cNvSpPr>
          <p:nvPr>
            <p:ph type="dt" sz="half" idx="10"/>
          </p:nvPr>
        </p:nvSpPr>
        <p:spPr/>
        <p:txBody>
          <a:bodyPr/>
          <a:lstStyle/>
          <a:p>
            <a:endParaRPr lang="it-IT"/>
          </a:p>
        </p:txBody>
      </p:sp>
      <p:sp>
        <p:nvSpPr>
          <p:cNvPr id="8" name="Segnaposto piè di pagina 7">
            <a:extLst>
              <a:ext uri="{FF2B5EF4-FFF2-40B4-BE49-F238E27FC236}">
                <a16:creationId xmlns:a16="http://schemas.microsoft.com/office/drawing/2014/main" id="{503F93F7-D710-474F-8C2A-1C374D0C9EDF}"/>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098DCF8F-E020-4961-BF73-CFF192DAA941}"/>
              </a:ext>
            </a:extLst>
          </p:cNvPr>
          <p:cNvSpPr>
            <a:spLocks noGrp="1"/>
          </p:cNvSpPr>
          <p:nvPr>
            <p:ph type="sldNum" sz="quarter" idx="12"/>
          </p:nvPr>
        </p:nvSpPr>
        <p:spPr/>
        <p:txBody>
          <a:bodyPr/>
          <a:lstStyle/>
          <a:p>
            <a:fld id="{71E9EC38-8305-49C0-AE54-8A8CA2E3146B}" type="slidenum">
              <a:rPr lang="it-IT" smtClean="0"/>
              <a:t>‹N›</a:t>
            </a:fld>
            <a:endParaRPr lang="it-IT"/>
          </a:p>
        </p:txBody>
      </p:sp>
    </p:spTree>
    <p:extLst>
      <p:ext uri="{BB962C8B-B14F-4D97-AF65-F5344CB8AC3E}">
        <p14:creationId xmlns:p14="http://schemas.microsoft.com/office/powerpoint/2010/main" val="611569084"/>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2B438ED-DE31-4C7C-92BB-1D43BCE0FF19}"/>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60A3EDCF-8CE7-4DEB-8446-20BA0D19F487}"/>
              </a:ext>
            </a:extLst>
          </p:cNvPr>
          <p:cNvSpPr>
            <a:spLocks noGrp="1"/>
          </p:cNvSpPr>
          <p:nvPr>
            <p:ph type="dt" sz="half" idx="10"/>
          </p:nvPr>
        </p:nvSpPr>
        <p:spPr/>
        <p:txBody>
          <a:bodyPr/>
          <a:lstStyle/>
          <a:p>
            <a:endParaRPr lang="it-IT"/>
          </a:p>
        </p:txBody>
      </p:sp>
      <p:sp>
        <p:nvSpPr>
          <p:cNvPr id="4" name="Segnaposto piè di pagina 3">
            <a:extLst>
              <a:ext uri="{FF2B5EF4-FFF2-40B4-BE49-F238E27FC236}">
                <a16:creationId xmlns:a16="http://schemas.microsoft.com/office/drawing/2014/main" id="{FC55AF6D-6FE6-4689-9DBE-A56FEE2F0EA2}"/>
              </a:ext>
            </a:extLst>
          </p:cNvPr>
          <p:cNvSpPr>
            <a:spLocks noGrp="1"/>
          </p:cNvSpPr>
          <p:nvPr>
            <p:ph type="ftr" sz="quarter" idx="11"/>
          </p:nvPr>
        </p:nvSpPr>
        <p:spPr/>
        <p:txBody>
          <a:bodyPr/>
          <a:lstStyle/>
          <a:p>
            <a:endParaRPr lang="it-IT"/>
          </a:p>
        </p:txBody>
      </p:sp>
      <p:sp>
        <p:nvSpPr>
          <p:cNvPr id="5" name="Segnaposto numero diapositiva 4">
            <a:extLst>
              <a:ext uri="{FF2B5EF4-FFF2-40B4-BE49-F238E27FC236}">
                <a16:creationId xmlns:a16="http://schemas.microsoft.com/office/drawing/2014/main" id="{706A126C-356E-46CA-80BD-A8751CA54ABF}"/>
              </a:ext>
            </a:extLst>
          </p:cNvPr>
          <p:cNvSpPr>
            <a:spLocks noGrp="1"/>
          </p:cNvSpPr>
          <p:nvPr>
            <p:ph type="sldNum" sz="quarter" idx="12"/>
          </p:nvPr>
        </p:nvSpPr>
        <p:spPr/>
        <p:txBody>
          <a:bodyPr/>
          <a:lstStyle/>
          <a:p>
            <a:fld id="{71E9EC38-8305-49C0-AE54-8A8CA2E3146B}" type="slidenum">
              <a:rPr lang="it-IT" smtClean="0"/>
              <a:t>‹N›</a:t>
            </a:fld>
            <a:endParaRPr lang="it-IT"/>
          </a:p>
        </p:txBody>
      </p:sp>
    </p:spTree>
    <p:extLst>
      <p:ext uri="{BB962C8B-B14F-4D97-AF65-F5344CB8AC3E}">
        <p14:creationId xmlns:p14="http://schemas.microsoft.com/office/powerpoint/2010/main" val="2524373220"/>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0FB346A0-6F3E-424D-9928-7F78F2E35CF5}"/>
              </a:ext>
            </a:extLst>
          </p:cNvPr>
          <p:cNvSpPr>
            <a:spLocks noGrp="1"/>
          </p:cNvSpPr>
          <p:nvPr>
            <p:ph type="dt" sz="half" idx="10"/>
          </p:nvPr>
        </p:nvSpPr>
        <p:spPr/>
        <p:txBody>
          <a:bodyPr/>
          <a:lstStyle/>
          <a:p>
            <a:endParaRPr lang="it-IT"/>
          </a:p>
        </p:txBody>
      </p:sp>
      <p:sp>
        <p:nvSpPr>
          <p:cNvPr id="3" name="Segnaposto piè di pagina 2">
            <a:extLst>
              <a:ext uri="{FF2B5EF4-FFF2-40B4-BE49-F238E27FC236}">
                <a16:creationId xmlns:a16="http://schemas.microsoft.com/office/drawing/2014/main" id="{735E64AD-64A8-426E-8D31-6E5BB078D2FD}"/>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89CF1ABF-5391-498A-88E1-D3A84C28548B}"/>
              </a:ext>
            </a:extLst>
          </p:cNvPr>
          <p:cNvSpPr>
            <a:spLocks noGrp="1"/>
          </p:cNvSpPr>
          <p:nvPr>
            <p:ph type="sldNum" sz="quarter" idx="12"/>
          </p:nvPr>
        </p:nvSpPr>
        <p:spPr/>
        <p:txBody>
          <a:bodyPr/>
          <a:lstStyle/>
          <a:p>
            <a:fld id="{71E9EC38-8305-49C0-AE54-8A8CA2E3146B}" type="slidenum">
              <a:rPr lang="it-IT" smtClean="0"/>
              <a:t>‹N›</a:t>
            </a:fld>
            <a:endParaRPr lang="it-IT"/>
          </a:p>
        </p:txBody>
      </p:sp>
    </p:spTree>
    <p:extLst>
      <p:ext uri="{BB962C8B-B14F-4D97-AF65-F5344CB8AC3E}">
        <p14:creationId xmlns:p14="http://schemas.microsoft.com/office/powerpoint/2010/main" val="12346572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olo e contenu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BA08FE7-9175-9C73-29C2-5E8978225E77}"/>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13F127FD-FD99-3E08-C6F0-81671D5F352A}"/>
              </a:ext>
            </a:extLst>
          </p:cNvPr>
          <p:cNvSpPr>
            <a:spLocks noGrp="1"/>
          </p:cNvSpPr>
          <p:nvPr>
            <p:ph idx="1"/>
          </p:nvPr>
        </p:nvSpPr>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7CE78CE9-9D75-E893-8A84-FA0F82F580AA}"/>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A4F6AF8D-1783-49D9-50B0-517BCBA3FC57}"/>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000B2366-D7F0-8EA6-C542-10549E92A219}"/>
              </a:ext>
            </a:extLst>
          </p:cNvPr>
          <p:cNvSpPr>
            <a:spLocks noGrp="1"/>
          </p:cNvSpPr>
          <p:nvPr>
            <p:ph type="sldNum" sz="quarter" idx="12"/>
          </p:nvPr>
        </p:nvSpPr>
        <p:spPr/>
        <p:txBody>
          <a:bodyPr/>
          <a:lstStyle/>
          <a:p>
            <a:fld id="{00F0C1FD-41C3-4D85-8E51-9C56B45C685D}" type="slidenum">
              <a:rPr lang="it-IT" smtClean="0"/>
              <a:t>‹N›</a:t>
            </a:fld>
            <a:endParaRPr lang="it-IT"/>
          </a:p>
        </p:txBody>
      </p:sp>
    </p:spTree>
    <p:extLst>
      <p:ext uri="{BB962C8B-B14F-4D97-AF65-F5344CB8AC3E}">
        <p14:creationId xmlns:p14="http://schemas.microsoft.com/office/powerpoint/2010/main" val="1134211047"/>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C4DEC27-F990-46D0-989E-5A015F2F234B}"/>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7F0618F3-96ED-45CE-818F-8B4DF3BA475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0E841E36-DC29-480B-BF42-655AC4F786B2}"/>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FEA8720B-98DA-4206-A374-9673071070A9}"/>
              </a:ext>
            </a:extLst>
          </p:cNvPr>
          <p:cNvSpPr>
            <a:spLocks noGrp="1"/>
          </p:cNvSpPr>
          <p:nvPr>
            <p:ph type="dt" sz="half" idx="10"/>
          </p:nvPr>
        </p:nvSpPr>
        <p:spPr/>
        <p:txBody>
          <a:bodyPr/>
          <a:lstStyle/>
          <a:p>
            <a:endParaRPr lang="it-IT"/>
          </a:p>
        </p:txBody>
      </p:sp>
      <p:sp>
        <p:nvSpPr>
          <p:cNvPr id="6" name="Segnaposto piè di pagina 5">
            <a:extLst>
              <a:ext uri="{FF2B5EF4-FFF2-40B4-BE49-F238E27FC236}">
                <a16:creationId xmlns:a16="http://schemas.microsoft.com/office/drawing/2014/main" id="{4FE25247-0795-4E16-B34B-39E7F4406687}"/>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A470F089-2877-406B-A4EF-B065635C9AE2}"/>
              </a:ext>
            </a:extLst>
          </p:cNvPr>
          <p:cNvSpPr>
            <a:spLocks noGrp="1"/>
          </p:cNvSpPr>
          <p:nvPr>
            <p:ph type="sldNum" sz="quarter" idx="12"/>
          </p:nvPr>
        </p:nvSpPr>
        <p:spPr/>
        <p:txBody>
          <a:bodyPr/>
          <a:lstStyle/>
          <a:p>
            <a:fld id="{71E9EC38-8305-49C0-AE54-8A8CA2E3146B}" type="slidenum">
              <a:rPr lang="it-IT" smtClean="0"/>
              <a:t>‹N›</a:t>
            </a:fld>
            <a:endParaRPr lang="it-IT"/>
          </a:p>
        </p:txBody>
      </p:sp>
    </p:spTree>
    <p:extLst>
      <p:ext uri="{BB962C8B-B14F-4D97-AF65-F5344CB8AC3E}">
        <p14:creationId xmlns:p14="http://schemas.microsoft.com/office/powerpoint/2010/main" val="2988521532"/>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DD20701-7AF1-46B7-886A-B7AD54E6581C}"/>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BE1E2BE6-4774-4D79-948B-74F5F73D2EF2}"/>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954933F1-C6DE-4F9D-B5E2-26A7593233D8}"/>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D0F3026F-B831-49EE-BFC3-FC160040CDD2}"/>
              </a:ext>
            </a:extLst>
          </p:cNvPr>
          <p:cNvSpPr>
            <a:spLocks noGrp="1"/>
          </p:cNvSpPr>
          <p:nvPr>
            <p:ph type="dt" sz="half" idx="10"/>
          </p:nvPr>
        </p:nvSpPr>
        <p:spPr/>
        <p:txBody>
          <a:bodyPr/>
          <a:lstStyle/>
          <a:p>
            <a:endParaRPr lang="it-IT"/>
          </a:p>
        </p:txBody>
      </p:sp>
      <p:sp>
        <p:nvSpPr>
          <p:cNvPr id="6" name="Segnaposto piè di pagina 5">
            <a:extLst>
              <a:ext uri="{FF2B5EF4-FFF2-40B4-BE49-F238E27FC236}">
                <a16:creationId xmlns:a16="http://schemas.microsoft.com/office/drawing/2014/main" id="{1787816A-1101-459C-93AE-BF73FE993881}"/>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422C6D52-8E17-49ED-8495-4BE6AB558386}"/>
              </a:ext>
            </a:extLst>
          </p:cNvPr>
          <p:cNvSpPr>
            <a:spLocks noGrp="1"/>
          </p:cNvSpPr>
          <p:nvPr>
            <p:ph type="sldNum" sz="quarter" idx="12"/>
          </p:nvPr>
        </p:nvSpPr>
        <p:spPr/>
        <p:txBody>
          <a:bodyPr/>
          <a:lstStyle/>
          <a:p>
            <a:fld id="{71E9EC38-8305-49C0-AE54-8A8CA2E3146B}" type="slidenum">
              <a:rPr lang="it-IT" smtClean="0"/>
              <a:t>‹N›</a:t>
            </a:fld>
            <a:endParaRPr lang="it-IT"/>
          </a:p>
        </p:txBody>
      </p:sp>
    </p:spTree>
    <p:extLst>
      <p:ext uri="{BB962C8B-B14F-4D97-AF65-F5344CB8AC3E}">
        <p14:creationId xmlns:p14="http://schemas.microsoft.com/office/powerpoint/2010/main" val="3381994455"/>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vertTx" preserve="1">
  <p:cSld name="Titolo e testo vertical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C1ED911-CF4F-4B8A-AE15-81863F88E0D1}"/>
              </a:ext>
            </a:extLst>
          </p:cNvPr>
          <p:cNvSpPr>
            <a:spLocks noGrp="1"/>
          </p:cNvSpPr>
          <p:nvPr>
            <p:ph type="title"/>
          </p:nvPr>
        </p:nvSpPr>
        <p:spPr/>
        <p:txBody>
          <a:bodyPr/>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BC232158-C701-4843-BF09-DA0D78EEB9EC}"/>
              </a:ext>
            </a:extLst>
          </p:cNvPr>
          <p:cNvSpPr>
            <a:spLocks noGrp="1"/>
          </p:cNvSpPr>
          <p:nvPr>
            <p:ph type="body" orient="vert" idx="1"/>
          </p:nvPr>
        </p:nvSpPr>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ECDBBBC1-2F31-4C77-AC03-AB0D214A28A1}"/>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5C4FAEC6-89EA-45BB-929A-50B620BB8620}"/>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879AC113-2497-4ECA-BA28-F83D07D09818}"/>
              </a:ext>
            </a:extLst>
          </p:cNvPr>
          <p:cNvSpPr>
            <a:spLocks noGrp="1"/>
          </p:cNvSpPr>
          <p:nvPr>
            <p:ph type="sldNum" sz="quarter" idx="12"/>
          </p:nvPr>
        </p:nvSpPr>
        <p:spPr/>
        <p:txBody>
          <a:bodyPr/>
          <a:lstStyle/>
          <a:p>
            <a:fld id="{71E9EC38-8305-49C0-AE54-8A8CA2E3146B}" type="slidenum">
              <a:rPr lang="it-IT" smtClean="0"/>
              <a:t>‹N›</a:t>
            </a:fld>
            <a:endParaRPr lang="it-IT"/>
          </a:p>
        </p:txBody>
      </p:sp>
    </p:spTree>
    <p:extLst>
      <p:ext uri="{BB962C8B-B14F-4D97-AF65-F5344CB8AC3E}">
        <p14:creationId xmlns:p14="http://schemas.microsoft.com/office/powerpoint/2010/main" val="2614656135"/>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itleAndTx" preserve="1">
  <p:cSld name="1_Titolo e testo verticale">
    <p:spTree>
      <p:nvGrpSpPr>
        <p:cNvPr id="1" name=""/>
        <p:cNvGrpSpPr/>
        <p:nvPr/>
      </p:nvGrpSpPr>
      <p:grpSpPr>
        <a:xfrm>
          <a:off x="0" y="0"/>
          <a:ext cx="0" cy="0"/>
          <a:chOff x="0" y="0"/>
          <a:chExt cx="0" cy="0"/>
        </a:xfrm>
      </p:grpSpPr>
      <p:sp>
        <p:nvSpPr>
          <p:cNvPr id="2" name="Titolo verticale 1">
            <a:extLst>
              <a:ext uri="{FF2B5EF4-FFF2-40B4-BE49-F238E27FC236}">
                <a16:creationId xmlns:a16="http://schemas.microsoft.com/office/drawing/2014/main" id="{CDFB3243-CC28-4645-B9C2-03AA0620AEF0}"/>
              </a:ext>
            </a:extLst>
          </p:cNvPr>
          <p:cNvSpPr>
            <a:spLocks noGrp="1"/>
          </p:cNvSpPr>
          <p:nvPr>
            <p:ph type="title" orient="vert"/>
          </p:nvPr>
        </p:nvSpPr>
        <p:spPr>
          <a:xfrm>
            <a:off x="8724900" y="365125"/>
            <a:ext cx="2628900" cy="5811838"/>
          </a:xfrm>
        </p:spPr>
        <p:txBody>
          <a:bodyPr vert="eaVert"/>
          <a:lstStyle/>
          <a:p>
            <a:r>
              <a:rPr lang="it-IT"/>
              <a:t>Fare clic per modificare lo stile del titolo dello schema</a:t>
            </a:r>
          </a:p>
        </p:txBody>
      </p:sp>
      <p:sp>
        <p:nvSpPr>
          <p:cNvPr id="3" name="Segnaposto testo verticale 2">
            <a:extLst>
              <a:ext uri="{FF2B5EF4-FFF2-40B4-BE49-F238E27FC236}">
                <a16:creationId xmlns:a16="http://schemas.microsoft.com/office/drawing/2014/main" id="{ABF36E8A-C19E-4CE0-92A6-D5FB815B2AE7}"/>
              </a:ext>
            </a:extLst>
          </p:cNvPr>
          <p:cNvSpPr>
            <a:spLocks noGrp="1"/>
          </p:cNvSpPr>
          <p:nvPr>
            <p:ph type="body" orient="vert" idx="1"/>
          </p:nvPr>
        </p:nvSpPr>
        <p:spPr>
          <a:xfrm>
            <a:off x="838200" y="365125"/>
            <a:ext cx="7734300" cy="5811838"/>
          </a:xfrm>
        </p:spPr>
        <p:txBody>
          <a:bodyPr vert="eaVert"/>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707ABEC9-8EA3-498D-8AEC-DDFDDC3AC8F3}"/>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E70FF0F6-50D1-4989-91F5-833D2CF6DA92}"/>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A633F96C-A8BF-4909-8EF1-C910556B6CFB}"/>
              </a:ext>
            </a:extLst>
          </p:cNvPr>
          <p:cNvSpPr>
            <a:spLocks noGrp="1"/>
          </p:cNvSpPr>
          <p:nvPr>
            <p:ph type="sldNum" sz="quarter" idx="12"/>
          </p:nvPr>
        </p:nvSpPr>
        <p:spPr/>
        <p:txBody>
          <a:bodyPr/>
          <a:lstStyle/>
          <a:p>
            <a:fld id="{71E9EC38-8305-49C0-AE54-8A8CA2E3146B}" type="slidenum">
              <a:rPr lang="it-IT" smtClean="0"/>
              <a:t>‹N›</a:t>
            </a:fld>
            <a:endParaRPr lang="it-IT"/>
          </a:p>
        </p:txBody>
      </p:sp>
    </p:spTree>
    <p:extLst>
      <p:ext uri="{BB962C8B-B14F-4D97-AF65-F5344CB8AC3E}">
        <p14:creationId xmlns:p14="http://schemas.microsoft.com/office/powerpoint/2010/main" val="3348870443"/>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showMasterSp="0" userDrawn="1">
  <p:cSld name="Disclaimer">
    <p:spTree>
      <p:nvGrpSpPr>
        <p:cNvPr id="1" name=""/>
        <p:cNvGrpSpPr/>
        <p:nvPr/>
      </p:nvGrpSpPr>
      <p:grpSpPr>
        <a:xfrm>
          <a:off x="0" y="0"/>
          <a:ext cx="0" cy="0"/>
          <a:chOff x="0" y="0"/>
          <a:chExt cx="0" cy="0"/>
        </a:xfrm>
      </p:grpSpPr>
    </p:spTree>
    <p:extLst>
      <p:ext uri="{BB962C8B-B14F-4D97-AF65-F5344CB8AC3E}">
        <p14:creationId xmlns:p14="http://schemas.microsoft.com/office/powerpoint/2010/main" val="3357310616"/>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Slide - Azzurr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6DC4011E-D886-7447-8FA3-2B2533A055CD}"/>
              </a:ext>
            </a:extLst>
          </p:cNvPr>
          <p:cNvSpPr>
            <a:spLocks noGrp="1"/>
          </p:cNvSpPr>
          <p:nvPr>
            <p:ph type="title"/>
          </p:nvPr>
        </p:nvSpPr>
        <p:spPr/>
        <p:txBody>
          <a:bodyPr>
            <a:normAutofit/>
          </a:bodyPr>
          <a:lstStyle>
            <a:lvl1pPr>
              <a:defRPr sz="28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4E95CAB5-CC0F-864D-862F-F7F04AF52565}"/>
              </a:ext>
            </a:extLst>
          </p:cNvPr>
          <p:cNvSpPr>
            <a:spLocks noGrp="1"/>
          </p:cNvSpPr>
          <p:nvPr>
            <p:ph idx="1"/>
          </p:nvPr>
        </p:nvSpPr>
        <p:spPr/>
        <p:txBody>
          <a:body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BA6A7959-EFE3-7248-9A14-E866956A9009}"/>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D1FA63B7-BD28-CD49-874A-A5D23E9A555B}"/>
              </a:ext>
            </a:extLst>
          </p:cNvPr>
          <p:cNvSpPr>
            <a:spLocks noGrp="1"/>
          </p:cNvSpPr>
          <p:nvPr>
            <p:ph type="ftr" sz="quarter" idx="11"/>
          </p:nvPr>
        </p:nvSpPr>
        <p:spPr/>
        <p:txBody>
          <a:bodyPr/>
          <a:lstStyle/>
          <a:p>
            <a:endParaRPr lang="it-IT"/>
          </a:p>
        </p:txBody>
      </p:sp>
      <p:sp>
        <p:nvSpPr>
          <p:cNvPr id="17" name="Shape 8">
            <a:extLst>
              <a:ext uri="{FF2B5EF4-FFF2-40B4-BE49-F238E27FC236}">
                <a16:creationId xmlns:a16="http://schemas.microsoft.com/office/drawing/2014/main" id="{3605BADB-97FD-40C0-990A-1034892DA6B6}"/>
              </a:ext>
            </a:extLst>
          </p:cNvPr>
          <p:cNvSpPr txBox="1">
            <a:spLocks/>
          </p:cNvSpPr>
          <p:nvPr userDrawn="1"/>
        </p:nvSpPr>
        <p:spPr>
          <a:xfrm>
            <a:off x="11507721" y="6585163"/>
            <a:ext cx="480061" cy="149412"/>
          </a:xfrm>
          <a:prstGeom prst="rect">
            <a:avLst/>
          </a:prstGeom>
        </p:spPr>
        <p:txBody>
          <a:bodyPr lIns="0" tIns="0" rIns="0" bIns="0" anchor="t" anchorCtr="0"/>
          <a:lstStyle>
            <a:defPPr>
              <a:defRPr lang="en-US"/>
            </a:defPPr>
            <a:lvl1pPr marL="0" algn="l" defTabSz="457200" rtl="0" eaLnBrk="1" latinLnBrk="0" hangingPunct="1">
              <a:defRPr sz="1000" kern="1200">
                <a:solidFill>
                  <a:srgbClr val="0061A8"/>
                </a:solidFill>
                <a:latin typeface="Arial"/>
                <a:ea typeface="Arial"/>
                <a:cs typeface="Arial"/>
                <a:sym typeface="Arial"/>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a:lstStyle>
          <a:p>
            <a:pPr algn="r"/>
            <a:fld id="{86CB4B4D-7CA3-9044-876B-883B54F8677D}" type="slidenum">
              <a:rPr lang="en-US" smtClean="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pPr algn="r"/>
              <a:t>‹N›</a:t>
            </a:fld>
            <a:endParaRPr lang="en-US" sz="83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19" name="Connettore 1 9">
            <a:extLst>
              <a:ext uri="{FF2B5EF4-FFF2-40B4-BE49-F238E27FC236}">
                <a16:creationId xmlns:a16="http://schemas.microsoft.com/office/drawing/2014/main" id="{DF2B3F9C-6933-47FD-AF0E-ADF287FF8EE1}"/>
              </a:ext>
            </a:extLst>
          </p:cNvPr>
          <p:cNvCxnSpPr/>
          <p:nvPr userDrawn="1"/>
        </p:nvCxnSpPr>
        <p:spPr>
          <a:xfrm>
            <a:off x="159494" y="1010052"/>
            <a:ext cx="11808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12" name="Connettore 1 9">
            <a:extLst>
              <a:ext uri="{FF2B5EF4-FFF2-40B4-BE49-F238E27FC236}">
                <a16:creationId xmlns:a16="http://schemas.microsoft.com/office/drawing/2014/main" id="{FCD8E7A4-AF0A-485A-8A68-C3ACF956FD06}"/>
              </a:ext>
            </a:extLst>
          </p:cNvPr>
          <p:cNvCxnSpPr>
            <a:cxnSpLocks/>
          </p:cNvCxnSpPr>
          <p:nvPr userDrawn="1"/>
        </p:nvCxnSpPr>
        <p:spPr>
          <a:xfrm>
            <a:off x="159494" y="6324411"/>
            <a:ext cx="11808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8" name="Immagine 7">
            <a:extLst>
              <a:ext uri="{FF2B5EF4-FFF2-40B4-BE49-F238E27FC236}">
                <a16:creationId xmlns:a16="http://schemas.microsoft.com/office/drawing/2014/main" id="{78AF9B66-B9CD-1CCA-EBE9-3817F7414752}"/>
              </a:ext>
            </a:extLst>
          </p:cNvPr>
          <p:cNvPicPr>
            <a:picLocks noChangeAspect="1"/>
          </p:cNvPicPr>
          <p:nvPr userDrawn="1"/>
        </p:nvPicPr>
        <p:blipFill>
          <a:blip r:embed="rId2"/>
          <a:stretch>
            <a:fillRect/>
          </a:stretch>
        </p:blipFill>
        <p:spPr>
          <a:xfrm>
            <a:off x="286599" y="6427367"/>
            <a:ext cx="2796280" cy="340421"/>
          </a:xfrm>
          <a:prstGeom prst="rect">
            <a:avLst/>
          </a:prstGeom>
        </p:spPr>
      </p:pic>
    </p:spTree>
    <p:extLst>
      <p:ext uri="{BB962C8B-B14F-4D97-AF65-F5344CB8AC3E}">
        <p14:creationId xmlns:p14="http://schemas.microsoft.com/office/powerpoint/2010/main" val="115120255"/>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userDrawn="1">
  <p:cSld name="1_Diapositiva titolo">
    <p:spTree>
      <p:nvGrpSpPr>
        <p:cNvPr id="1" name=""/>
        <p:cNvGrpSpPr/>
        <p:nvPr/>
      </p:nvGrpSpPr>
      <p:grpSpPr>
        <a:xfrm>
          <a:off x="0" y="0"/>
          <a:ext cx="0" cy="0"/>
          <a:chOff x="0" y="0"/>
          <a:chExt cx="0" cy="0"/>
        </a:xfrm>
      </p:grpSpPr>
    </p:spTree>
    <p:extLst>
      <p:ext uri="{BB962C8B-B14F-4D97-AF65-F5344CB8AC3E}">
        <p14:creationId xmlns:p14="http://schemas.microsoft.com/office/powerpoint/2010/main" val="3101122396"/>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Intestazione sezione">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09E4F6B7-896A-15F5-8768-12C35724EDDB}"/>
              </a:ext>
            </a:extLst>
          </p:cNvPr>
          <p:cNvSpPr>
            <a:spLocks noGrp="1"/>
          </p:cNvSpPr>
          <p:nvPr>
            <p:ph type="title"/>
          </p:nvPr>
        </p:nvSpPr>
        <p:spPr>
          <a:xfrm>
            <a:off x="831850" y="1709738"/>
            <a:ext cx="10515600" cy="2852737"/>
          </a:xfrm>
        </p:spPr>
        <p:txBody>
          <a:bodyPr anchor="b"/>
          <a:lstStyle>
            <a:lvl1pPr>
              <a:defRPr sz="6000"/>
            </a:lvl1pPr>
          </a:lstStyle>
          <a:p>
            <a:r>
              <a:rPr lang="it-IT"/>
              <a:t>Fare clic per modificare lo stile del titolo dello schema</a:t>
            </a:r>
          </a:p>
        </p:txBody>
      </p:sp>
      <p:sp>
        <p:nvSpPr>
          <p:cNvPr id="3" name="Segnaposto testo 2">
            <a:extLst>
              <a:ext uri="{FF2B5EF4-FFF2-40B4-BE49-F238E27FC236}">
                <a16:creationId xmlns:a16="http://schemas.microsoft.com/office/drawing/2014/main" id="{A78C0A04-5466-55D8-7366-F986E2385DF8}"/>
              </a:ext>
            </a:extLst>
          </p:cNvPr>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it-IT"/>
              <a:t>Fare clic per modificare gli stili del testo dello schema</a:t>
            </a:r>
          </a:p>
        </p:txBody>
      </p:sp>
      <p:sp>
        <p:nvSpPr>
          <p:cNvPr id="4" name="Segnaposto data 3">
            <a:extLst>
              <a:ext uri="{FF2B5EF4-FFF2-40B4-BE49-F238E27FC236}">
                <a16:creationId xmlns:a16="http://schemas.microsoft.com/office/drawing/2014/main" id="{70EDCD7E-8443-943D-0738-E7CFA5B7A508}"/>
              </a:ext>
            </a:extLst>
          </p:cNvPr>
          <p:cNvSpPr>
            <a:spLocks noGrp="1"/>
          </p:cNvSpPr>
          <p:nvPr>
            <p:ph type="dt" sz="half" idx="10"/>
          </p:nvPr>
        </p:nvSpPr>
        <p:spPr/>
        <p:txBody>
          <a:bodyPr/>
          <a:lstStyle/>
          <a:p>
            <a:endParaRPr lang="it-IT"/>
          </a:p>
        </p:txBody>
      </p:sp>
      <p:sp>
        <p:nvSpPr>
          <p:cNvPr id="5" name="Segnaposto piè di pagina 4">
            <a:extLst>
              <a:ext uri="{FF2B5EF4-FFF2-40B4-BE49-F238E27FC236}">
                <a16:creationId xmlns:a16="http://schemas.microsoft.com/office/drawing/2014/main" id="{252FD9BF-F6A0-C08B-FE7A-3D7CCF05A7F7}"/>
              </a:ext>
            </a:extLst>
          </p:cNvPr>
          <p:cNvSpPr>
            <a:spLocks noGrp="1"/>
          </p:cNvSpPr>
          <p:nvPr>
            <p:ph type="ftr" sz="quarter" idx="11"/>
          </p:nvPr>
        </p:nvSpPr>
        <p:spPr/>
        <p:txBody>
          <a:bodyPr/>
          <a:lstStyle/>
          <a:p>
            <a:endParaRPr lang="it-IT"/>
          </a:p>
        </p:txBody>
      </p:sp>
      <p:sp>
        <p:nvSpPr>
          <p:cNvPr id="6" name="Segnaposto numero diapositiva 5">
            <a:extLst>
              <a:ext uri="{FF2B5EF4-FFF2-40B4-BE49-F238E27FC236}">
                <a16:creationId xmlns:a16="http://schemas.microsoft.com/office/drawing/2014/main" id="{1EF4EAF6-A25F-1F17-E401-54BA31C7B78E}"/>
              </a:ext>
            </a:extLst>
          </p:cNvPr>
          <p:cNvSpPr>
            <a:spLocks noGrp="1"/>
          </p:cNvSpPr>
          <p:nvPr>
            <p:ph type="sldNum" sz="quarter" idx="12"/>
          </p:nvPr>
        </p:nvSpPr>
        <p:spPr/>
        <p:txBody>
          <a:bodyPr/>
          <a:lstStyle/>
          <a:p>
            <a:fld id="{00F0C1FD-41C3-4D85-8E51-9C56B45C685D}" type="slidenum">
              <a:rPr lang="it-IT" smtClean="0"/>
              <a:t>‹N›</a:t>
            </a:fld>
            <a:endParaRPr lang="it-IT"/>
          </a:p>
        </p:txBody>
      </p:sp>
    </p:spTree>
    <p:extLst>
      <p:ext uri="{BB962C8B-B14F-4D97-AF65-F5344CB8AC3E}">
        <p14:creationId xmlns:p14="http://schemas.microsoft.com/office/powerpoint/2010/main" val="324703385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Due contenuti">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5655EEBC-7B54-1504-4A01-4C4187945D9A}"/>
              </a:ext>
            </a:extLst>
          </p:cNvPr>
          <p:cNvSpPr>
            <a:spLocks noGrp="1"/>
          </p:cNvSpPr>
          <p:nvPr>
            <p:ph type="title"/>
          </p:nvPr>
        </p:nvSpPr>
        <p:spPr/>
        <p:txBody>
          <a:body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9B690E2B-58B5-C8F8-8206-2B5D837DCAEB}"/>
              </a:ext>
            </a:extLst>
          </p:cNvPr>
          <p:cNvSpPr>
            <a:spLocks noGrp="1"/>
          </p:cNvSpPr>
          <p:nvPr>
            <p:ph sz="half" idx="1"/>
          </p:nvPr>
        </p:nvSpPr>
        <p:spPr>
          <a:xfrm>
            <a:off x="838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contenuto 3">
            <a:extLst>
              <a:ext uri="{FF2B5EF4-FFF2-40B4-BE49-F238E27FC236}">
                <a16:creationId xmlns:a16="http://schemas.microsoft.com/office/drawing/2014/main" id="{BD542B00-8358-B76D-E8AF-7EFEBE557843}"/>
              </a:ext>
            </a:extLst>
          </p:cNvPr>
          <p:cNvSpPr>
            <a:spLocks noGrp="1"/>
          </p:cNvSpPr>
          <p:nvPr>
            <p:ph sz="half" idx="2"/>
          </p:nvPr>
        </p:nvSpPr>
        <p:spPr>
          <a:xfrm>
            <a:off x="6172200" y="1825625"/>
            <a:ext cx="5181600" cy="435133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data 4">
            <a:extLst>
              <a:ext uri="{FF2B5EF4-FFF2-40B4-BE49-F238E27FC236}">
                <a16:creationId xmlns:a16="http://schemas.microsoft.com/office/drawing/2014/main" id="{4A24C6ED-CE51-B80B-4E76-81FEA499C9C0}"/>
              </a:ext>
            </a:extLst>
          </p:cNvPr>
          <p:cNvSpPr>
            <a:spLocks noGrp="1"/>
          </p:cNvSpPr>
          <p:nvPr>
            <p:ph type="dt" sz="half" idx="10"/>
          </p:nvPr>
        </p:nvSpPr>
        <p:spPr/>
        <p:txBody>
          <a:bodyPr/>
          <a:lstStyle/>
          <a:p>
            <a:endParaRPr lang="it-IT"/>
          </a:p>
        </p:txBody>
      </p:sp>
      <p:sp>
        <p:nvSpPr>
          <p:cNvPr id="6" name="Segnaposto piè di pagina 5">
            <a:extLst>
              <a:ext uri="{FF2B5EF4-FFF2-40B4-BE49-F238E27FC236}">
                <a16:creationId xmlns:a16="http://schemas.microsoft.com/office/drawing/2014/main" id="{C2A29005-983F-59F0-55F4-8A873D448A4B}"/>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DA10F864-B738-8B3E-2040-307633E6930F}"/>
              </a:ext>
            </a:extLst>
          </p:cNvPr>
          <p:cNvSpPr>
            <a:spLocks noGrp="1"/>
          </p:cNvSpPr>
          <p:nvPr>
            <p:ph type="sldNum" sz="quarter" idx="12"/>
          </p:nvPr>
        </p:nvSpPr>
        <p:spPr/>
        <p:txBody>
          <a:bodyPr/>
          <a:lstStyle>
            <a:lvl1pPr>
              <a:defRPr sz="1200">
                <a:solidFill>
                  <a:schemeClr val="tx1"/>
                </a:solidFill>
              </a:defRPr>
            </a:lvl1pPr>
          </a:lstStyle>
          <a:p>
            <a:fld id="{00F0C1FD-41C3-4D85-8E51-9C56B45C685D}" type="slidenum">
              <a:rPr lang="it-IT" smtClean="0"/>
              <a:pPr/>
              <a:t>‹N›</a:t>
            </a:fld>
            <a:endParaRPr lang="it-IT"/>
          </a:p>
        </p:txBody>
      </p:sp>
      <p:cxnSp>
        <p:nvCxnSpPr>
          <p:cNvPr id="8" name="Connettore 1 9">
            <a:extLst>
              <a:ext uri="{FF2B5EF4-FFF2-40B4-BE49-F238E27FC236}">
                <a16:creationId xmlns:a16="http://schemas.microsoft.com/office/drawing/2014/main" id="{D490A774-82F2-E3F9-F4DC-6A2507792C7B}"/>
              </a:ext>
            </a:extLst>
          </p:cNvPr>
          <p:cNvCxnSpPr/>
          <p:nvPr userDrawn="1"/>
        </p:nvCxnSpPr>
        <p:spPr>
          <a:xfrm>
            <a:off x="159494" y="1010052"/>
            <a:ext cx="11808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cxnSp>
        <p:nvCxnSpPr>
          <p:cNvPr id="9" name="Connettore 1 9">
            <a:extLst>
              <a:ext uri="{FF2B5EF4-FFF2-40B4-BE49-F238E27FC236}">
                <a16:creationId xmlns:a16="http://schemas.microsoft.com/office/drawing/2014/main" id="{9EEEDB6E-C9AB-4046-C7B0-E287CA8705E0}"/>
              </a:ext>
            </a:extLst>
          </p:cNvPr>
          <p:cNvCxnSpPr>
            <a:cxnSpLocks/>
          </p:cNvCxnSpPr>
          <p:nvPr userDrawn="1"/>
        </p:nvCxnSpPr>
        <p:spPr>
          <a:xfrm>
            <a:off x="159494" y="6324411"/>
            <a:ext cx="11808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pic>
        <p:nvPicPr>
          <p:cNvPr id="10" name="Immagine 9">
            <a:extLst>
              <a:ext uri="{FF2B5EF4-FFF2-40B4-BE49-F238E27FC236}">
                <a16:creationId xmlns:a16="http://schemas.microsoft.com/office/drawing/2014/main" id="{114C264F-C44C-42C2-311D-0AA057FBE59D}"/>
              </a:ext>
            </a:extLst>
          </p:cNvPr>
          <p:cNvPicPr>
            <a:picLocks noChangeAspect="1"/>
          </p:cNvPicPr>
          <p:nvPr userDrawn="1"/>
        </p:nvPicPr>
        <p:blipFill>
          <a:blip r:embed="rId2"/>
          <a:stretch>
            <a:fillRect/>
          </a:stretch>
        </p:blipFill>
        <p:spPr>
          <a:xfrm>
            <a:off x="286599" y="6427367"/>
            <a:ext cx="2796280" cy="340421"/>
          </a:xfrm>
          <a:prstGeom prst="rect">
            <a:avLst/>
          </a:prstGeom>
        </p:spPr>
      </p:pic>
    </p:spTree>
    <p:extLst>
      <p:ext uri="{BB962C8B-B14F-4D97-AF65-F5344CB8AC3E}">
        <p14:creationId xmlns:p14="http://schemas.microsoft.com/office/powerpoint/2010/main" val="3362386112"/>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nfront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28902FAD-3950-0544-2509-CB9DC0838663}"/>
              </a:ext>
            </a:extLst>
          </p:cNvPr>
          <p:cNvSpPr>
            <a:spLocks noGrp="1"/>
          </p:cNvSpPr>
          <p:nvPr>
            <p:ph type="title"/>
          </p:nvPr>
        </p:nvSpPr>
        <p:spPr>
          <a:xfrm>
            <a:off x="839788" y="365125"/>
            <a:ext cx="10515600" cy="1325563"/>
          </a:xfrm>
        </p:spPr>
        <p:txBody>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8B299247-1B58-BE2A-0C75-8DC8F6EEFC02}"/>
              </a:ext>
            </a:extLst>
          </p:cNvPr>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4" name="Segnaposto contenuto 3">
            <a:extLst>
              <a:ext uri="{FF2B5EF4-FFF2-40B4-BE49-F238E27FC236}">
                <a16:creationId xmlns:a16="http://schemas.microsoft.com/office/drawing/2014/main" id="{C9F91DC4-75A0-DC5D-FC19-174530972693}"/>
              </a:ext>
            </a:extLst>
          </p:cNvPr>
          <p:cNvSpPr>
            <a:spLocks noGrp="1"/>
          </p:cNvSpPr>
          <p:nvPr>
            <p:ph sz="half" idx="2"/>
          </p:nvPr>
        </p:nvSpPr>
        <p:spPr>
          <a:xfrm>
            <a:off x="839788" y="2505075"/>
            <a:ext cx="5157787"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5" name="Segnaposto testo 4">
            <a:extLst>
              <a:ext uri="{FF2B5EF4-FFF2-40B4-BE49-F238E27FC236}">
                <a16:creationId xmlns:a16="http://schemas.microsoft.com/office/drawing/2014/main" id="{90E05813-1869-C51E-1DD3-08D88569A7E0}"/>
              </a:ext>
            </a:extLst>
          </p:cNvPr>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it-IT"/>
              <a:t>Fare clic per modificare gli stili del testo dello schema</a:t>
            </a:r>
          </a:p>
        </p:txBody>
      </p:sp>
      <p:sp>
        <p:nvSpPr>
          <p:cNvPr id="6" name="Segnaposto contenuto 5">
            <a:extLst>
              <a:ext uri="{FF2B5EF4-FFF2-40B4-BE49-F238E27FC236}">
                <a16:creationId xmlns:a16="http://schemas.microsoft.com/office/drawing/2014/main" id="{F844B0D9-150C-A41A-9B9C-280344D0A3B2}"/>
              </a:ext>
            </a:extLst>
          </p:cNvPr>
          <p:cNvSpPr>
            <a:spLocks noGrp="1"/>
          </p:cNvSpPr>
          <p:nvPr>
            <p:ph sz="quarter" idx="4"/>
          </p:nvPr>
        </p:nvSpPr>
        <p:spPr>
          <a:xfrm>
            <a:off x="6172200" y="2505075"/>
            <a:ext cx="5183188" cy="3684588"/>
          </a:xfrm>
        </p:spPr>
        <p:txBody>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7" name="Segnaposto data 6">
            <a:extLst>
              <a:ext uri="{FF2B5EF4-FFF2-40B4-BE49-F238E27FC236}">
                <a16:creationId xmlns:a16="http://schemas.microsoft.com/office/drawing/2014/main" id="{49878E6C-F639-D824-39EC-3596994750D8}"/>
              </a:ext>
            </a:extLst>
          </p:cNvPr>
          <p:cNvSpPr>
            <a:spLocks noGrp="1"/>
          </p:cNvSpPr>
          <p:nvPr>
            <p:ph type="dt" sz="half" idx="10"/>
          </p:nvPr>
        </p:nvSpPr>
        <p:spPr/>
        <p:txBody>
          <a:bodyPr/>
          <a:lstStyle/>
          <a:p>
            <a:endParaRPr lang="it-IT"/>
          </a:p>
        </p:txBody>
      </p:sp>
      <p:sp>
        <p:nvSpPr>
          <p:cNvPr id="8" name="Segnaposto piè di pagina 7">
            <a:extLst>
              <a:ext uri="{FF2B5EF4-FFF2-40B4-BE49-F238E27FC236}">
                <a16:creationId xmlns:a16="http://schemas.microsoft.com/office/drawing/2014/main" id="{B391E26B-28B3-9576-A8C1-66A5F63E81D1}"/>
              </a:ext>
            </a:extLst>
          </p:cNvPr>
          <p:cNvSpPr>
            <a:spLocks noGrp="1"/>
          </p:cNvSpPr>
          <p:nvPr>
            <p:ph type="ftr" sz="quarter" idx="11"/>
          </p:nvPr>
        </p:nvSpPr>
        <p:spPr/>
        <p:txBody>
          <a:bodyPr/>
          <a:lstStyle/>
          <a:p>
            <a:endParaRPr lang="it-IT"/>
          </a:p>
        </p:txBody>
      </p:sp>
      <p:sp>
        <p:nvSpPr>
          <p:cNvPr id="9" name="Segnaposto numero diapositiva 8">
            <a:extLst>
              <a:ext uri="{FF2B5EF4-FFF2-40B4-BE49-F238E27FC236}">
                <a16:creationId xmlns:a16="http://schemas.microsoft.com/office/drawing/2014/main" id="{835E10D3-0486-BBFB-50E3-9DFFC728A041}"/>
              </a:ext>
            </a:extLst>
          </p:cNvPr>
          <p:cNvSpPr>
            <a:spLocks noGrp="1"/>
          </p:cNvSpPr>
          <p:nvPr>
            <p:ph type="sldNum" sz="quarter" idx="12"/>
          </p:nvPr>
        </p:nvSpPr>
        <p:spPr/>
        <p:txBody>
          <a:bodyPr/>
          <a:lstStyle/>
          <a:p>
            <a:fld id="{00F0C1FD-41C3-4D85-8E51-9C56B45C685D}" type="slidenum">
              <a:rPr lang="it-IT" smtClean="0"/>
              <a:t>‹N›</a:t>
            </a:fld>
            <a:endParaRPr lang="it-IT"/>
          </a:p>
        </p:txBody>
      </p:sp>
    </p:spTree>
    <p:extLst>
      <p:ext uri="{BB962C8B-B14F-4D97-AF65-F5344CB8AC3E}">
        <p14:creationId xmlns:p14="http://schemas.microsoft.com/office/powerpoint/2010/main" val="1628538527"/>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Solo titolo">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233473A-46E8-10D6-75D4-099095B2BC91}"/>
              </a:ext>
            </a:extLst>
          </p:cNvPr>
          <p:cNvSpPr>
            <a:spLocks noGrp="1"/>
          </p:cNvSpPr>
          <p:nvPr>
            <p:ph type="title"/>
          </p:nvPr>
        </p:nvSpPr>
        <p:spPr/>
        <p:txBody>
          <a:bodyPr/>
          <a:lstStyle/>
          <a:p>
            <a:r>
              <a:rPr lang="it-IT"/>
              <a:t>Fare clic per modificare lo stile del titolo dello schema</a:t>
            </a:r>
          </a:p>
        </p:txBody>
      </p:sp>
      <p:sp>
        <p:nvSpPr>
          <p:cNvPr id="3" name="Segnaposto data 2">
            <a:extLst>
              <a:ext uri="{FF2B5EF4-FFF2-40B4-BE49-F238E27FC236}">
                <a16:creationId xmlns:a16="http://schemas.microsoft.com/office/drawing/2014/main" id="{E50C2635-DD00-F09A-328E-A0B5AFDDA5BB}"/>
              </a:ext>
            </a:extLst>
          </p:cNvPr>
          <p:cNvSpPr>
            <a:spLocks noGrp="1"/>
          </p:cNvSpPr>
          <p:nvPr>
            <p:ph type="dt" sz="half" idx="10"/>
          </p:nvPr>
        </p:nvSpPr>
        <p:spPr/>
        <p:txBody>
          <a:bodyPr/>
          <a:lstStyle/>
          <a:p>
            <a:endParaRPr lang="it-IT"/>
          </a:p>
        </p:txBody>
      </p:sp>
      <p:sp>
        <p:nvSpPr>
          <p:cNvPr id="4" name="Segnaposto piè di pagina 3">
            <a:extLst>
              <a:ext uri="{FF2B5EF4-FFF2-40B4-BE49-F238E27FC236}">
                <a16:creationId xmlns:a16="http://schemas.microsoft.com/office/drawing/2014/main" id="{F5F7D5F3-5270-052D-661E-823683E7F74F}"/>
              </a:ext>
            </a:extLst>
          </p:cNvPr>
          <p:cNvSpPr>
            <a:spLocks noGrp="1"/>
          </p:cNvSpPr>
          <p:nvPr>
            <p:ph type="ftr" sz="quarter" idx="11"/>
          </p:nvPr>
        </p:nvSpPr>
        <p:spPr/>
        <p:txBody>
          <a:bodyPr/>
          <a:lstStyle/>
          <a:p>
            <a:endParaRPr lang="it-IT"/>
          </a:p>
        </p:txBody>
      </p:sp>
      <p:sp>
        <p:nvSpPr>
          <p:cNvPr id="5" name="Segnaposto numero diapositiva 4">
            <a:extLst>
              <a:ext uri="{FF2B5EF4-FFF2-40B4-BE49-F238E27FC236}">
                <a16:creationId xmlns:a16="http://schemas.microsoft.com/office/drawing/2014/main" id="{5F4E6B8C-11B7-67B1-7513-DAF52EA39403}"/>
              </a:ext>
            </a:extLst>
          </p:cNvPr>
          <p:cNvSpPr>
            <a:spLocks noGrp="1"/>
          </p:cNvSpPr>
          <p:nvPr>
            <p:ph type="sldNum" sz="quarter" idx="12"/>
          </p:nvPr>
        </p:nvSpPr>
        <p:spPr/>
        <p:txBody>
          <a:bodyPr/>
          <a:lstStyle/>
          <a:p>
            <a:fld id="{00F0C1FD-41C3-4D85-8E51-9C56B45C685D}" type="slidenum">
              <a:rPr lang="it-IT" smtClean="0"/>
              <a:t>‹N›</a:t>
            </a:fld>
            <a:endParaRPr lang="it-IT"/>
          </a:p>
        </p:txBody>
      </p:sp>
    </p:spTree>
    <p:extLst>
      <p:ext uri="{BB962C8B-B14F-4D97-AF65-F5344CB8AC3E}">
        <p14:creationId xmlns:p14="http://schemas.microsoft.com/office/powerpoint/2010/main" val="52804124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Vuota">
    <p:spTree>
      <p:nvGrpSpPr>
        <p:cNvPr id="1" name=""/>
        <p:cNvGrpSpPr/>
        <p:nvPr/>
      </p:nvGrpSpPr>
      <p:grpSpPr>
        <a:xfrm>
          <a:off x="0" y="0"/>
          <a:ext cx="0" cy="0"/>
          <a:chOff x="0" y="0"/>
          <a:chExt cx="0" cy="0"/>
        </a:xfrm>
      </p:grpSpPr>
      <p:sp>
        <p:nvSpPr>
          <p:cNvPr id="2" name="Segnaposto data 1">
            <a:extLst>
              <a:ext uri="{FF2B5EF4-FFF2-40B4-BE49-F238E27FC236}">
                <a16:creationId xmlns:a16="http://schemas.microsoft.com/office/drawing/2014/main" id="{CA84D2FB-FDBE-A3E0-075C-FB3C9CE2AD8D}"/>
              </a:ext>
            </a:extLst>
          </p:cNvPr>
          <p:cNvSpPr>
            <a:spLocks noGrp="1"/>
          </p:cNvSpPr>
          <p:nvPr>
            <p:ph type="dt" sz="half" idx="10"/>
          </p:nvPr>
        </p:nvSpPr>
        <p:spPr/>
        <p:txBody>
          <a:bodyPr/>
          <a:lstStyle/>
          <a:p>
            <a:endParaRPr lang="it-IT"/>
          </a:p>
        </p:txBody>
      </p:sp>
      <p:sp>
        <p:nvSpPr>
          <p:cNvPr id="3" name="Segnaposto piè di pagina 2">
            <a:extLst>
              <a:ext uri="{FF2B5EF4-FFF2-40B4-BE49-F238E27FC236}">
                <a16:creationId xmlns:a16="http://schemas.microsoft.com/office/drawing/2014/main" id="{5AEED3E4-F513-A34E-E1A1-E7079314AD8F}"/>
              </a:ext>
            </a:extLst>
          </p:cNvPr>
          <p:cNvSpPr>
            <a:spLocks noGrp="1"/>
          </p:cNvSpPr>
          <p:nvPr>
            <p:ph type="ftr" sz="quarter" idx="11"/>
          </p:nvPr>
        </p:nvSpPr>
        <p:spPr/>
        <p:txBody>
          <a:bodyPr/>
          <a:lstStyle/>
          <a:p>
            <a:endParaRPr lang="it-IT"/>
          </a:p>
        </p:txBody>
      </p:sp>
      <p:sp>
        <p:nvSpPr>
          <p:cNvPr id="4" name="Segnaposto numero diapositiva 3">
            <a:extLst>
              <a:ext uri="{FF2B5EF4-FFF2-40B4-BE49-F238E27FC236}">
                <a16:creationId xmlns:a16="http://schemas.microsoft.com/office/drawing/2014/main" id="{C41CEE26-02F1-22A8-6564-64E34CF5A5A3}"/>
              </a:ext>
            </a:extLst>
          </p:cNvPr>
          <p:cNvSpPr>
            <a:spLocks noGrp="1"/>
          </p:cNvSpPr>
          <p:nvPr>
            <p:ph type="sldNum" sz="quarter" idx="12"/>
          </p:nvPr>
        </p:nvSpPr>
        <p:spPr/>
        <p:txBody>
          <a:bodyPr/>
          <a:lstStyle/>
          <a:p>
            <a:fld id="{00F0C1FD-41C3-4D85-8E51-9C56B45C685D}" type="slidenum">
              <a:rPr lang="it-IT" smtClean="0"/>
              <a:t>‹N›</a:t>
            </a:fld>
            <a:endParaRPr lang="it-IT"/>
          </a:p>
        </p:txBody>
      </p:sp>
    </p:spTree>
    <p:extLst>
      <p:ext uri="{BB962C8B-B14F-4D97-AF65-F5344CB8AC3E}">
        <p14:creationId xmlns:p14="http://schemas.microsoft.com/office/powerpoint/2010/main" val="409421384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uto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12EB6B14-6ED3-655D-6E6C-F70FD98E9894}"/>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contenuto 2">
            <a:extLst>
              <a:ext uri="{FF2B5EF4-FFF2-40B4-BE49-F238E27FC236}">
                <a16:creationId xmlns:a16="http://schemas.microsoft.com/office/drawing/2014/main" id="{4C98900C-0B2F-189F-89FF-5838F7F2EEE0}"/>
              </a:ext>
            </a:extLst>
          </p:cNvPr>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testo 3">
            <a:extLst>
              <a:ext uri="{FF2B5EF4-FFF2-40B4-BE49-F238E27FC236}">
                <a16:creationId xmlns:a16="http://schemas.microsoft.com/office/drawing/2014/main" id="{34822DE7-0A57-0E72-0F9D-60EE56059761}"/>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96445E0F-A6D4-A105-4377-5D8BE68CB484}"/>
              </a:ext>
            </a:extLst>
          </p:cNvPr>
          <p:cNvSpPr>
            <a:spLocks noGrp="1"/>
          </p:cNvSpPr>
          <p:nvPr>
            <p:ph type="dt" sz="half" idx="10"/>
          </p:nvPr>
        </p:nvSpPr>
        <p:spPr/>
        <p:txBody>
          <a:bodyPr/>
          <a:lstStyle/>
          <a:p>
            <a:endParaRPr lang="it-IT"/>
          </a:p>
        </p:txBody>
      </p:sp>
      <p:sp>
        <p:nvSpPr>
          <p:cNvPr id="6" name="Segnaposto piè di pagina 5">
            <a:extLst>
              <a:ext uri="{FF2B5EF4-FFF2-40B4-BE49-F238E27FC236}">
                <a16:creationId xmlns:a16="http://schemas.microsoft.com/office/drawing/2014/main" id="{C9CA6903-2278-DE19-534E-A29EE03C8AB3}"/>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545891DA-4EAA-2B7D-ABE8-C932BFD4A0A0}"/>
              </a:ext>
            </a:extLst>
          </p:cNvPr>
          <p:cNvSpPr>
            <a:spLocks noGrp="1"/>
          </p:cNvSpPr>
          <p:nvPr>
            <p:ph type="sldNum" sz="quarter" idx="12"/>
          </p:nvPr>
        </p:nvSpPr>
        <p:spPr/>
        <p:txBody>
          <a:bodyPr/>
          <a:lstStyle>
            <a:lvl1pPr>
              <a:defRPr sz="1200">
                <a:solidFill>
                  <a:schemeClr val="tx1"/>
                </a:solidFill>
              </a:defRPr>
            </a:lvl1pPr>
          </a:lstStyle>
          <a:p>
            <a:fld id="{00F0C1FD-41C3-4D85-8E51-9C56B45C685D}" type="slidenum">
              <a:rPr lang="it-IT" smtClean="0"/>
              <a:pPr/>
              <a:t>‹N›</a:t>
            </a:fld>
            <a:endParaRPr lang="it-IT"/>
          </a:p>
        </p:txBody>
      </p:sp>
    </p:spTree>
    <p:extLst>
      <p:ext uri="{BB962C8B-B14F-4D97-AF65-F5344CB8AC3E}">
        <p14:creationId xmlns:p14="http://schemas.microsoft.com/office/powerpoint/2010/main" val="378396217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Immagine con didascalia">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A1C40C70-C491-7A7D-756D-48915B92D0CB}"/>
              </a:ext>
            </a:extLst>
          </p:cNvPr>
          <p:cNvSpPr>
            <a:spLocks noGrp="1"/>
          </p:cNvSpPr>
          <p:nvPr>
            <p:ph type="title"/>
          </p:nvPr>
        </p:nvSpPr>
        <p:spPr>
          <a:xfrm>
            <a:off x="839788" y="457200"/>
            <a:ext cx="3932237" cy="1600200"/>
          </a:xfrm>
        </p:spPr>
        <p:txBody>
          <a:bodyPr anchor="b"/>
          <a:lstStyle>
            <a:lvl1pPr>
              <a:defRPr sz="3200"/>
            </a:lvl1pPr>
          </a:lstStyle>
          <a:p>
            <a:r>
              <a:rPr lang="it-IT"/>
              <a:t>Fare clic per modificare lo stile del titolo dello schema</a:t>
            </a:r>
          </a:p>
        </p:txBody>
      </p:sp>
      <p:sp>
        <p:nvSpPr>
          <p:cNvPr id="3" name="Segnaposto immagine 2">
            <a:extLst>
              <a:ext uri="{FF2B5EF4-FFF2-40B4-BE49-F238E27FC236}">
                <a16:creationId xmlns:a16="http://schemas.microsoft.com/office/drawing/2014/main" id="{569240BD-BB92-63E2-0E91-911F09164639}"/>
              </a:ext>
            </a:extLst>
          </p:cNvPr>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it-IT"/>
          </a:p>
        </p:txBody>
      </p:sp>
      <p:sp>
        <p:nvSpPr>
          <p:cNvPr id="4" name="Segnaposto testo 3">
            <a:extLst>
              <a:ext uri="{FF2B5EF4-FFF2-40B4-BE49-F238E27FC236}">
                <a16:creationId xmlns:a16="http://schemas.microsoft.com/office/drawing/2014/main" id="{365C17C7-1675-C0C6-888D-5CE51B981C80}"/>
              </a:ext>
            </a:extLst>
          </p:cNvPr>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it-IT"/>
              <a:t>Fare clic per modificare gli stili del testo dello schema</a:t>
            </a:r>
          </a:p>
        </p:txBody>
      </p:sp>
      <p:sp>
        <p:nvSpPr>
          <p:cNvPr id="5" name="Segnaposto data 4">
            <a:extLst>
              <a:ext uri="{FF2B5EF4-FFF2-40B4-BE49-F238E27FC236}">
                <a16:creationId xmlns:a16="http://schemas.microsoft.com/office/drawing/2014/main" id="{C2EE134A-B7B2-0D24-3D0D-25E32E4CC06B}"/>
              </a:ext>
            </a:extLst>
          </p:cNvPr>
          <p:cNvSpPr>
            <a:spLocks noGrp="1"/>
          </p:cNvSpPr>
          <p:nvPr>
            <p:ph type="dt" sz="half" idx="10"/>
          </p:nvPr>
        </p:nvSpPr>
        <p:spPr/>
        <p:txBody>
          <a:bodyPr/>
          <a:lstStyle/>
          <a:p>
            <a:endParaRPr lang="it-IT"/>
          </a:p>
        </p:txBody>
      </p:sp>
      <p:sp>
        <p:nvSpPr>
          <p:cNvPr id="6" name="Segnaposto piè di pagina 5">
            <a:extLst>
              <a:ext uri="{FF2B5EF4-FFF2-40B4-BE49-F238E27FC236}">
                <a16:creationId xmlns:a16="http://schemas.microsoft.com/office/drawing/2014/main" id="{BF250FDF-8D79-3BFB-B2EC-C7C0AD9C9975}"/>
              </a:ext>
            </a:extLst>
          </p:cNvPr>
          <p:cNvSpPr>
            <a:spLocks noGrp="1"/>
          </p:cNvSpPr>
          <p:nvPr>
            <p:ph type="ftr" sz="quarter" idx="11"/>
          </p:nvPr>
        </p:nvSpPr>
        <p:spPr/>
        <p:txBody>
          <a:bodyPr/>
          <a:lstStyle/>
          <a:p>
            <a:endParaRPr lang="it-IT"/>
          </a:p>
        </p:txBody>
      </p:sp>
      <p:sp>
        <p:nvSpPr>
          <p:cNvPr id="7" name="Segnaposto numero diapositiva 6">
            <a:extLst>
              <a:ext uri="{FF2B5EF4-FFF2-40B4-BE49-F238E27FC236}">
                <a16:creationId xmlns:a16="http://schemas.microsoft.com/office/drawing/2014/main" id="{9E08FA1C-EBB2-EF41-B38F-66A32DC0D3D3}"/>
              </a:ext>
            </a:extLst>
          </p:cNvPr>
          <p:cNvSpPr>
            <a:spLocks noGrp="1"/>
          </p:cNvSpPr>
          <p:nvPr>
            <p:ph type="sldNum" sz="quarter" idx="12"/>
          </p:nvPr>
        </p:nvSpPr>
        <p:spPr/>
        <p:txBody>
          <a:bodyPr/>
          <a:lstStyle>
            <a:lvl1pPr>
              <a:defRPr sz="1200">
                <a:solidFill>
                  <a:schemeClr val="tx1"/>
                </a:solidFill>
              </a:defRPr>
            </a:lvl1pPr>
          </a:lstStyle>
          <a:p>
            <a:fld id="{00F0C1FD-41C3-4D85-8E51-9C56B45C685D}" type="slidenum">
              <a:rPr lang="it-IT" smtClean="0"/>
              <a:pPr/>
              <a:t>‹N›</a:t>
            </a:fld>
            <a:endParaRPr lang="it-IT"/>
          </a:p>
        </p:txBody>
      </p:sp>
    </p:spTree>
    <p:extLst>
      <p:ext uri="{BB962C8B-B14F-4D97-AF65-F5344CB8AC3E}">
        <p14:creationId xmlns:p14="http://schemas.microsoft.com/office/powerpoint/2010/main" val="2746196068"/>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0.xml"/><Relationship Id="rId13" Type="http://schemas.openxmlformats.org/officeDocument/2006/relationships/slideLayout" Target="../slideLayouts/slideLayout25.xml"/><Relationship Id="rId18" Type="http://schemas.openxmlformats.org/officeDocument/2006/relationships/image" Target="../media/image2.emf"/><Relationship Id="rId3" Type="http://schemas.openxmlformats.org/officeDocument/2006/relationships/slideLayout" Target="../slideLayouts/slideLayout15.xml"/><Relationship Id="rId7" Type="http://schemas.openxmlformats.org/officeDocument/2006/relationships/slideLayout" Target="../slideLayouts/slideLayout19.xml"/><Relationship Id="rId12" Type="http://schemas.openxmlformats.org/officeDocument/2006/relationships/slideLayout" Target="../slideLayouts/slideLayout24.xml"/><Relationship Id="rId17" Type="http://schemas.openxmlformats.org/officeDocument/2006/relationships/oleObject" Target="../embeddings/oleObject1.bin"/><Relationship Id="rId2" Type="http://schemas.openxmlformats.org/officeDocument/2006/relationships/slideLayout" Target="../slideLayouts/slideLayout14.xml"/><Relationship Id="rId16" Type="http://schemas.openxmlformats.org/officeDocument/2006/relationships/tags" Target="../tags/tag1.xml"/><Relationship Id="rId1" Type="http://schemas.openxmlformats.org/officeDocument/2006/relationships/slideLayout" Target="../slideLayouts/slideLayout13.xml"/><Relationship Id="rId6" Type="http://schemas.openxmlformats.org/officeDocument/2006/relationships/slideLayout" Target="../slideLayouts/slideLayout18.xml"/><Relationship Id="rId11" Type="http://schemas.openxmlformats.org/officeDocument/2006/relationships/slideLayout" Target="../slideLayouts/slideLayout23.xml"/><Relationship Id="rId5" Type="http://schemas.openxmlformats.org/officeDocument/2006/relationships/slideLayout" Target="../slideLayouts/slideLayout17.xml"/><Relationship Id="rId15" Type="http://schemas.openxmlformats.org/officeDocument/2006/relationships/theme" Target="../theme/theme2.xml"/><Relationship Id="rId10" Type="http://schemas.openxmlformats.org/officeDocument/2006/relationships/slideLayout" Target="../slideLayouts/slideLayout22.xml"/><Relationship Id="rId4" Type="http://schemas.openxmlformats.org/officeDocument/2006/relationships/slideLayout" Target="../slideLayouts/slideLayout16.xml"/><Relationship Id="rId9" Type="http://schemas.openxmlformats.org/officeDocument/2006/relationships/slideLayout" Target="../slideLayouts/slideLayout21.xml"/><Relationship Id="rId14" Type="http://schemas.openxmlformats.org/officeDocument/2006/relationships/slideLayout" Target="../slideLayouts/slideLayout26.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Segnaposto titolo 1">
            <a:extLst>
              <a:ext uri="{FF2B5EF4-FFF2-40B4-BE49-F238E27FC236}">
                <a16:creationId xmlns:a16="http://schemas.microsoft.com/office/drawing/2014/main" id="{9CED1109-2244-5DED-5008-84B7294A9680}"/>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3C8A760B-774F-8630-43DE-D597EB13CE31}"/>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1DF5AD39-D1C7-DD97-A939-18A7591746B5}"/>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it-IT"/>
          </a:p>
        </p:txBody>
      </p:sp>
      <p:sp>
        <p:nvSpPr>
          <p:cNvPr id="5" name="Segnaposto piè di pagina 4">
            <a:extLst>
              <a:ext uri="{FF2B5EF4-FFF2-40B4-BE49-F238E27FC236}">
                <a16:creationId xmlns:a16="http://schemas.microsoft.com/office/drawing/2014/main" id="{0BE46E61-5D29-A48C-AE22-B4660663EB70}"/>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FF966BE0-DBCD-4397-DF0D-276FC5BD8FA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fld id="{00F0C1FD-41C3-4D85-8E51-9C56B45C685D}" type="slidenum">
              <a:rPr lang="it-IT" smtClean="0"/>
              <a:pPr/>
              <a:t>‹N›</a:t>
            </a:fld>
            <a:endParaRPr lang="it-IT"/>
          </a:p>
        </p:txBody>
      </p:sp>
    </p:spTree>
    <p:extLst>
      <p:ext uri="{BB962C8B-B14F-4D97-AF65-F5344CB8AC3E}">
        <p14:creationId xmlns:p14="http://schemas.microsoft.com/office/powerpoint/2010/main" val="3353732013"/>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705" r:id="rId12"/>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ggetto 7" hidden="1">
            <a:extLst>
              <a:ext uri="{FF2B5EF4-FFF2-40B4-BE49-F238E27FC236}">
                <a16:creationId xmlns:a16="http://schemas.microsoft.com/office/drawing/2014/main" id="{6784A94B-7BC0-40DB-A223-6E7FA2FDDCAB}"/>
              </a:ext>
            </a:extLst>
          </p:cNvPr>
          <p:cNvGraphicFramePr>
            <a:graphicFrameLocks noChangeAspect="1"/>
          </p:cNvGraphicFramePr>
          <p:nvPr userDrawn="1">
            <p:custDataLst>
              <p:tags r:id="rId16"/>
            </p:custDataLst>
            <p:extLst>
              <p:ext uri="{D42A27DB-BD31-4B8C-83A1-F6EECF244321}">
                <p14:modId xmlns:p14="http://schemas.microsoft.com/office/powerpoint/2010/main" val="3859761023"/>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Diapositiva think-cell" r:id="rId17" imgW="473" imgH="473" progId="TCLayout.ActiveDocument.1">
                  <p:embed/>
                </p:oleObj>
              </mc:Choice>
              <mc:Fallback>
                <p:oleObj name="Diapositiva think-cell" r:id="rId17" imgW="473" imgH="473" progId="TCLayout.ActiveDocument.1">
                  <p:embed/>
                  <p:pic>
                    <p:nvPicPr>
                      <p:cNvPr id="8" name="Oggetto 7" hidden="1">
                        <a:extLst>
                          <a:ext uri="{FF2B5EF4-FFF2-40B4-BE49-F238E27FC236}">
                            <a16:creationId xmlns:a16="http://schemas.microsoft.com/office/drawing/2014/main" id="{6784A94B-7BC0-40DB-A223-6E7FA2FDDCAB}"/>
                          </a:ext>
                        </a:extLst>
                      </p:cNvPr>
                      <p:cNvPicPr/>
                      <p:nvPr/>
                    </p:nvPicPr>
                    <p:blipFill>
                      <a:blip r:embed="rId18"/>
                      <a:stretch>
                        <a:fillRect/>
                      </a:stretch>
                    </p:blipFill>
                    <p:spPr>
                      <a:xfrm>
                        <a:off x="1588" y="1588"/>
                        <a:ext cx="1588" cy="1588"/>
                      </a:xfrm>
                      <a:prstGeom prst="rect">
                        <a:avLst/>
                      </a:prstGeom>
                    </p:spPr>
                  </p:pic>
                </p:oleObj>
              </mc:Fallback>
            </mc:AlternateContent>
          </a:graphicData>
        </a:graphic>
      </p:graphicFrame>
      <p:sp>
        <p:nvSpPr>
          <p:cNvPr id="2" name="Segnaposto titolo 1">
            <a:extLst>
              <a:ext uri="{FF2B5EF4-FFF2-40B4-BE49-F238E27FC236}">
                <a16:creationId xmlns:a16="http://schemas.microsoft.com/office/drawing/2014/main" id="{22E46412-1677-41EF-AF97-8AFED1D0B46C}"/>
              </a:ext>
            </a:extLst>
          </p:cNvPr>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it-IT"/>
              <a:t>Fare clic per modificare lo stile del titolo dello schema</a:t>
            </a:r>
          </a:p>
        </p:txBody>
      </p:sp>
      <p:sp>
        <p:nvSpPr>
          <p:cNvPr id="3" name="Segnaposto testo 2">
            <a:extLst>
              <a:ext uri="{FF2B5EF4-FFF2-40B4-BE49-F238E27FC236}">
                <a16:creationId xmlns:a16="http://schemas.microsoft.com/office/drawing/2014/main" id="{57A284CF-1887-4846-B9DB-7395924AC2F0}"/>
              </a:ext>
            </a:extLst>
          </p:cNvPr>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it-IT"/>
              <a:t>Fare clic per modificare gli stili del testo dello schema</a:t>
            </a:r>
          </a:p>
          <a:p>
            <a:pPr lvl="1"/>
            <a:r>
              <a:rPr lang="it-IT"/>
              <a:t>Secondo livello</a:t>
            </a:r>
          </a:p>
          <a:p>
            <a:pPr lvl="2"/>
            <a:r>
              <a:rPr lang="it-IT"/>
              <a:t>Terzo livello</a:t>
            </a:r>
          </a:p>
          <a:p>
            <a:pPr lvl="3"/>
            <a:r>
              <a:rPr lang="it-IT"/>
              <a:t>Quarto livello</a:t>
            </a:r>
          </a:p>
          <a:p>
            <a:pPr lvl="4"/>
            <a:r>
              <a:rPr lang="it-IT"/>
              <a:t>Quinto livello</a:t>
            </a:r>
          </a:p>
        </p:txBody>
      </p:sp>
      <p:sp>
        <p:nvSpPr>
          <p:cNvPr id="4" name="Segnaposto data 3">
            <a:extLst>
              <a:ext uri="{FF2B5EF4-FFF2-40B4-BE49-F238E27FC236}">
                <a16:creationId xmlns:a16="http://schemas.microsoft.com/office/drawing/2014/main" id="{A4A72BF1-6F70-4959-AA31-2AF2FB68A6F6}"/>
              </a:ext>
            </a:extLst>
          </p:cNvPr>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endParaRPr lang="it-IT"/>
          </a:p>
        </p:txBody>
      </p:sp>
      <p:sp>
        <p:nvSpPr>
          <p:cNvPr id="5" name="Segnaposto piè di pagina 4">
            <a:extLst>
              <a:ext uri="{FF2B5EF4-FFF2-40B4-BE49-F238E27FC236}">
                <a16:creationId xmlns:a16="http://schemas.microsoft.com/office/drawing/2014/main" id="{7D67B071-8A91-4AB2-BF83-C6AF93CCAC51}"/>
              </a:ext>
            </a:extLst>
          </p:cNvPr>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it-IT"/>
          </a:p>
        </p:txBody>
      </p:sp>
      <p:sp>
        <p:nvSpPr>
          <p:cNvPr id="6" name="Segnaposto numero diapositiva 5">
            <a:extLst>
              <a:ext uri="{FF2B5EF4-FFF2-40B4-BE49-F238E27FC236}">
                <a16:creationId xmlns:a16="http://schemas.microsoft.com/office/drawing/2014/main" id="{DF6FE853-7A30-4E71-9EC6-3799BA9447BC}"/>
              </a:ext>
            </a:extLst>
          </p:cNvPr>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latin typeface="Open Sans Light" panose="020B0306030504020204" pitchFamily="34" charset="0"/>
                <a:ea typeface="Open Sans Light" panose="020B0306030504020204" pitchFamily="34" charset="0"/>
                <a:cs typeface="Open Sans Light" panose="020B0306030504020204" pitchFamily="34" charset="0"/>
              </a:defRPr>
            </a:lvl1pPr>
          </a:lstStyle>
          <a:p>
            <a:fld id="{71E9EC38-8305-49C0-AE54-8A8CA2E3146B}" type="slidenum">
              <a:rPr lang="it-IT" smtClean="0"/>
              <a:pPr/>
              <a:t>‹N›</a:t>
            </a:fld>
            <a:endParaRPr lang="it-IT"/>
          </a:p>
        </p:txBody>
      </p:sp>
      <p:cxnSp>
        <p:nvCxnSpPr>
          <p:cNvPr id="7" name="Connettore 1 9">
            <a:extLst>
              <a:ext uri="{FF2B5EF4-FFF2-40B4-BE49-F238E27FC236}">
                <a16:creationId xmlns:a16="http://schemas.microsoft.com/office/drawing/2014/main" id="{41E58AF5-09D7-B5F7-204B-584B61DB896A}"/>
              </a:ext>
            </a:extLst>
          </p:cNvPr>
          <p:cNvCxnSpPr/>
          <p:nvPr userDrawn="1"/>
        </p:nvCxnSpPr>
        <p:spPr>
          <a:xfrm>
            <a:off x="159494" y="1010052"/>
            <a:ext cx="11808000" cy="0"/>
          </a:xfrm>
          <a:prstGeom prst="line">
            <a:avLst/>
          </a:prstGeom>
          <a:ln w="12700">
            <a:solidFill>
              <a:schemeClr val="bg2"/>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4201708442"/>
      </p:ext>
    </p:extLst>
  </p:cSld>
  <p:clrMap bg1="lt1" tx1="dk1" bg2="lt2" tx2="dk2" accent1="accent1" accent2="accent2" accent3="accent3" accent4="accent4" accent5="accent5" accent6="accent6" hlink="hlink" folHlink="folHlink"/>
  <p:sldLayoutIdLst>
    <p:sldLayoutId id="2147483661" r:id="rId1"/>
    <p:sldLayoutId id="2147483662" r:id="rId2"/>
    <p:sldLayoutId id="2147483663" r:id="rId3"/>
    <p:sldLayoutId id="2147483664" r:id="rId4"/>
    <p:sldLayoutId id="2147483665" r:id="rId5"/>
    <p:sldLayoutId id="2147483666" r:id="rId6"/>
    <p:sldLayoutId id="2147483667" r:id="rId7"/>
    <p:sldLayoutId id="2147483668" r:id="rId8"/>
    <p:sldLayoutId id="2147483669" r:id="rId9"/>
    <p:sldLayoutId id="2147483670" r:id="rId10"/>
    <p:sldLayoutId id="2147483671" r:id="rId11"/>
    <p:sldLayoutId id="2147483672" r:id="rId12"/>
    <p:sldLayoutId id="2147483673" r:id="rId13"/>
    <p:sldLayoutId id="2147483674" r:id="rId14"/>
  </p:sldLayoutIdLst>
  <p:hf hdr="0" ftr="0" dt="0"/>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it-IT"/>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notesSlide" Target="../notesSlides/notesSlide1.xml"/><Relationship Id="rId7" Type="http://schemas.openxmlformats.org/officeDocument/2006/relationships/image" Target="../media/image1.emf"/><Relationship Id="rId2" Type="http://schemas.openxmlformats.org/officeDocument/2006/relationships/slideLayout" Target="../slideLayouts/slideLayout26.xml"/><Relationship Id="rId1" Type="http://schemas.openxmlformats.org/officeDocument/2006/relationships/tags" Target="../tags/tag2.xml"/><Relationship Id="rId6" Type="http://schemas.openxmlformats.org/officeDocument/2006/relationships/image" Target="../media/image4.emf"/><Relationship Id="rId5" Type="http://schemas.openxmlformats.org/officeDocument/2006/relationships/oleObject" Target="../embeddings/oleObject2.bin"/><Relationship Id="rId4" Type="http://schemas.openxmlformats.org/officeDocument/2006/relationships/image" Target="../media/image3.jpeg"/></Relationships>
</file>

<file path=ppt/slides/_rels/slide10.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slideLayout" Target="../slideLayouts/slideLayout4.xml"/><Relationship Id="rId1" Type="http://schemas.openxmlformats.org/officeDocument/2006/relationships/themeOverride" Target="../theme/themeOverride1.xml"/></Relationships>
</file>

<file path=ppt/slides/_rels/slide12.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3.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4.xml.rels><?xml version="1.0" encoding="UTF-8" standalone="yes"?>
<Relationships xmlns="http://schemas.openxmlformats.org/package/2006/relationships"><Relationship Id="rId2" Type="http://schemas.openxmlformats.org/officeDocument/2006/relationships/image" Target="../media/image14.wmf"/><Relationship Id="rId1" Type="http://schemas.openxmlformats.org/officeDocument/2006/relationships/slideLayout" Target="../slideLayouts/slideLayout4.xml"/></Relationships>
</file>

<file path=ppt/slides/_rels/slide15.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Layout" Target="../slideLayouts/slideLayout4.xml"/></Relationships>
</file>

<file path=ppt/slides/_rels/slide16.xml.rels><?xml version="1.0" encoding="UTF-8" standalone="yes"?>
<Relationships xmlns="http://schemas.openxmlformats.org/package/2006/relationships"><Relationship Id="rId2" Type="http://schemas.openxmlformats.org/officeDocument/2006/relationships/image" Target="../media/image15.wmf"/><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1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6.xml"/><Relationship Id="rId1" Type="http://schemas.openxmlformats.org/officeDocument/2006/relationships/slideLayout" Target="../slideLayouts/slideLayout12.xml"/><Relationship Id="rId5" Type="http://schemas.openxmlformats.org/officeDocument/2006/relationships/image" Target="../media/image3.jpeg"/><Relationship Id="rId4" Type="http://schemas.openxmlformats.org/officeDocument/2006/relationships/image" Target="../media/image6.svg"/></Relationships>
</file>

<file path=ppt/slides/_rels/slide19.xml.rels><?xml version="1.0" encoding="UTF-8" standalone="yes"?>
<Relationships xmlns="http://schemas.openxmlformats.org/package/2006/relationships"><Relationship Id="rId3" Type="http://schemas.openxmlformats.org/officeDocument/2006/relationships/image" Target="../media/image16.png"/><Relationship Id="rId2" Type="http://schemas.openxmlformats.org/officeDocument/2006/relationships/slideLayout" Target="../slideLayouts/slideLayout4.xml"/><Relationship Id="rId1" Type="http://schemas.openxmlformats.org/officeDocument/2006/relationships/tags" Target="../tags/tag3.xml"/></Relationships>
</file>

<file path=ppt/slides/_rels/slide2.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2.xml"/><Relationship Id="rId1" Type="http://schemas.openxmlformats.org/officeDocument/2006/relationships/slideLayout" Target="../slideLayouts/slideLayout26.xml"/><Relationship Id="rId5" Type="http://schemas.openxmlformats.org/officeDocument/2006/relationships/image" Target="../media/image3.jpeg"/><Relationship Id="rId4" Type="http://schemas.openxmlformats.org/officeDocument/2006/relationships/image" Target="../media/image6.svg"/></Relationships>
</file>

<file path=ppt/slides/_rels/slide20.xml.rels><?xml version="1.0" encoding="UTF-8" standalone="yes"?>
<Relationships xmlns="http://schemas.openxmlformats.org/package/2006/relationships"><Relationship Id="rId3" Type="http://schemas.openxmlformats.org/officeDocument/2006/relationships/image" Target="../media/image17.png"/><Relationship Id="rId2" Type="http://schemas.openxmlformats.org/officeDocument/2006/relationships/slideLayout" Target="../slideLayouts/slideLayout4.xml"/><Relationship Id="rId1" Type="http://schemas.openxmlformats.org/officeDocument/2006/relationships/tags" Target="../tags/tag4.xml"/><Relationship Id="rId5" Type="http://schemas.openxmlformats.org/officeDocument/2006/relationships/image" Target="../media/image19.png"/><Relationship Id="rId4" Type="http://schemas.openxmlformats.org/officeDocument/2006/relationships/image" Target="../media/image18.png"/></Relationships>
</file>

<file path=ppt/slides/_rels/slide21.xml.rels><?xml version="1.0" encoding="UTF-8" standalone="yes"?>
<Relationships xmlns="http://schemas.openxmlformats.org/package/2006/relationships"><Relationship Id="rId3" Type="http://schemas.openxmlformats.org/officeDocument/2006/relationships/image" Target="../media/image20.png"/><Relationship Id="rId2" Type="http://schemas.openxmlformats.org/officeDocument/2006/relationships/slideLayout" Target="../slideLayouts/slideLayout4.xml"/><Relationship Id="rId1" Type="http://schemas.openxmlformats.org/officeDocument/2006/relationships/tags" Target="../tags/tag5.xml"/><Relationship Id="rId6" Type="http://schemas.openxmlformats.org/officeDocument/2006/relationships/image" Target="../media/image22.png"/><Relationship Id="rId5" Type="http://schemas.openxmlformats.org/officeDocument/2006/relationships/image" Target="../media/image21.png"/><Relationship Id="rId4" Type="http://schemas.openxmlformats.org/officeDocument/2006/relationships/image" Target="../media/image17.png"/></Relationships>
</file>

<file path=ppt/slides/_rels/slide22.xml.rels><?xml version="1.0" encoding="UTF-8" standalone="yes"?>
<Relationships xmlns="http://schemas.openxmlformats.org/package/2006/relationships"><Relationship Id="rId3" Type="http://schemas.openxmlformats.org/officeDocument/2006/relationships/hyperlink" Target="https://iam.pubblica.istruzione.it/iam-ssum/sso/login?goto=https%3A%2F%2Fmiurjb14.pubblica.istruzione.it%3A443%2Fphamsidi%2F" TargetMode="External"/><Relationship Id="rId2" Type="http://schemas.openxmlformats.org/officeDocument/2006/relationships/hyperlink" Target="https://unica.istruzione.gov.it/it/assistenza/form" TargetMode="External"/><Relationship Id="rId1" Type="http://schemas.openxmlformats.org/officeDocument/2006/relationships/slideLayout" Target="../slideLayouts/slideLayout4.xml"/></Relationships>
</file>

<file path=ppt/slides/_rels/slide23.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7.xml"/><Relationship Id="rId1" Type="http://schemas.openxmlformats.org/officeDocument/2006/relationships/slideLayout" Target="../slideLayouts/slideLayout12.xml"/><Relationship Id="rId5" Type="http://schemas.openxmlformats.org/officeDocument/2006/relationships/image" Target="../media/image3.jpeg"/><Relationship Id="rId4" Type="http://schemas.openxmlformats.org/officeDocument/2006/relationships/image" Target="../media/image6.svg"/></Relationships>
</file>

<file path=ppt/slides/_rels/slide24.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4.xml"/></Relationships>
</file>

<file path=ppt/slides/_rels/slide26.xml.rels><?xml version="1.0" encoding="UTF-8" standalone="yes"?>
<Relationships xmlns="http://schemas.openxmlformats.org/package/2006/relationships"><Relationship Id="rId3" Type="http://schemas.openxmlformats.org/officeDocument/2006/relationships/image" Target="../media/image23.png"/><Relationship Id="rId2" Type="http://schemas.openxmlformats.org/officeDocument/2006/relationships/notesSlide" Target="../notesSlides/notesSlide9.xml"/><Relationship Id="rId1" Type="http://schemas.openxmlformats.org/officeDocument/2006/relationships/slideLayout" Target="../slideLayouts/slideLayout24.xml"/><Relationship Id="rId4" Type="http://schemas.openxmlformats.org/officeDocument/2006/relationships/image" Target="../media/image24.png"/></Relationships>
</file>

<file path=ppt/slides/_rels/slide3.xml.rels><?xml version="1.0" encoding="UTF-8" standalone="yes"?>
<Relationships xmlns="http://schemas.openxmlformats.org/package/2006/relationships"><Relationship Id="rId3" Type="http://schemas.openxmlformats.org/officeDocument/2006/relationships/image" Target="../media/image8.png"/><Relationship Id="rId2" Type="http://schemas.openxmlformats.org/officeDocument/2006/relationships/image" Target="../media/image7.png"/><Relationship Id="rId1" Type="http://schemas.openxmlformats.org/officeDocument/2006/relationships/slideLayout" Target="../slideLayouts/slideLayout4.xml"/></Relationships>
</file>

<file path=ppt/slides/_rels/slide4.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3.xml"/><Relationship Id="rId1" Type="http://schemas.openxmlformats.org/officeDocument/2006/relationships/slideLayout" Target="../slideLayouts/slideLayout12.xml"/><Relationship Id="rId5" Type="http://schemas.openxmlformats.org/officeDocument/2006/relationships/image" Target="../media/image3.jpeg"/><Relationship Id="rId4" Type="http://schemas.openxmlformats.org/officeDocument/2006/relationships/image" Target="../media/image6.svg"/></Relationships>
</file>

<file path=ppt/slides/_rels/slide5.xml.rels><?xml version="1.0" encoding="UTF-8" standalone="yes"?>
<Relationships xmlns="http://schemas.openxmlformats.org/package/2006/relationships"><Relationship Id="rId3" Type="http://schemas.openxmlformats.org/officeDocument/2006/relationships/image" Target="../media/image9.png"/><Relationship Id="rId2" Type="http://schemas.openxmlformats.org/officeDocument/2006/relationships/notesSlide" Target="../notesSlides/notesSlide4.xml"/><Relationship Id="rId1" Type="http://schemas.openxmlformats.org/officeDocument/2006/relationships/slideLayout" Target="../slideLayouts/slideLayout4.xml"/></Relationships>
</file>

<file path=ppt/slides/_rels/slide6.xml.rels><?xml version="1.0" encoding="UTF-8" standalone="yes"?>
<Relationships xmlns="http://schemas.openxmlformats.org/package/2006/relationships"><Relationship Id="rId3" Type="http://schemas.openxmlformats.org/officeDocument/2006/relationships/image" Target="../media/image11.svg"/><Relationship Id="rId2" Type="http://schemas.openxmlformats.org/officeDocument/2006/relationships/image" Target="../media/image10.png"/><Relationship Id="rId1" Type="http://schemas.openxmlformats.org/officeDocument/2006/relationships/slideLayout" Target="../slideLayouts/slideLayout4.xml"/></Relationships>
</file>

<file path=ppt/slides/_rels/slide7.xml.rels><?xml version="1.0" encoding="UTF-8" standalone="yes"?>
<Relationships xmlns="http://schemas.openxmlformats.org/package/2006/relationships"><Relationship Id="rId3" Type="http://schemas.openxmlformats.org/officeDocument/2006/relationships/image" Target="../media/image13.svg"/><Relationship Id="rId2" Type="http://schemas.openxmlformats.org/officeDocument/2006/relationships/image" Target="../media/image12.png"/><Relationship Id="rId1" Type="http://schemas.openxmlformats.org/officeDocument/2006/relationships/slideLayout" Target="../slideLayouts/slideLayout4.xml"/></Relationships>
</file>

<file path=ppt/slides/_rels/slide8.xml.rels><?xml version="1.0" encoding="UTF-8" standalone="yes"?>
<Relationships xmlns="http://schemas.openxmlformats.org/package/2006/relationships"><Relationship Id="rId3" Type="http://schemas.openxmlformats.org/officeDocument/2006/relationships/image" Target="../media/image5.png"/><Relationship Id="rId2" Type="http://schemas.openxmlformats.org/officeDocument/2006/relationships/notesSlide" Target="../notesSlides/notesSlide5.xml"/><Relationship Id="rId1" Type="http://schemas.openxmlformats.org/officeDocument/2006/relationships/slideLayout" Target="../slideLayouts/slideLayout12.xml"/><Relationship Id="rId5" Type="http://schemas.openxmlformats.org/officeDocument/2006/relationships/image" Target="../media/image3.jpeg"/><Relationship Id="rId4" Type="http://schemas.openxmlformats.org/officeDocument/2006/relationships/image" Target="../media/image6.svg"/></Relationships>
</file>

<file path=ppt/slides/_rels/slide9.xml.rels><?xml version="1.0" encoding="UTF-8" standalone="yes"?>
<Relationships xmlns="http://schemas.openxmlformats.org/package/2006/relationships"><Relationship Id="rId1" Type="http://schemas.openxmlformats.org/officeDocument/2006/relationships/slideLayout" Target="../slideLayouts/slideLayout4.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2">
            <a:extLst>
              <a:ext uri="{FF2B5EF4-FFF2-40B4-BE49-F238E27FC236}">
                <a16:creationId xmlns:a16="http://schemas.microsoft.com/office/drawing/2014/main" id="{D5AABC88-D96C-430A-BC32-E0543EC90748}"/>
              </a:ext>
            </a:extLst>
          </p:cNvPr>
          <p:cNvPicPr>
            <a:picLocks noChangeAspect="1"/>
          </p:cNvPicPr>
          <p:nvPr/>
        </p:nvPicPr>
        <p:blipFill>
          <a:blip r:embed="rId4"/>
          <a:stretch>
            <a:fillRect/>
          </a:stretch>
        </p:blipFill>
        <p:spPr>
          <a:xfrm>
            <a:off x="0" y="0"/>
            <a:ext cx="12191999" cy="6858000"/>
          </a:xfrm>
          <a:prstGeom prst="rect">
            <a:avLst/>
          </a:prstGeom>
        </p:spPr>
      </p:pic>
      <p:graphicFrame>
        <p:nvGraphicFramePr>
          <p:cNvPr id="2" name="Oggetto 1" hidden="1"/>
          <p:cNvGraphicFramePr>
            <a:graphicFrameLocks noChangeAspect="1"/>
          </p:cNvGraphicFramePr>
          <p:nvPr>
            <p:custDataLst>
              <p:tags r:id="rId1"/>
            </p:custDataLst>
          </p:nvPr>
        </p:nvGraphicFramePr>
        <p:xfrm>
          <a:off x="1525593" y="1593"/>
          <a:ext cx="1587" cy="1587"/>
        </p:xfrm>
        <a:graphic>
          <a:graphicData uri="http://schemas.openxmlformats.org/presentationml/2006/ole">
            <mc:AlternateContent xmlns:mc="http://schemas.openxmlformats.org/markup-compatibility/2006">
              <mc:Choice xmlns:v="urn:schemas-microsoft-com:vml" Requires="v">
                <p:oleObj name="Diapositiva think-cell" r:id="rId5" imgW="270" imgH="270" progId="TCLayout.ActiveDocument.1">
                  <p:embed/>
                </p:oleObj>
              </mc:Choice>
              <mc:Fallback>
                <p:oleObj name="Diapositiva think-cell" r:id="rId5" imgW="270" imgH="270" progId="TCLayout.ActiveDocument.1">
                  <p:embed/>
                  <p:pic>
                    <p:nvPicPr>
                      <p:cNvPr id="2" name="Oggetto 1" hidden="1"/>
                      <p:cNvPicPr/>
                      <p:nvPr/>
                    </p:nvPicPr>
                    <p:blipFill>
                      <a:blip r:embed="rId6"/>
                      <a:stretch>
                        <a:fillRect/>
                      </a:stretch>
                    </p:blipFill>
                    <p:spPr>
                      <a:xfrm>
                        <a:off x="1525593" y="1593"/>
                        <a:ext cx="1587" cy="1587"/>
                      </a:xfrm>
                      <a:prstGeom prst="rect">
                        <a:avLst/>
                      </a:prstGeom>
                    </p:spPr>
                  </p:pic>
                </p:oleObj>
              </mc:Fallback>
            </mc:AlternateContent>
          </a:graphicData>
        </a:graphic>
      </p:graphicFrame>
      <p:sp>
        <p:nvSpPr>
          <p:cNvPr id="12" name="Rettangolo 11">
            <a:extLst>
              <a:ext uri="{FF2B5EF4-FFF2-40B4-BE49-F238E27FC236}">
                <a16:creationId xmlns:a16="http://schemas.microsoft.com/office/drawing/2014/main" id="{CC787341-851E-489E-A25C-1A6A582A93F0}"/>
              </a:ext>
            </a:extLst>
          </p:cNvPr>
          <p:cNvSpPr/>
          <p:nvPr/>
        </p:nvSpPr>
        <p:spPr>
          <a:xfrm>
            <a:off x="0" y="6315737"/>
            <a:ext cx="12192000" cy="5422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pic>
        <p:nvPicPr>
          <p:cNvPr id="5" name="Immagine 4">
            <a:extLst>
              <a:ext uri="{FF2B5EF4-FFF2-40B4-BE49-F238E27FC236}">
                <a16:creationId xmlns:a16="http://schemas.microsoft.com/office/drawing/2014/main" id="{2C1A5060-FF15-2635-A337-BE353BAB3D1A}"/>
              </a:ext>
            </a:extLst>
          </p:cNvPr>
          <p:cNvPicPr>
            <a:picLocks noChangeAspect="1"/>
          </p:cNvPicPr>
          <p:nvPr/>
        </p:nvPicPr>
        <p:blipFill>
          <a:blip r:embed="rId7"/>
          <a:stretch>
            <a:fillRect/>
          </a:stretch>
        </p:blipFill>
        <p:spPr>
          <a:xfrm>
            <a:off x="286599" y="6427367"/>
            <a:ext cx="2796280" cy="340421"/>
          </a:xfrm>
          <a:prstGeom prst="rect">
            <a:avLst/>
          </a:prstGeom>
        </p:spPr>
      </p:pic>
      <p:sp>
        <p:nvSpPr>
          <p:cNvPr id="3" name="Rectangle 7">
            <a:extLst>
              <a:ext uri="{FF2B5EF4-FFF2-40B4-BE49-F238E27FC236}">
                <a16:creationId xmlns:a16="http://schemas.microsoft.com/office/drawing/2014/main" id="{AB517FA0-DC28-CA84-8EE6-069C3D02860C}"/>
              </a:ext>
            </a:extLst>
          </p:cNvPr>
          <p:cNvSpPr/>
          <p:nvPr/>
        </p:nvSpPr>
        <p:spPr>
          <a:xfrm>
            <a:off x="0" y="4471768"/>
            <a:ext cx="12192000" cy="1843969"/>
          </a:xfrm>
          <a:prstGeom prst="rect">
            <a:avLst/>
          </a:prstGeom>
          <a:solidFill>
            <a:srgbClr val="252F39"/>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360000" bIns="54000" rtlCol="0" anchor="ct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2400" b="1"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Indicazioni e chiarimenti in merito agli adempimenti per la nomina del tutor scolastico e dell’orientatore</a:t>
            </a:r>
          </a:p>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800" b="0" i="1" u="none" strike="noStrike" kern="1200" cap="none" spc="0" normalizeH="0" baseline="0" noProof="0">
                <a:ln>
                  <a:noFill/>
                </a:ln>
                <a:solidFill>
                  <a:prstClr val="white"/>
                </a:solidFill>
                <a:effectLst/>
                <a:uLnTx/>
                <a:uFillTx/>
                <a:latin typeface="Open Sans" panose="020B0606030504020204" pitchFamily="34" charset="0"/>
                <a:ea typeface="Open Sans" panose="020B0606030504020204" pitchFamily="34" charset="0"/>
                <a:cs typeface="Open Sans" panose="020B0606030504020204" pitchFamily="34" charset="0"/>
              </a:rPr>
              <a:t>Webinar – 7 novembre 2023</a:t>
            </a:r>
          </a:p>
        </p:txBody>
      </p:sp>
    </p:spTree>
    <p:extLst>
      <p:ext uri="{BB962C8B-B14F-4D97-AF65-F5344CB8AC3E}">
        <p14:creationId xmlns:p14="http://schemas.microsoft.com/office/powerpoint/2010/main" val="1575594527"/>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46E2FDE-BF7B-883C-1214-B89AF8AC25EC}"/>
              </a:ext>
            </a:extLst>
          </p:cNvPr>
          <p:cNvSpPr txBox="1">
            <a:spLocks/>
          </p:cNvSpPr>
          <p:nvPr/>
        </p:nvSpPr>
        <p:spPr>
          <a:xfrm>
            <a:off x="228600" y="176586"/>
            <a:ext cx="11124959" cy="6596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200" b="1" dirty="0">
                <a:latin typeface="Open Sans"/>
                <a:ea typeface="Open Sans"/>
                <a:cs typeface="Open Sans"/>
              </a:rPr>
              <a:t>Principali richieste di chiarimento delle Scuole (2/9)</a:t>
            </a:r>
            <a:endParaRPr lang="it-IT" sz="2000" b="1" i="1" dirty="0"/>
          </a:p>
        </p:txBody>
      </p:sp>
      <p:sp>
        <p:nvSpPr>
          <p:cNvPr id="63" name="Rectangle 27">
            <a:extLst>
              <a:ext uri="{FF2B5EF4-FFF2-40B4-BE49-F238E27FC236}">
                <a16:creationId xmlns:a16="http://schemas.microsoft.com/office/drawing/2014/main" id="{76E926A8-9B60-98BC-71CD-4E9DC2AA9CDA}"/>
              </a:ext>
            </a:extLst>
          </p:cNvPr>
          <p:cNvSpPr/>
          <p:nvPr/>
        </p:nvSpPr>
        <p:spPr>
          <a:xfrm>
            <a:off x="1234200" y="1360800"/>
            <a:ext cx="9723600" cy="896727"/>
          </a:xfrm>
          <a:prstGeom prst="rect">
            <a:avLst/>
          </a:prstGeom>
          <a:solidFill>
            <a:schemeClr val="bg1"/>
          </a:solidFill>
          <a:ln w="19050">
            <a:solidFill>
              <a:srgbClr val="A6DAE9"/>
            </a:solidFill>
          </a:ln>
        </p:spPr>
        <p:style>
          <a:lnRef idx="2">
            <a:schemeClr val="accent1">
              <a:shade val="50000"/>
            </a:schemeClr>
          </a:lnRef>
          <a:fillRef idx="1">
            <a:schemeClr val="accent1"/>
          </a:fillRef>
          <a:effectRef idx="0">
            <a:schemeClr val="accent1"/>
          </a:effectRef>
          <a:fontRef idx="minor">
            <a:schemeClr val="lt1"/>
          </a:fontRef>
        </p:style>
        <p:txBody>
          <a:bodyPr lIns="216000" tIns="108000" rIns="216000" bIns="108000" rtlCol="0" anchor="ctr"/>
          <a:lstStyle/>
          <a:p>
            <a:pPr marL="0" marR="0" lvl="0" indent="0" algn="ctr" defTabSz="914400" rtl="0" eaLnBrk="1" fontAlgn="auto" latinLnBrk="0" hangingPunct="1">
              <a:lnSpc>
                <a:spcPct val="120000"/>
              </a:lnSpc>
              <a:spcBef>
                <a:spcPts val="300"/>
              </a:spcBef>
              <a:spcAft>
                <a:spcPts val="300"/>
              </a:spcAft>
              <a:buClrTx/>
              <a:buSzTx/>
              <a:buFontTx/>
              <a:buNone/>
              <a:tabLst/>
              <a:defRPr/>
            </a:pPr>
            <a:r>
              <a:rPr kumimoji="0" lang="it-IT" sz="1600" b="1"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È necessario prevedere i moduli di orientamento formativo anche nel biennio?</a:t>
            </a:r>
          </a:p>
        </p:txBody>
      </p:sp>
      <p:sp>
        <p:nvSpPr>
          <p:cNvPr id="80" name="Triangolo isoscele 79">
            <a:extLst>
              <a:ext uri="{FF2B5EF4-FFF2-40B4-BE49-F238E27FC236}">
                <a16:creationId xmlns:a16="http://schemas.microsoft.com/office/drawing/2014/main" id="{E6550B41-BCCE-6997-D3E2-733B043F0847}"/>
              </a:ext>
            </a:extLst>
          </p:cNvPr>
          <p:cNvSpPr/>
          <p:nvPr/>
        </p:nvSpPr>
        <p:spPr>
          <a:xfrm rot="10800000">
            <a:off x="5167735" y="2410723"/>
            <a:ext cx="1856531" cy="517721"/>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1" name="Rectangle 27">
            <a:extLst>
              <a:ext uri="{FF2B5EF4-FFF2-40B4-BE49-F238E27FC236}">
                <a16:creationId xmlns:a16="http://schemas.microsoft.com/office/drawing/2014/main" id="{857BA48E-8023-9F58-DC20-7E6F63F21941}"/>
              </a:ext>
            </a:extLst>
          </p:cNvPr>
          <p:cNvSpPr/>
          <p:nvPr/>
        </p:nvSpPr>
        <p:spPr>
          <a:xfrm>
            <a:off x="1234200" y="3079876"/>
            <a:ext cx="9723600" cy="2916986"/>
          </a:xfrm>
          <a:prstGeom prst="rect">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lIns="216000" tIns="108000" rIns="216000" bIns="108000" rtlCol="0" anchor="ctr"/>
          <a:lstStyle/>
          <a:p>
            <a:pPr marL="0" marR="0" lvl="0" indent="0" algn="just" defTabSz="914400" rtl="0" eaLnBrk="1" fontAlgn="auto" latinLnBrk="0" hangingPunct="1">
              <a:lnSpc>
                <a:spcPct val="120000"/>
              </a:lnSpc>
              <a:spcBef>
                <a:spcPts val="300"/>
              </a:spcBef>
              <a:spcAft>
                <a:spcPts val="300"/>
              </a:spcAft>
              <a:buClrTx/>
              <a:buSzTx/>
              <a:buFontTx/>
              <a:buNone/>
              <a:tabLst/>
              <a:defRPr/>
            </a:pPr>
            <a:r>
              <a:rPr kumimoji="0" lang="it-IT" sz="14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me previsto dalle Linee guida per l’orientamento, </a:t>
            </a:r>
            <a:r>
              <a:rPr kumimoji="0" lang="it-IT" sz="14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e scuole secondarie sia di primo grado che di secondo grado attivano, a partire dall’anno scolastico 2023-2024, moduli di orientamento formativo degli studenti, di almeno 30 ore. </a:t>
            </a:r>
          </a:p>
          <a:p>
            <a:pPr marL="0" marR="0" lvl="0" indent="0" algn="just" defTabSz="914400" rtl="0" eaLnBrk="1" fontAlgn="auto" latinLnBrk="0" hangingPunct="1">
              <a:lnSpc>
                <a:spcPct val="120000"/>
              </a:lnSpc>
              <a:spcBef>
                <a:spcPts val="300"/>
              </a:spcBef>
              <a:spcAft>
                <a:spcPts val="300"/>
              </a:spcAft>
              <a:buClrTx/>
              <a:buSzTx/>
              <a:buFontTx/>
              <a:buNone/>
              <a:tabLst/>
              <a:defRPr/>
            </a:pPr>
            <a:r>
              <a:rPr kumimoji="0" lang="it-IT" sz="14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ella scuola secondaria di primo grado e nelle prime due classi della scuola secondaria di secondo grado </a:t>
            </a:r>
            <a:r>
              <a:rPr kumimoji="0" lang="it-IT" sz="14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e attività possono essere svolte </a:t>
            </a:r>
            <a:r>
              <a:rPr kumimoji="0" lang="it-IT" sz="14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 orario curriculare o extracurriculare</a:t>
            </a:r>
            <a:r>
              <a:rPr kumimoji="0" lang="it-IT" sz="14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nche valorizzando progetti sul tema dell’orientamento già in essere nell’istituzione scolastica. </a:t>
            </a:r>
          </a:p>
          <a:p>
            <a:pPr marL="0" marR="0" lvl="0" indent="0" algn="just" defTabSz="914400" rtl="0" eaLnBrk="1" fontAlgn="auto" latinLnBrk="0" hangingPunct="1">
              <a:lnSpc>
                <a:spcPct val="120000"/>
              </a:lnSpc>
              <a:spcBef>
                <a:spcPts val="300"/>
              </a:spcBef>
              <a:spcAft>
                <a:spcPts val="300"/>
              </a:spcAft>
              <a:buClrTx/>
              <a:buSzTx/>
              <a:buFontTx/>
              <a:buNone/>
              <a:tabLst/>
              <a:defRPr/>
            </a:pPr>
            <a:r>
              <a:rPr kumimoji="0" lang="it-IT" sz="140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 moduli di orientamento formativo possono essere svolti lungo l’intero anno scolastico, senza la previsione di ore settimanali prestabilite, utilizzando gli strumenti di flessibilità didattica e organizzativa previsti dall’autonomia scolastica.</a:t>
            </a:r>
          </a:p>
        </p:txBody>
      </p:sp>
      <p:grpSp>
        <p:nvGrpSpPr>
          <p:cNvPr id="52" name="Group 424">
            <a:extLst>
              <a:ext uri="{FF2B5EF4-FFF2-40B4-BE49-F238E27FC236}">
                <a16:creationId xmlns:a16="http://schemas.microsoft.com/office/drawing/2014/main" id="{26F232B4-2E80-F9D5-1807-4111C4F5E05F}"/>
              </a:ext>
            </a:extLst>
          </p:cNvPr>
          <p:cNvGrpSpPr/>
          <p:nvPr/>
        </p:nvGrpSpPr>
        <p:grpSpPr>
          <a:xfrm>
            <a:off x="10745383" y="5497200"/>
            <a:ext cx="684000" cy="684000"/>
            <a:chOff x="4579938" y="4308475"/>
            <a:chExt cx="1112838" cy="1112838"/>
          </a:xfrm>
        </p:grpSpPr>
        <p:sp>
          <p:nvSpPr>
            <p:cNvPr id="53" name="Freeform 23">
              <a:extLst>
                <a:ext uri="{FF2B5EF4-FFF2-40B4-BE49-F238E27FC236}">
                  <a16:creationId xmlns:a16="http://schemas.microsoft.com/office/drawing/2014/main" id="{7E704782-2B18-954C-DDB8-A4BC6E8E35CF}"/>
                </a:ext>
              </a:extLst>
            </p:cNvPr>
            <p:cNvSpPr>
              <a:spLocks/>
            </p:cNvSpPr>
            <p:nvPr/>
          </p:nvSpPr>
          <p:spPr bwMode="auto">
            <a:xfrm>
              <a:off x="4579938" y="4308475"/>
              <a:ext cx="1112838" cy="1112838"/>
            </a:xfrm>
            <a:custGeom>
              <a:avLst/>
              <a:gdLst>
                <a:gd name="T0" fmla="*/ 332 w 701"/>
                <a:gd name="T1" fmla="*/ 701 h 701"/>
                <a:gd name="T2" fmla="*/ 280 w 701"/>
                <a:gd name="T3" fmla="*/ 694 h 701"/>
                <a:gd name="T4" fmla="*/ 230 w 701"/>
                <a:gd name="T5" fmla="*/ 680 h 701"/>
                <a:gd name="T6" fmla="*/ 184 w 701"/>
                <a:gd name="T7" fmla="*/ 659 h 701"/>
                <a:gd name="T8" fmla="*/ 141 w 701"/>
                <a:gd name="T9" fmla="*/ 631 h 701"/>
                <a:gd name="T10" fmla="*/ 103 w 701"/>
                <a:gd name="T11" fmla="*/ 598 h 701"/>
                <a:gd name="T12" fmla="*/ 69 w 701"/>
                <a:gd name="T13" fmla="*/ 560 h 701"/>
                <a:gd name="T14" fmla="*/ 42 w 701"/>
                <a:gd name="T15" fmla="*/ 518 h 701"/>
                <a:gd name="T16" fmla="*/ 21 w 701"/>
                <a:gd name="T17" fmla="*/ 471 h 701"/>
                <a:gd name="T18" fmla="*/ 8 w 701"/>
                <a:gd name="T19" fmla="*/ 421 h 701"/>
                <a:gd name="T20" fmla="*/ 0 w 701"/>
                <a:gd name="T21" fmla="*/ 369 h 701"/>
                <a:gd name="T22" fmla="*/ 0 w 701"/>
                <a:gd name="T23" fmla="*/ 333 h 701"/>
                <a:gd name="T24" fmla="*/ 8 w 701"/>
                <a:gd name="T25" fmla="*/ 280 h 701"/>
                <a:gd name="T26" fmla="*/ 21 w 701"/>
                <a:gd name="T27" fmla="*/ 231 h 701"/>
                <a:gd name="T28" fmla="*/ 42 w 701"/>
                <a:gd name="T29" fmla="*/ 184 h 701"/>
                <a:gd name="T30" fmla="*/ 69 w 701"/>
                <a:gd name="T31" fmla="*/ 141 h 701"/>
                <a:gd name="T32" fmla="*/ 103 w 701"/>
                <a:gd name="T33" fmla="*/ 102 h 701"/>
                <a:gd name="T34" fmla="*/ 141 w 701"/>
                <a:gd name="T35" fmla="*/ 70 h 701"/>
                <a:gd name="T36" fmla="*/ 184 w 701"/>
                <a:gd name="T37" fmla="*/ 42 h 701"/>
                <a:gd name="T38" fmla="*/ 230 w 701"/>
                <a:gd name="T39" fmla="*/ 21 h 701"/>
                <a:gd name="T40" fmla="*/ 280 w 701"/>
                <a:gd name="T41" fmla="*/ 7 h 701"/>
                <a:gd name="T42" fmla="*/ 332 w 701"/>
                <a:gd name="T43" fmla="*/ 0 h 701"/>
                <a:gd name="T44" fmla="*/ 369 w 701"/>
                <a:gd name="T45" fmla="*/ 0 h 701"/>
                <a:gd name="T46" fmla="*/ 421 w 701"/>
                <a:gd name="T47" fmla="*/ 7 h 701"/>
                <a:gd name="T48" fmla="*/ 472 w 701"/>
                <a:gd name="T49" fmla="*/ 21 h 701"/>
                <a:gd name="T50" fmla="*/ 517 w 701"/>
                <a:gd name="T51" fmla="*/ 42 h 701"/>
                <a:gd name="T52" fmla="*/ 560 w 701"/>
                <a:gd name="T53" fmla="*/ 70 h 701"/>
                <a:gd name="T54" fmla="*/ 599 w 701"/>
                <a:gd name="T55" fmla="*/ 102 h 701"/>
                <a:gd name="T56" fmla="*/ 632 w 701"/>
                <a:gd name="T57" fmla="*/ 141 h 701"/>
                <a:gd name="T58" fmla="*/ 659 w 701"/>
                <a:gd name="T59" fmla="*/ 184 h 701"/>
                <a:gd name="T60" fmla="*/ 680 w 701"/>
                <a:gd name="T61" fmla="*/ 231 h 701"/>
                <a:gd name="T62" fmla="*/ 694 w 701"/>
                <a:gd name="T63" fmla="*/ 280 h 701"/>
                <a:gd name="T64" fmla="*/ 701 w 701"/>
                <a:gd name="T65" fmla="*/ 333 h 701"/>
                <a:gd name="T66" fmla="*/ 701 w 701"/>
                <a:gd name="T67" fmla="*/ 369 h 701"/>
                <a:gd name="T68" fmla="*/ 694 w 701"/>
                <a:gd name="T69" fmla="*/ 421 h 701"/>
                <a:gd name="T70" fmla="*/ 680 w 701"/>
                <a:gd name="T71" fmla="*/ 471 h 701"/>
                <a:gd name="T72" fmla="*/ 659 w 701"/>
                <a:gd name="T73" fmla="*/ 518 h 701"/>
                <a:gd name="T74" fmla="*/ 632 w 701"/>
                <a:gd name="T75" fmla="*/ 560 h 701"/>
                <a:gd name="T76" fmla="*/ 599 w 701"/>
                <a:gd name="T77" fmla="*/ 598 h 701"/>
                <a:gd name="T78" fmla="*/ 560 w 701"/>
                <a:gd name="T79" fmla="*/ 631 h 701"/>
                <a:gd name="T80" fmla="*/ 517 w 701"/>
                <a:gd name="T81" fmla="*/ 659 h 701"/>
                <a:gd name="T82" fmla="*/ 472 w 701"/>
                <a:gd name="T83" fmla="*/ 680 h 701"/>
                <a:gd name="T84" fmla="*/ 421 w 701"/>
                <a:gd name="T85" fmla="*/ 694 h 701"/>
                <a:gd name="T86" fmla="*/ 369 w 701"/>
                <a:gd name="T87" fmla="*/ 701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1">
                  <a:moveTo>
                    <a:pt x="351" y="701"/>
                  </a:moveTo>
                  <a:lnTo>
                    <a:pt x="351" y="701"/>
                  </a:lnTo>
                  <a:lnTo>
                    <a:pt x="332" y="701"/>
                  </a:lnTo>
                  <a:lnTo>
                    <a:pt x="315" y="699"/>
                  </a:lnTo>
                  <a:lnTo>
                    <a:pt x="298" y="697"/>
                  </a:lnTo>
                  <a:lnTo>
                    <a:pt x="280" y="694"/>
                  </a:lnTo>
                  <a:lnTo>
                    <a:pt x="263" y="689"/>
                  </a:lnTo>
                  <a:lnTo>
                    <a:pt x="247" y="686"/>
                  </a:lnTo>
                  <a:lnTo>
                    <a:pt x="230" y="680"/>
                  </a:lnTo>
                  <a:lnTo>
                    <a:pt x="214" y="673"/>
                  </a:lnTo>
                  <a:lnTo>
                    <a:pt x="199" y="666"/>
                  </a:lnTo>
                  <a:lnTo>
                    <a:pt x="184" y="659"/>
                  </a:lnTo>
                  <a:lnTo>
                    <a:pt x="169" y="650"/>
                  </a:lnTo>
                  <a:lnTo>
                    <a:pt x="155" y="641"/>
                  </a:lnTo>
                  <a:lnTo>
                    <a:pt x="141" y="631"/>
                  </a:lnTo>
                  <a:lnTo>
                    <a:pt x="127" y="620"/>
                  </a:lnTo>
                  <a:lnTo>
                    <a:pt x="115" y="611"/>
                  </a:lnTo>
                  <a:lnTo>
                    <a:pt x="103" y="598"/>
                  </a:lnTo>
                  <a:lnTo>
                    <a:pt x="92" y="586"/>
                  </a:lnTo>
                  <a:lnTo>
                    <a:pt x="81" y="573"/>
                  </a:lnTo>
                  <a:lnTo>
                    <a:pt x="69" y="560"/>
                  </a:lnTo>
                  <a:lnTo>
                    <a:pt x="60" y="546"/>
                  </a:lnTo>
                  <a:lnTo>
                    <a:pt x="51" y="533"/>
                  </a:lnTo>
                  <a:lnTo>
                    <a:pt x="42" y="518"/>
                  </a:lnTo>
                  <a:lnTo>
                    <a:pt x="35" y="502"/>
                  </a:lnTo>
                  <a:lnTo>
                    <a:pt x="28" y="487"/>
                  </a:lnTo>
                  <a:lnTo>
                    <a:pt x="21" y="471"/>
                  </a:lnTo>
                  <a:lnTo>
                    <a:pt x="16" y="455"/>
                  </a:lnTo>
                  <a:lnTo>
                    <a:pt x="11" y="438"/>
                  </a:lnTo>
                  <a:lnTo>
                    <a:pt x="8" y="421"/>
                  </a:lnTo>
                  <a:lnTo>
                    <a:pt x="4" y="403"/>
                  </a:lnTo>
                  <a:lnTo>
                    <a:pt x="2" y="386"/>
                  </a:lnTo>
                  <a:lnTo>
                    <a:pt x="0" y="369"/>
                  </a:lnTo>
                  <a:lnTo>
                    <a:pt x="0" y="350"/>
                  </a:lnTo>
                  <a:lnTo>
                    <a:pt x="0" y="350"/>
                  </a:lnTo>
                  <a:lnTo>
                    <a:pt x="0" y="333"/>
                  </a:lnTo>
                  <a:lnTo>
                    <a:pt x="2" y="314"/>
                  </a:lnTo>
                  <a:lnTo>
                    <a:pt x="4" y="297"/>
                  </a:lnTo>
                  <a:lnTo>
                    <a:pt x="8" y="280"/>
                  </a:lnTo>
                  <a:lnTo>
                    <a:pt x="11" y="263"/>
                  </a:lnTo>
                  <a:lnTo>
                    <a:pt x="16" y="247"/>
                  </a:lnTo>
                  <a:lnTo>
                    <a:pt x="21" y="231"/>
                  </a:lnTo>
                  <a:lnTo>
                    <a:pt x="28" y="215"/>
                  </a:lnTo>
                  <a:lnTo>
                    <a:pt x="35" y="198"/>
                  </a:lnTo>
                  <a:lnTo>
                    <a:pt x="42" y="184"/>
                  </a:lnTo>
                  <a:lnTo>
                    <a:pt x="51" y="169"/>
                  </a:lnTo>
                  <a:lnTo>
                    <a:pt x="60" y="154"/>
                  </a:lnTo>
                  <a:lnTo>
                    <a:pt x="69" y="141"/>
                  </a:lnTo>
                  <a:lnTo>
                    <a:pt x="81" y="127"/>
                  </a:lnTo>
                  <a:lnTo>
                    <a:pt x="92" y="115"/>
                  </a:lnTo>
                  <a:lnTo>
                    <a:pt x="103" y="102"/>
                  </a:lnTo>
                  <a:lnTo>
                    <a:pt x="115" y="91"/>
                  </a:lnTo>
                  <a:lnTo>
                    <a:pt x="127" y="80"/>
                  </a:lnTo>
                  <a:lnTo>
                    <a:pt x="141" y="70"/>
                  </a:lnTo>
                  <a:lnTo>
                    <a:pt x="155" y="60"/>
                  </a:lnTo>
                  <a:lnTo>
                    <a:pt x="169" y="50"/>
                  </a:lnTo>
                  <a:lnTo>
                    <a:pt x="184" y="42"/>
                  </a:lnTo>
                  <a:lnTo>
                    <a:pt x="199" y="34"/>
                  </a:lnTo>
                  <a:lnTo>
                    <a:pt x="214" y="27"/>
                  </a:lnTo>
                  <a:lnTo>
                    <a:pt x="230" y="21"/>
                  </a:lnTo>
                  <a:lnTo>
                    <a:pt x="247" y="16"/>
                  </a:lnTo>
                  <a:lnTo>
                    <a:pt x="263" y="11"/>
                  </a:lnTo>
                  <a:lnTo>
                    <a:pt x="280" y="7"/>
                  </a:lnTo>
                  <a:lnTo>
                    <a:pt x="298" y="4"/>
                  </a:lnTo>
                  <a:lnTo>
                    <a:pt x="315" y="2"/>
                  </a:lnTo>
                  <a:lnTo>
                    <a:pt x="332" y="0"/>
                  </a:lnTo>
                  <a:lnTo>
                    <a:pt x="351" y="0"/>
                  </a:lnTo>
                  <a:lnTo>
                    <a:pt x="351" y="0"/>
                  </a:lnTo>
                  <a:lnTo>
                    <a:pt x="369" y="0"/>
                  </a:lnTo>
                  <a:lnTo>
                    <a:pt x="386" y="2"/>
                  </a:lnTo>
                  <a:lnTo>
                    <a:pt x="404" y="4"/>
                  </a:lnTo>
                  <a:lnTo>
                    <a:pt x="421" y="7"/>
                  </a:lnTo>
                  <a:lnTo>
                    <a:pt x="438" y="11"/>
                  </a:lnTo>
                  <a:lnTo>
                    <a:pt x="456" y="16"/>
                  </a:lnTo>
                  <a:lnTo>
                    <a:pt x="472" y="21"/>
                  </a:lnTo>
                  <a:lnTo>
                    <a:pt x="488" y="27"/>
                  </a:lnTo>
                  <a:lnTo>
                    <a:pt x="502" y="34"/>
                  </a:lnTo>
                  <a:lnTo>
                    <a:pt x="517" y="42"/>
                  </a:lnTo>
                  <a:lnTo>
                    <a:pt x="532" y="50"/>
                  </a:lnTo>
                  <a:lnTo>
                    <a:pt x="547" y="60"/>
                  </a:lnTo>
                  <a:lnTo>
                    <a:pt x="560" y="70"/>
                  </a:lnTo>
                  <a:lnTo>
                    <a:pt x="574" y="80"/>
                  </a:lnTo>
                  <a:lnTo>
                    <a:pt x="586" y="91"/>
                  </a:lnTo>
                  <a:lnTo>
                    <a:pt x="599" y="102"/>
                  </a:lnTo>
                  <a:lnTo>
                    <a:pt x="610" y="115"/>
                  </a:lnTo>
                  <a:lnTo>
                    <a:pt x="621" y="127"/>
                  </a:lnTo>
                  <a:lnTo>
                    <a:pt x="632" y="141"/>
                  </a:lnTo>
                  <a:lnTo>
                    <a:pt x="642" y="154"/>
                  </a:lnTo>
                  <a:lnTo>
                    <a:pt x="650" y="169"/>
                  </a:lnTo>
                  <a:lnTo>
                    <a:pt x="659" y="184"/>
                  </a:lnTo>
                  <a:lnTo>
                    <a:pt x="666" y="198"/>
                  </a:lnTo>
                  <a:lnTo>
                    <a:pt x="674" y="215"/>
                  </a:lnTo>
                  <a:lnTo>
                    <a:pt x="680" y="231"/>
                  </a:lnTo>
                  <a:lnTo>
                    <a:pt x="685" y="247"/>
                  </a:lnTo>
                  <a:lnTo>
                    <a:pt x="690" y="263"/>
                  </a:lnTo>
                  <a:lnTo>
                    <a:pt x="694" y="280"/>
                  </a:lnTo>
                  <a:lnTo>
                    <a:pt x="697" y="297"/>
                  </a:lnTo>
                  <a:lnTo>
                    <a:pt x="700" y="314"/>
                  </a:lnTo>
                  <a:lnTo>
                    <a:pt x="701" y="333"/>
                  </a:lnTo>
                  <a:lnTo>
                    <a:pt x="701" y="350"/>
                  </a:lnTo>
                  <a:lnTo>
                    <a:pt x="701" y="350"/>
                  </a:lnTo>
                  <a:lnTo>
                    <a:pt x="701" y="369"/>
                  </a:lnTo>
                  <a:lnTo>
                    <a:pt x="700" y="386"/>
                  </a:lnTo>
                  <a:lnTo>
                    <a:pt x="697" y="403"/>
                  </a:lnTo>
                  <a:lnTo>
                    <a:pt x="694" y="421"/>
                  </a:lnTo>
                  <a:lnTo>
                    <a:pt x="690" y="438"/>
                  </a:lnTo>
                  <a:lnTo>
                    <a:pt x="685" y="455"/>
                  </a:lnTo>
                  <a:lnTo>
                    <a:pt x="680" y="471"/>
                  </a:lnTo>
                  <a:lnTo>
                    <a:pt x="674" y="487"/>
                  </a:lnTo>
                  <a:lnTo>
                    <a:pt x="666" y="502"/>
                  </a:lnTo>
                  <a:lnTo>
                    <a:pt x="659" y="518"/>
                  </a:lnTo>
                  <a:lnTo>
                    <a:pt x="650" y="533"/>
                  </a:lnTo>
                  <a:lnTo>
                    <a:pt x="642" y="546"/>
                  </a:lnTo>
                  <a:lnTo>
                    <a:pt x="632" y="560"/>
                  </a:lnTo>
                  <a:lnTo>
                    <a:pt x="621" y="573"/>
                  </a:lnTo>
                  <a:lnTo>
                    <a:pt x="610" y="586"/>
                  </a:lnTo>
                  <a:lnTo>
                    <a:pt x="599" y="598"/>
                  </a:lnTo>
                  <a:lnTo>
                    <a:pt x="586" y="611"/>
                  </a:lnTo>
                  <a:lnTo>
                    <a:pt x="574" y="620"/>
                  </a:lnTo>
                  <a:lnTo>
                    <a:pt x="560" y="631"/>
                  </a:lnTo>
                  <a:lnTo>
                    <a:pt x="547" y="641"/>
                  </a:lnTo>
                  <a:lnTo>
                    <a:pt x="532" y="650"/>
                  </a:lnTo>
                  <a:lnTo>
                    <a:pt x="517" y="659"/>
                  </a:lnTo>
                  <a:lnTo>
                    <a:pt x="502" y="666"/>
                  </a:lnTo>
                  <a:lnTo>
                    <a:pt x="488" y="673"/>
                  </a:lnTo>
                  <a:lnTo>
                    <a:pt x="472" y="680"/>
                  </a:lnTo>
                  <a:lnTo>
                    <a:pt x="456" y="686"/>
                  </a:lnTo>
                  <a:lnTo>
                    <a:pt x="438" y="689"/>
                  </a:lnTo>
                  <a:lnTo>
                    <a:pt x="421" y="694"/>
                  </a:lnTo>
                  <a:lnTo>
                    <a:pt x="404" y="697"/>
                  </a:lnTo>
                  <a:lnTo>
                    <a:pt x="386" y="699"/>
                  </a:lnTo>
                  <a:lnTo>
                    <a:pt x="369" y="701"/>
                  </a:lnTo>
                  <a:lnTo>
                    <a:pt x="351" y="701"/>
                  </a:lnTo>
                  <a:lnTo>
                    <a:pt x="351" y="701"/>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24">
              <a:extLst>
                <a:ext uri="{FF2B5EF4-FFF2-40B4-BE49-F238E27FC236}">
                  <a16:creationId xmlns:a16="http://schemas.microsoft.com/office/drawing/2014/main" id="{48A8746C-F2DB-6D16-F319-CA1D0D9D1165}"/>
                </a:ext>
              </a:extLst>
            </p:cNvPr>
            <p:cNvSpPr>
              <a:spLocks/>
            </p:cNvSpPr>
            <p:nvPr/>
          </p:nvSpPr>
          <p:spPr bwMode="auto">
            <a:xfrm>
              <a:off x="4878388" y="4570413"/>
              <a:ext cx="809625" cy="850900"/>
            </a:xfrm>
            <a:custGeom>
              <a:avLst/>
              <a:gdLst>
                <a:gd name="T0" fmla="*/ 358 w 510"/>
                <a:gd name="T1" fmla="*/ 77 h 536"/>
                <a:gd name="T2" fmla="*/ 358 w 510"/>
                <a:gd name="T3" fmla="*/ 77 h 536"/>
                <a:gd name="T4" fmla="*/ 345 w 510"/>
                <a:gd name="T5" fmla="*/ 66 h 536"/>
                <a:gd name="T6" fmla="*/ 345 w 510"/>
                <a:gd name="T7" fmla="*/ 66 h 536"/>
                <a:gd name="T8" fmla="*/ 340 w 510"/>
                <a:gd name="T9" fmla="*/ 61 h 536"/>
                <a:gd name="T10" fmla="*/ 334 w 510"/>
                <a:gd name="T11" fmla="*/ 58 h 536"/>
                <a:gd name="T12" fmla="*/ 275 w 510"/>
                <a:gd name="T13" fmla="*/ 0 h 536"/>
                <a:gd name="T14" fmla="*/ 275 w 510"/>
                <a:gd name="T15" fmla="*/ 0 h 536"/>
                <a:gd name="T16" fmla="*/ 275 w 510"/>
                <a:gd name="T17" fmla="*/ 0 h 536"/>
                <a:gd name="T18" fmla="*/ 71 w 510"/>
                <a:gd name="T19" fmla="*/ 0 h 536"/>
                <a:gd name="T20" fmla="*/ 0 w 510"/>
                <a:gd name="T21" fmla="*/ 73 h 536"/>
                <a:gd name="T22" fmla="*/ 0 w 510"/>
                <a:gd name="T23" fmla="*/ 146 h 536"/>
                <a:gd name="T24" fmla="*/ 0 w 510"/>
                <a:gd name="T25" fmla="*/ 174 h 536"/>
                <a:gd name="T26" fmla="*/ 0 w 510"/>
                <a:gd name="T27" fmla="*/ 376 h 536"/>
                <a:gd name="T28" fmla="*/ 0 w 510"/>
                <a:gd name="T29" fmla="*/ 376 h 536"/>
                <a:gd name="T30" fmla="*/ 0 w 510"/>
                <a:gd name="T31" fmla="*/ 376 h 536"/>
                <a:gd name="T32" fmla="*/ 0 w 510"/>
                <a:gd name="T33" fmla="*/ 376 h 536"/>
                <a:gd name="T34" fmla="*/ 0 w 510"/>
                <a:gd name="T35" fmla="*/ 376 h 536"/>
                <a:gd name="T36" fmla="*/ 159 w 510"/>
                <a:gd name="T37" fmla="*/ 536 h 536"/>
                <a:gd name="T38" fmla="*/ 159 w 510"/>
                <a:gd name="T39" fmla="*/ 536 h 536"/>
                <a:gd name="T40" fmla="*/ 163 w 510"/>
                <a:gd name="T41" fmla="*/ 536 h 536"/>
                <a:gd name="T42" fmla="*/ 163 w 510"/>
                <a:gd name="T43" fmla="*/ 536 h 536"/>
                <a:gd name="T44" fmla="*/ 179 w 510"/>
                <a:gd name="T45" fmla="*/ 536 h 536"/>
                <a:gd name="T46" fmla="*/ 196 w 510"/>
                <a:gd name="T47" fmla="*/ 534 h 536"/>
                <a:gd name="T48" fmla="*/ 212 w 510"/>
                <a:gd name="T49" fmla="*/ 532 h 536"/>
                <a:gd name="T50" fmla="*/ 228 w 510"/>
                <a:gd name="T51" fmla="*/ 529 h 536"/>
                <a:gd name="T52" fmla="*/ 244 w 510"/>
                <a:gd name="T53" fmla="*/ 526 h 536"/>
                <a:gd name="T54" fmla="*/ 259 w 510"/>
                <a:gd name="T55" fmla="*/ 522 h 536"/>
                <a:gd name="T56" fmla="*/ 290 w 510"/>
                <a:gd name="T57" fmla="*/ 512 h 536"/>
                <a:gd name="T58" fmla="*/ 318 w 510"/>
                <a:gd name="T59" fmla="*/ 500 h 536"/>
                <a:gd name="T60" fmla="*/ 345 w 510"/>
                <a:gd name="T61" fmla="*/ 484 h 536"/>
                <a:gd name="T62" fmla="*/ 371 w 510"/>
                <a:gd name="T63" fmla="*/ 466 h 536"/>
                <a:gd name="T64" fmla="*/ 396 w 510"/>
                <a:gd name="T65" fmla="*/ 447 h 536"/>
                <a:gd name="T66" fmla="*/ 418 w 510"/>
                <a:gd name="T67" fmla="*/ 426 h 536"/>
                <a:gd name="T68" fmla="*/ 438 w 510"/>
                <a:gd name="T69" fmla="*/ 402 h 536"/>
                <a:gd name="T70" fmla="*/ 456 w 510"/>
                <a:gd name="T71" fmla="*/ 376 h 536"/>
                <a:gd name="T72" fmla="*/ 472 w 510"/>
                <a:gd name="T73" fmla="*/ 351 h 536"/>
                <a:gd name="T74" fmla="*/ 486 w 510"/>
                <a:gd name="T75" fmla="*/ 322 h 536"/>
                <a:gd name="T76" fmla="*/ 496 w 510"/>
                <a:gd name="T77" fmla="*/ 293 h 536"/>
                <a:gd name="T78" fmla="*/ 504 w 510"/>
                <a:gd name="T79" fmla="*/ 260 h 536"/>
                <a:gd name="T80" fmla="*/ 508 w 510"/>
                <a:gd name="T81" fmla="*/ 246 h 536"/>
                <a:gd name="T82" fmla="*/ 510 w 510"/>
                <a:gd name="T83" fmla="*/ 230 h 536"/>
                <a:gd name="T84" fmla="*/ 358 w 510"/>
                <a:gd name="T85" fmla="*/ 77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0" h="536">
                  <a:moveTo>
                    <a:pt x="358" y="77"/>
                  </a:moveTo>
                  <a:lnTo>
                    <a:pt x="358" y="77"/>
                  </a:lnTo>
                  <a:lnTo>
                    <a:pt x="345" y="66"/>
                  </a:lnTo>
                  <a:lnTo>
                    <a:pt x="345" y="66"/>
                  </a:lnTo>
                  <a:lnTo>
                    <a:pt x="340" y="61"/>
                  </a:lnTo>
                  <a:lnTo>
                    <a:pt x="334" y="58"/>
                  </a:lnTo>
                  <a:lnTo>
                    <a:pt x="275" y="0"/>
                  </a:lnTo>
                  <a:lnTo>
                    <a:pt x="275" y="0"/>
                  </a:lnTo>
                  <a:lnTo>
                    <a:pt x="275" y="0"/>
                  </a:lnTo>
                  <a:lnTo>
                    <a:pt x="71" y="0"/>
                  </a:lnTo>
                  <a:lnTo>
                    <a:pt x="0" y="73"/>
                  </a:lnTo>
                  <a:lnTo>
                    <a:pt x="0" y="146"/>
                  </a:lnTo>
                  <a:lnTo>
                    <a:pt x="0" y="174"/>
                  </a:lnTo>
                  <a:lnTo>
                    <a:pt x="0" y="376"/>
                  </a:lnTo>
                  <a:lnTo>
                    <a:pt x="0" y="376"/>
                  </a:lnTo>
                  <a:lnTo>
                    <a:pt x="0" y="376"/>
                  </a:lnTo>
                  <a:lnTo>
                    <a:pt x="0" y="376"/>
                  </a:lnTo>
                  <a:lnTo>
                    <a:pt x="0" y="376"/>
                  </a:lnTo>
                  <a:lnTo>
                    <a:pt x="159" y="536"/>
                  </a:lnTo>
                  <a:lnTo>
                    <a:pt x="159" y="536"/>
                  </a:lnTo>
                  <a:lnTo>
                    <a:pt x="163" y="536"/>
                  </a:lnTo>
                  <a:lnTo>
                    <a:pt x="163" y="536"/>
                  </a:lnTo>
                  <a:lnTo>
                    <a:pt x="179" y="536"/>
                  </a:lnTo>
                  <a:lnTo>
                    <a:pt x="196" y="534"/>
                  </a:lnTo>
                  <a:lnTo>
                    <a:pt x="212" y="532"/>
                  </a:lnTo>
                  <a:lnTo>
                    <a:pt x="228" y="529"/>
                  </a:lnTo>
                  <a:lnTo>
                    <a:pt x="244" y="526"/>
                  </a:lnTo>
                  <a:lnTo>
                    <a:pt x="259" y="522"/>
                  </a:lnTo>
                  <a:lnTo>
                    <a:pt x="290" y="512"/>
                  </a:lnTo>
                  <a:lnTo>
                    <a:pt x="318" y="500"/>
                  </a:lnTo>
                  <a:lnTo>
                    <a:pt x="345" y="484"/>
                  </a:lnTo>
                  <a:lnTo>
                    <a:pt x="371" y="466"/>
                  </a:lnTo>
                  <a:lnTo>
                    <a:pt x="396" y="447"/>
                  </a:lnTo>
                  <a:lnTo>
                    <a:pt x="418" y="426"/>
                  </a:lnTo>
                  <a:lnTo>
                    <a:pt x="438" y="402"/>
                  </a:lnTo>
                  <a:lnTo>
                    <a:pt x="456" y="376"/>
                  </a:lnTo>
                  <a:lnTo>
                    <a:pt x="472" y="351"/>
                  </a:lnTo>
                  <a:lnTo>
                    <a:pt x="486" y="322"/>
                  </a:lnTo>
                  <a:lnTo>
                    <a:pt x="496" y="293"/>
                  </a:lnTo>
                  <a:lnTo>
                    <a:pt x="504" y="260"/>
                  </a:lnTo>
                  <a:lnTo>
                    <a:pt x="508" y="246"/>
                  </a:lnTo>
                  <a:lnTo>
                    <a:pt x="510" y="230"/>
                  </a:lnTo>
                  <a:lnTo>
                    <a:pt x="358" y="77"/>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325">
              <a:extLst>
                <a:ext uri="{FF2B5EF4-FFF2-40B4-BE49-F238E27FC236}">
                  <a16:creationId xmlns:a16="http://schemas.microsoft.com/office/drawing/2014/main" id="{4DF299B7-2BA6-0B97-6B2C-9EDC1DE65547}"/>
                </a:ext>
              </a:extLst>
            </p:cNvPr>
            <p:cNvSpPr>
              <a:spLocks/>
            </p:cNvSpPr>
            <p:nvPr/>
          </p:nvSpPr>
          <p:spPr bwMode="auto">
            <a:xfrm>
              <a:off x="4878388" y="4570413"/>
              <a:ext cx="436563" cy="596900"/>
            </a:xfrm>
            <a:custGeom>
              <a:avLst/>
              <a:gdLst>
                <a:gd name="T0" fmla="*/ 0 w 275"/>
                <a:gd name="T1" fmla="*/ 376 h 376"/>
                <a:gd name="T2" fmla="*/ 0 w 275"/>
                <a:gd name="T3" fmla="*/ 174 h 376"/>
                <a:gd name="T4" fmla="*/ 0 w 275"/>
                <a:gd name="T5" fmla="*/ 73 h 376"/>
                <a:gd name="T6" fmla="*/ 71 w 275"/>
                <a:gd name="T7" fmla="*/ 0 h 376"/>
                <a:gd name="T8" fmla="*/ 275 w 275"/>
                <a:gd name="T9" fmla="*/ 0 h 376"/>
                <a:gd name="T10" fmla="*/ 275 w 275"/>
                <a:gd name="T11" fmla="*/ 75 h 376"/>
                <a:gd name="T12" fmla="*/ 275 w 275"/>
                <a:gd name="T13" fmla="*/ 174 h 376"/>
                <a:gd name="T14" fmla="*/ 275 w 275"/>
                <a:gd name="T15" fmla="*/ 376 h 376"/>
                <a:gd name="T16" fmla="*/ 0 w 275"/>
                <a:gd name="T17" fmla="*/ 37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 h="376">
                  <a:moveTo>
                    <a:pt x="0" y="376"/>
                  </a:moveTo>
                  <a:lnTo>
                    <a:pt x="0" y="174"/>
                  </a:lnTo>
                  <a:lnTo>
                    <a:pt x="0" y="73"/>
                  </a:lnTo>
                  <a:lnTo>
                    <a:pt x="71" y="0"/>
                  </a:lnTo>
                  <a:lnTo>
                    <a:pt x="275" y="0"/>
                  </a:lnTo>
                  <a:lnTo>
                    <a:pt x="275" y="75"/>
                  </a:lnTo>
                  <a:lnTo>
                    <a:pt x="275" y="174"/>
                  </a:lnTo>
                  <a:lnTo>
                    <a:pt x="275" y="376"/>
                  </a:lnTo>
                  <a:lnTo>
                    <a:pt x="0" y="3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326">
              <a:extLst>
                <a:ext uri="{FF2B5EF4-FFF2-40B4-BE49-F238E27FC236}">
                  <a16:creationId xmlns:a16="http://schemas.microsoft.com/office/drawing/2014/main" id="{C9B8407B-CDE5-E963-3602-3FD12E161E78}"/>
                </a:ext>
              </a:extLst>
            </p:cNvPr>
            <p:cNvSpPr>
              <a:spLocks/>
            </p:cNvSpPr>
            <p:nvPr/>
          </p:nvSpPr>
          <p:spPr bwMode="auto">
            <a:xfrm>
              <a:off x="4878388" y="4570413"/>
              <a:ext cx="112713" cy="115888"/>
            </a:xfrm>
            <a:custGeom>
              <a:avLst/>
              <a:gdLst>
                <a:gd name="T0" fmla="*/ 71 w 71"/>
                <a:gd name="T1" fmla="*/ 73 h 73"/>
                <a:gd name="T2" fmla="*/ 0 w 71"/>
                <a:gd name="T3" fmla="*/ 73 h 73"/>
                <a:gd name="T4" fmla="*/ 71 w 71"/>
                <a:gd name="T5" fmla="*/ 0 h 73"/>
                <a:gd name="T6" fmla="*/ 71 w 71"/>
                <a:gd name="T7" fmla="*/ 73 h 73"/>
              </a:gdLst>
              <a:ahLst/>
              <a:cxnLst>
                <a:cxn ang="0">
                  <a:pos x="T0" y="T1"/>
                </a:cxn>
                <a:cxn ang="0">
                  <a:pos x="T2" y="T3"/>
                </a:cxn>
                <a:cxn ang="0">
                  <a:pos x="T4" y="T5"/>
                </a:cxn>
                <a:cxn ang="0">
                  <a:pos x="T6" y="T7"/>
                </a:cxn>
              </a:cxnLst>
              <a:rect l="0" t="0" r="r" b="b"/>
              <a:pathLst>
                <a:path w="71" h="73">
                  <a:moveTo>
                    <a:pt x="71" y="73"/>
                  </a:moveTo>
                  <a:lnTo>
                    <a:pt x="0" y="73"/>
                  </a:lnTo>
                  <a:lnTo>
                    <a:pt x="71" y="0"/>
                  </a:lnTo>
                  <a:lnTo>
                    <a:pt x="71" y="73"/>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327">
              <a:extLst>
                <a:ext uri="{FF2B5EF4-FFF2-40B4-BE49-F238E27FC236}">
                  <a16:creationId xmlns:a16="http://schemas.microsoft.com/office/drawing/2014/main" id="{E1BB922C-B6A9-FBF3-9423-A58B9D2AC9A2}"/>
                </a:ext>
              </a:extLst>
            </p:cNvPr>
            <p:cNvSpPr>
              <a:spLocks/>
            </p:cNvSpPr>
            <p:nvPr/>
          </p:nvSpPr>
          <p:spPr bwMode="auto">
            <a:xfrm>
              <a:off x="4878388" y="4686300"/>
              <a:ext cx="112713" cy="115888"/>
            </a:xfrm>
            <a:custGeom>
              <a:avLst/>
              <a:gdLst>
                <a:gd name="T0" fmla="*/ 0 w 71"/>
                <a:gd name="T1" fmla="*/ 0 h 73"/>
                <a:gd name="T2" fmla="*/ 71 w 71"/>
                <a:gd name="T3" fmla="*/ 0 h 73"/>
                <a:gd name="T4" fmla="*/ 0 w 71"/>
                <a:gd name="T5" fmla="*/ 73 h 73"/>
                <a:gd name="T6" fmla="*/ 0 w 71"/>
                <a:gd name="T7" fmla="*/ 0 h 73"/>
              </a:gdLst>
              <a:ahLst/>
              <a:cxnLst>
                <a:cxn ang="0">
                  <a:pos x="T0" y="T1"/>
                </a:cxn>
                <a:cxn ang="0">
                  <a:pos x="T2" y="T3"/>
                </a:cxn>
                <a:cxn ang="0">
                  <a:pos x="T4" y="T5"/>
                </a:cxn>
                <a:cxn ang="0">
                  <a:pos x="T6" y="T7"/>
                </a:cxn>
              </a:cxnLst>
              <a:rect l="0" t="0" r="r" b="b"/>
              <a:pathLst>
                <a:path w="71" h="73">
                  <a:moveTo>
                    <a:pt x="0" y="0"/>
                  </a:moveTo>
                  <a:lnTo>
                    <a:pt x="71" y="0"/>
                  </a:lnTo>
                  <a:lnTo>
                    <a:pt x="0" y="73"/>
                  </a:lnTo>
                  <a:lnTo>
                    <a:pt x="0" y="0"/>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328">
              <a:extLst>
                <a:ext uri="{FF2B5EF4-FFF2-40B4-BE49-F238E27FC236}">
                  <a16:creationId xmlns:a16="http://schemas.microsoft.com/office/drawing/2014/main" id="{6A14559F-31A2-76F4-1767-BDA16B8833A1}"/>
                </a:ext>
              </a:extLst>
            </p:cNvPr>
            <p:cNvSpPr>
              <a:spLocks/>
            </p:cNvSpPr>
            <p:nvPr/>
          </p:nvSpPr>
          <p:spPr bwMode="auto">
            <a:xfrm>
              <a:off x="5011738" y="4929188"/>
              <a:ext cx="179388" cy="182563"/>
            </a:xfrm>
            <a:custGeom>
              <a:avLst/>
              <a:gdLst>
                <a:gd name="T0" fmla="*/ 18 w 113"/>
                <a:gd name="T1" fmla="*/ 43 h 115"/>
                <a:gd name="T2" fmla="*/ 18 w 113"/>
                <a:gd name="T3" fmla="*/ 43 h 115"/>
                <a:gd name="T4" fmla="*/ 21 w 113"/>
                <a:gd name="T5" fmla="*/ 49 h 115"/>
                <a:gd name="T6" fmla="*/ 22 w 113"/>
                <a:gd name="T7" fmla="*/ 55 h 115"/>
                <a:gd name="T8" fmla="*/ 21 w 113"/>
                <a:gd name="T9" fmla="*/ 63 h 115"/>
                <a:gd name="T10" fmla="*/ 19 w 113"/>
                <a:gd name="T11" fmla="*/ 71 h 115"/>
                <a:gd name="T12" fmla="*/ 16 w 113"/>
                <a:gd name="T13" fmla="*/ 80 h 115"/>
                <a:gd name="T14" fmla="*/ 12 w 113"/>
                <a:gd name="T15" fmla="*/ 89 h 115"/>
                <a:gd name="T16" fmla="*/ 6 w 113"/>
                <a:gd name="T17" fmla="*/ 97 h 115"/>
                <a:gd name="T18" fmla="*/ 0 w 113"/>
                <a:gd name="T19" fmla="*/ 106 h 115"/>
                <a:gd name="T20" fmla="*/ 2 w 113"/>
                <a:gd name="T21" fmla="*/ 108 h 115"/>
                <a:gd name="T22" fmla="*/ 2 w 113"/>
                <a:gd name="T23" fmla="*/ 108 h 115"/>
                <a:gd name="T24" fmla="*/ 48 w 113"/>
                <a:gd name="T25" fmla="*/ 63 h 115"/>
                <a:gd name="T26" fmla="*/ 48 w 113"/>
                <a:gd name="T27" fmla="*/ 63 h 115"/>
                <a:gd name="T28" fmla="*/ 47 w 113"/>
                <a:gd name="T29" fmla="*/ 59 h 115"/>
                <a:gd name="T30" fmla="*/ 49 w 113"/>
                <a:gd name="T31" fmla="*/ 55 h 115"/>
                <a:gd name="T32" fmla="*/ 49 w 113"/>
                <a:gd name="T33" fmla="*/ 55 h 115"/>
                <a:gd name="T34" fmla="*/ 50 w 113"/>
                <a:gd name="T35" fmla="*/ 54 h 115"/>
                <a:gd name="T36" fmla="*/ 53 w 113"/>
                <a:gd name="T37" fmla="*/ 54 h 115"/>
                <a:gd name="T38" fmla="*/ 55 w 113"/>
                <a:gd name="T39" fmla="*/ 54 h 115"/>
                <a:gd name="T40" fmla="*/ 58 w 113"/>
                <a:gd name="T41" fmla="*/ 55 h 115"/>
                <a:gd name="T42" fmla="*/ 58 w 113"/>
                <a:gd name="T43" fmla="*/ 55 h 115"/>
                <a:gd name="T44" fmla="*/ 59 w 113"/>
                <a:gd name="T45" fmla="*/ 58 h 115"/>
                <a:gd name="T46" fmla="*/ 59 w 113"/>
                <a:gd name="T47" fmla="*/ 60 h 115"/>
                <a:gd name="T48" fmla="*/ 59 w 113"/>
                <a:gd name="T49" fmla="*/ 63 h 115"/>
                <a:gd name="T50" fmla="*/ 58 w 113"/>
                <a:gd name="T51" fmla="*/ 64 h 115"/>
                <a:gd name="T52" fmla="*/ 58 w 113"/>
                <a:gd name="T53" fmla="*/ 64 h 115"/>
                <a:gd name="T54" fmla="*/ 54 w 113"/>
                <a:gd name="T55" fmla="*/ 67 h 115"/>
                <a:gd name="T56" fmla="*/ 50 w 113"/>
                <a:gd name="T57" fmla="*/ 65 h 115"/>
                <a:gd name="T58" fmla="*/ 5 w 113"/>
                <a:gd name="T59" fmla="*/ 111 h 115"/>
                <a:gd name="T60" fmla="*/ 5 w 113"/>
                <a:gd name="T61" fmla="*/ 111 h 115"/>
                <a:gd name="T62" fmla="*/ 7 w 113"/>
                <a:gd name="T63" fmla="*/ 115 h 115"/>
                <a:gd name="T64" fmla="*/ 7 w 113"/>
                <a:gd name="T65" fmla="*/ 115 h 115"/>
                <a:gd name="T66" fmla="*/ 16 w 113"/>
                <a:gd name="T67" fmla="*/ 107 h 115"/>
                <a:gd name="T68" fmla="*/ 24 w 113"/>
                <a:gd name="T69" fmla="*/ 102 h 115"/>
                <a:gd name="T70" fmla="*/ 33 w 113"/>
                <a:gd name="T71" fmla="*/ 97 h 115"/>
                <a:gd name="T72" fmla="*/ 42 w 113"/>
                <a:gd name="T73" fmla="*/ 94 h 115"/>
                <a:gd name="T74" fmla="*/ 50 w 113"/>
                <a:gd name="T75" fmla="*/ 92 h 115"/>
                <a:gd name="T76" fmla="*/ 58 w 113"/>
                <a:gd name="T77" fmla="*/ 91 h 115"/>
                <a:gd name="T78" fmla="*/ 65 w 113"/>
                <a:gd name="T79" fmla="*/ 92 h 115"/>
                <a:gd name="T80" fmla="*/ 71 w 113"/>
                <a:gd name="T81" fmla="*/ 95 h 115"/>
                <a:gd name="T82" fmla="*/ 71 w 113"/>
                <a:gd name="T83" fmla="*/ 95 h 115"/>
                <a:gd name="T84" fmla="*/ 80 w 113"/>
                <a:gd name="T85" fmla="*/ 81 h 115"/>
                <a:gd name="T86" fmla="*/ 90 w 113"/>
                <a:gd name="T87" fmla="*/ 67 h 115"/>
                <a:gd name="T88" fmla="*/ 90 w 113"/>
                <a:gd name="T89" fmla="*/ 67 h 115"/>
                <a:gd name="T90" fmla="*/ 102 w 113"/>
                <a:gd name="T91" fmla="*/ 54 h 115"/>
                <a:gd name="T92" fmla="*/ 113 w 113"/>
                <a:gd name="T93" fmla="*/ 43 h 115"/>
                <a:gd name="T94" fmla="*/ 113 w 113"/>
                <a:gd name="T95" fmla="*/ 43 h 115"/>
                <a:gd name="T96" fmla="*/ 102 w 113"/>
                <a:gd name="T97" fmla="*/ 34 h 115"/>
                <a:gd name="T98" fmla="*/ 90 w 113"/>
                <a:gd name="T99" fmla="*/ 23 h 115"/>
                <a:gd name="T100" fmla="*/ 90 w 113"/>
                <a:gd name="T101" fmla="*/ 23 h 115"/>
                <a:gd name="T102" fmla="*/ 80 w 113"/>
                <a:gd name="T103" fmla="*/ 12 h 115"/>
                <a:gd name="T104" fmla="*/ 70 w 113"/>
                <a:gd name="T105" fmla="*/ 0 h 115"/>
                <a:gd name="T106" fmla="*/ 70 w 113"/>
                <a:gd name="T107" fmla="*/ 0 h 115"/>
                <a:gd name="T108" fmla="*/ 59 w 113"/>
                <a:gd name="T109" fmla="*/ 12 h 115"/>
                <a:gd name="T110" fmla="*/ 47 w 113"/>
                <a:gd name="T111" fmla="*/ 23 h 115"/>
                <a:gd name="T112" fmla="*/ 47 w 113"/>
                <a:gd name="T113" fmla="*/ 23 h 115"/>
                <a:gd name="T114" fmla="*/ 33 w 113"/>
                <a:gd name="T115" fmla="*/ 33 h 115"/>
                <a:gd name="T116" fmla="*/ 18 w 113"/>
                <a:gd name="T117" fmla="*/ 43 h 115"/>
                <a:gd name="T118" fmla="*/ 18 w 113"/>
                <a:gd name="T119" fmla="*/ 4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115">
                  <a:moveTo>
                    <a:pt x="18" y="43"/>
                  </a:moveTo>
                  <a:lnTo>
                    <a:pt x="18" y="43"/>
                  </a:lnTo>
                  <a:lnTo>
                    <a:pt x="21" y="49"/>
                  </a:lnTo>
                  <a:lnTo>
                    <a:pt x="22" y="55"/>
                  </a:lnTo>
                  <a:lnTo>
                    <a:pt x="21" y="63"/>
                  </a:lnTo>
                  <a:lnTo>
                    <a:pt x="19" y="71"/>
                  </a:lnTo>
                  <a:lnTo>
                    <a:pt x="16" y="80"/>
                  </a:lnTo>
                  <a:lnTo>
                    <a:pt x="12" y="89"/>
                  </a:lnTo>
                  <a:lnTo>
                    <a:pt x="6" y="97"/>
                  </a:lnTo>
                  <a:lnTo>
                    <a:pt x="0" y="106"/>
                  </a:lnTo>
                  <a:lnTo>
                    <a:pt x="2" y="108"/>
                  </a:lnTo>
                  <a:lnTo>
                    <a:pt x="2" y="108"/>
                  </a:lnTo>
                  <a:lnTo>
                    <a:pt x="48" y="63"/>
                  </a:lnTo>
                  <a:lnTo>
                    <a:pt x="48" y="63"/>
                  </a:lnTo>
                  <a:lnTo>
                    <a:pt x="47" y="59"/>
                  </a:lnTo>
                  <a:lnTo>
                    <a:pt x="49" y="55"/>
                  </a:lnTo>
                  <a:lnTo>
                    <a:pt x="49" y="55"/>
                  </a:lnTo>
                  <a:lnTo>
                    <a:pt x="50" y="54"/>
                  </a:lnTo>
                  <a:lnTo>
                    <a:pt x="53" y="54"/>
                  </a:lnTo>
                  <a:lnTo>
                    <a:pt x="55" y="54"/>
                  </a:lnTo>
                  <a:lnTo>
                    <a:pt x="58" y="55"/>
                  </a:lnTo>
                  <a:lnTo>
                    <a:pt x="58" y="55"/>
                  </a:lnTo>
                  <a:lnTo>
                    <a:pt x="59" y="58"/>
                  </a:lnTo>
                  <a:lnTo>
                    <a:pt x="59" y="60"/>
                  </a:lnTo>
                  <a:lnTo>
                    <a:pt x="59" y="63"/>
                  </a:lnTo>
                  <a:lnTo>
                    <a:pt x="58" y="64"/>
                  </a:lnTo>
                  <a:lnTo>
                    <a:pt x="58" y="64"/>
                  </a:lnTo>
                  <a:lnTo>
                    <a:pt x="54" y="67"/>
                  </a:lnTo>
                  <a:lnTo>
                    <a:pt x="50" y="65"/>
                  </a:lnTo>
                  <a:lnTo>
                    <a:pt x="5" y="111"/>
                  </a:lnTo>
                  <a:lnTo>
                    <a:pt x="5" y="111"/>
                  </a:lnTo>
                  <a:lnTo>
                    <a:pt x="7" y="115"/>
                  </a:lnTo>
                  <a:lnTo>
                    <a:pt x="7" y="115"/>
                  </a:lnTo>
                  <a:lnTo>
                    <a:pt x="16" y="107"/>
                  </a:lnTo>
                  <a:lnTo>
                    <a:pt x="24" y="102"/>
                  </a:lnTo>
                  <a:lnTo>
                    <a:pt x="33" y="97"/>
                  </a:lnTo>
                  <a:lnTo>
                    <a:pt x="42" y="94"/>
                  </a:lnTo>
                  <a:lnTo>
                    <a:pt x="50" y="92"/>
                  </a:lnTo>
                  <a:lnTo>
                    <a:pt x="58" y="91"/>
                  </a:lnTo>
                  <a:lnTo>
                    <a:pt x="65" y="92"/>
                  </a:lnTo>
                  <a:lnTo>
                    <a:pt x="71" y="95"/>
                  </a:lnTo>
                  <a:lnTo>
                    <a:pt x="71" y="95"/>
                  </a:lnTo>
                  <a:lnTo>
                    <a:pt x="80" y="81"/>
                  </a:lnTo>
                  <a:lnTo>
                    <a:pt x="90" y="67"/>
                  </a:lnTo>
                  <a:lnTo>
                    <a:pt x="90" y="67"/>
                  </a:lnTo>
                  <a:lnTo>
                    <a:pt x="102" y="54"/>
                  </a:lnTo>
                  <a:lnTo>
                    <a:pt x="113" y="43"/>
                  </a:lnTo>
                  <a:lnTo>
                    <a:pt x="113" y="43"/>
                  </a:lnTo>
                  <a:lnTo>
                    <a:pt x="102" y="34"/>
                  </a:lnTo>
                  <a:lnTo>
                    <a:pt x="90" y="23"/>
                  </a:lnTo>
                  <a:lnTo>
                    <a:pt x="90" y="23"/>
                  </a:lnTo>
                  <a:lnTo>
                    <a:pt x="80" y="12"/>
                  </a:lnTo>
                  <a:lnTo>
                    <a:pt x="70" y="0"/>
                  </a:lnTo>
                  <a:lnTo>
                    <a:pt x="70" y="0"/>
                  </a:lnTo>
                  <a:lnTo>
                    <a:pt x="59" y="12"/>
                  </a:lnTo>
                  <a:lnTo>
                    <a:pt x="47" y="23"/>
                  </a:lnTo>
                  <a:lnTo>
                    <a:pt x="47" y="23"/>
                  </a:lnTo>
                  <a:lnTo>
                    <a:pt x="33" y="33"/>
                  </a:lnTo>
                  <a:lnTo>
                    <a:pt x="18" y="43"/>
                  </a:lnTo>
                  <a:lnTo>
                    <a:pt x="18" y="43"/>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329">
              <a:extLst>
                <a:ext uri="{FF2B5EF4-FFF2-40B4-BE49-F238E27FC236}">
                  <a16:creationId xmlns:a16="http://schemas.microsoft.com/office/drawing/2014/main" id="{F78B52AC-E4D8-123D-4A8C-5B64E9521F3A}"/>
                </a:ext>
              </a:extLst>
            </p:cNvPr>
            <p:cNvSpPr>
              <a:spLocks/>
            </p:cNvSpPr>
            <p:nvPr/>
          </p:nvSpPr>
          <p:spPr bwMode="auto">
            <a:xfrm>
              <a:off x="5124450" y="4735513"/>
              <a:ext cx="260350" cy="261938"/>
            </a:xfrm>
            <a:custGeom>
              <a:avLst/>
              <a:gdLst>
                <a:gd name="T0" fmla="*/ 156 w 164"/>
                <a:gd name="T1" fmla="*/ 45 h 165"/>
                <a:gd name="T2" fmla="*/ 156 w 164"/>
                <a:gd name="T3" fmla="*/ 45 h 165"/>
                <a:gd name="T4" fmla="*/ 159 w 164"/>
                <a:gd name="T5" fmla="*/ 41 h 165"/>
                <a:gd name="T6" fmla="*/ 162 w 164"/>
                <a:gd name="T7" fmla="*/ 36 h 165"/>
                <a:gd name="T8" fmla="*/ 164 w 164"/>
                <a:gd name="T9" fmla="*/ 31 h 165"/>
                <a:gd name="T10" fmla="*/ 164 w 164"/>
                <a:gd name="T11" fmla="*/ 24 h 165"/>
                <a:gd name="T12" fmla="*/ 164 w 164"/>
                <a:gd name="T13" fmla="*/ 20 h 165"/>
                <a:gd name="T14" fmla="*/ 162 w 164"/>
                <a:gd name="T15" fmla="*/ 16 h 165"/>
                <a:gd name="T16" fmla="*/ 159 w 164"/>
                <a:gd name="T17" fmla="*/ 11 h 165"/>
                <a:gd name="T18" fmla="*/ 157 w 164"/>
                <a:gd name="T19" fmla="*/ 7 h 165"/>
                <a:gd name="T20" fmla="*/ 153 w 164"/>
                <a:gd name="T21" fmla="*/ 5 h 165"/>
                <a:gd name="T22" fmla="*/ 148 w 164"/>
                <a:gd name="T23" fmla="*/ 2 h 165"/>
                <a:gd name="T24" fmla="*/ 145 w 164"/>
                <a:gd name="T25" fmla="*/ 1 h 165"/>
                <a:gd name="T26" fmla="*/ 140 w 164"/>
                <a:gd name="T27" fmla="*/ 0 h 165"/>
                <a:gd name="T28" fmla="*/ 135 w 164"/>
                <a:gd name="T29" fmla="*/ 0 h 165"/>
                <a:gd name="T30" fmla="*/ 129 w 164"/>
                <a:gd name="T31" fmla="*/ 2 h 165"/>
                <a:gd name="T32" fmla="*/ 124 w 164"/>
                <a:gd name="T33" fmla="*/ 5 h 165"/>
                <a:gd name="T34" fmla="*/ 119 w 164"/>
                <a:gd name="T35" fmla="*/ 8 h 165"/>
                <a:gd name="T36" fmla="*/ 119 w 164"/>
                <a:gd name="T37" fmla="*/ 8 h 165"/>
                <a:gd name="T38" fmla="*/ 0 w 164"/>
                <a:gd name="T39" fmla="*/ 123 h 165"/>
                <a:gd name="T40" fmla="*/ 0 w 164"/>
                <a:gd name="T41" fmla="*/ 123 h 165"/>
                <a:gd name="T42" fmla="*/ 42 w 164"/>
                <a:gd name="T43" fmla="*/ 165 h 165"/>
                <a:gd name="T44" fmla="*/ 42 w 164"/>
                <a:gd name="T45" fmla="*/ 165 h 165"/>
                <a:gd name="T46" fmla="*/ 156 w 164"/>
                <a:gd name="T47" fmla="*/ 45 h 165"/>
                <a:gd name="T48" fmla="*/ 156 w 164"/>
                <a:gd name="T49" fmla="*/ 4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4" h="165">
                  <a:moveTo>
                    <a:pt x="156" y="45"/>
                  </a:moveTo>
                  <a:lnTo>
                    <a:pt x="156" y="45"/>
                  </a:lnTo>
                  <a:lnTo>
                    <a:pt x="159" y="41"/>
                  </a:lnTo>
                  <a:lnTo>
                    <a:pt x="162" y="36"/>
                  </a:lnTo>
                  <a:lnTo>
                    <a:pt x="164" y="31"/>
                  </a:lnTo>
                  <a:lnTo>
                    <a:pt x="164" y="24"/>
                  </a:lnTo>
                  <a:lnTo>
                    <a:pt x="164" y="20"/>
                  </a:lnTo>
                  <a:lnTo>
                    <a:pt x="162" y="16"/>
                  </a:lnTo>
                  <a:lnTo>
                    <a:pt x="159" y="11"/>
                  </a:lnTo>
                  <a:lnTo>
                    <a:pt x="157" y="7"/>
                  </a:lnTo>
                  <a:lnTo>
                    <a:pt x="153" y="5"/>
                  </a:lnTo>
                  <a:lnTo>
                    <a:pt x="148" y="2"/>
                  </a:lnTo>
                  <a:lnTo>
                    <a:pt x="145" y="1"/>
                  </a:lnTo>
                  <a:lnTo>
                    <a:pt x="140" y="0"/>
                  </a:lnTo>
                  <a:lnTo>
                    <a:pt x="135" y="0"/>
                  </a:lnTo>
                  <a:lnTo>
                    <a:pt x="129" y="2"/>
                  </a:lnTo>
                  <a:lnTo>
                    <a:pt x="124" y="5"/>
                  </a:lnTo>
                  <a:lnTo>
                    <a:pt x="119" y="8"/>
                  </a:lnTo>
                  <a:lnTo>
                    <a:pt x="119" y="8"/>
                  </a:lnTo>
                  <a:lnTo>
                    <a:pt x="0" y="123"/>
                  </a:lnTo>
                  <a:lnTo>
                    <a:pt x="0" y="123"/>
                  </a:lnTo>
                  <a:lnTo>
                    <a:pt x="42" y="165"/>
                  </a:lnTo>
                  <a:lnTo>
                    <a:pt x="42" y="165"/>
                  </a:lnTo>
                  <a:lnTo>
                    <a:pt x="156" y="45"/>
                  </a:lnTo>
                  <a:lnTo>
                    <a:pt x="156" y="45"/>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0">
              <a:extLst>
                <a:ext uri="{FF2B5EF4-FFF2-40B4-BE49-F238E27FC236}">
                  <a16:creationId xmlns:a16="http://schemas.microsoft.com/office/drawing/2014/main" id="{40301C22-6954-2AEB-ED3C-FBD84ACED07D}"/>
                </a:ext>
              </a:extLst>
            </p:cNvPr>
            <p:cNvSpPr>
              <a:spLocks/>
            </p:cNvSpPr>
            <p:nvPr/>
          </p:nvSpPr>
          <p:spPr bwMode="auto">
            <a:xfrm>
              <a:off x="5113338" y="4929188"/>
              <a:ext cx="77788" cy="77788"/>
            </a:xfrm>
            <a:custGeom>
              <a:avLst/>
              <a:gdLst>
                <a:gd name="T0" fmla="*/ 49 w 49"/>
                <a:gd name="T1" fmla="*/ 43 h 49"/>
                <a:gd name="T2" fmla="*/ 6 w 49"/>
                <a:gd name="T3" fmla="*/ 0 h 49"/>
                <a:gd name="T4" fmla="*/ 0 w 49"/>
                <a:gd name="T5" fmla="*/ 6 h 49"/>
                <a:gd name="T6" fmla="*/ 43 w 49"/>
                <a:gd name="T7" fmla="*/ 49 h 49"/>
                <a:gd name="T8" fmla="*/ 49 w 49"/>
                <a:gd name="T9" fmla="*/ 43 h 49"/>
              </a:gdLst>
              <a:ahLst/>
              <a:cxnLst>
                <a:cxn ang="0">
                  <a:pos x="T0" y="T1"/>
                </a:cxn>
                <a:cxn ang="0">
                  <a:pos x="T2" y="T3"/>
                </a:cxn>
                <a:cxn ang="0">
                  <a:pos x="T4" y="T5"/>
                </a:cxn>
                <a:cxn ang="0">
                  <a:pos x="T6" y="T7"/>
                </a:cxn>
                <a:cxn ang="0">
                  <a:pos x="T8" y="T9"/>
                </a:cxn>
              </a:cxnLst>
              <a:rect l="0" t="0" r="r" b="b"/>
              <a:pathLst>
                <a:path w="49" h="49">
                  <a:moveTo>
                    <a:pt x="49" y="43"/>
                  </a:moveTo>
                  <a:lnTo>
                    <a:pt x="6" y="0"/>
                  </a:lnTo>
                  <a:lnTo>
                    <a:pt x="0" y="6"/>
                  </a:lnTo>
                  <a:lnTo>
                    <a:pt x="43" y="49"/>
                  </a:lnTo>
                  <a:lnTo>
                    <a:pt x="49" y="43"/>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31">
              <a:extLst>
                <a:ext uri="{FF2B5EF4-FFF2-40B4-BE49-F238E27FC236}">
                  <a16:creationId xmlns:a16="http://schemas.microsoft.com/office/drawing/2014/main" id="{6FF01319-CCD1-A01E-96A2-077571AD17CE}"/>
                </a:ext>
              </a:extLst>
            </p:cNvPr>
            <p:cNvSpPr>
              <a:spLocks/>
            </p:cNvSpPr>
            <p:nvPr/>
          </p:nvSpPr>
          <p:spPr bwMode="auto">
            <a:xfrm>
              <a:off x="5214938" y="4660900"/>
              <a:ext cx="246063" cy="246063"/>
            </a:xfrm>
            <a:custGeom>
              <a:avLst/>
              <a:gdLst>
                <a:gd name="T0" fmla="*/ 52 w 155"/>
                <a:gd name="T1" fmla="*/ 155 h 155"/>
                <a:gd name="T2" fmla="*/ 148 w 155"/>
                <a:gd name="T3" fmla="*/ 59 h 155"/>
                <a:gd name="T4" fmla="*/ 148 w 155"/>
                <a:gd name="T5" fmla="*/ 59 h 155"/>
                <a:gd name="T6" fmla="*/ 150 w 155"/>
                <a:gd name="T7" fmla="*/ 55 h 155"/>
                <a:gd name="T8" fmla="*/ 153 w 155"/>
                <a:gd name="T9" fmla="*/ 50 h 155"/>
                <a:gd name="T10" fmla="*/ 154 w 155"/>
                <a:gd name="T11" fmla="*/ 46 h 155"/>
                <a:gd name="T12" fmla="*/ 155 w 155"/>
                <a:gd name="T13" fmla="*/ 41 h 155"/>
                <a:gd name="T14" fmla="*/ 154 w 155"/>
                <a:gd name="T15" fmla="*/ 36 h 155"/>
                <a:gd name="T16" fmla="*/ 153 w 155"/>
                <a:gd name="T17" fmla="*/ 31 h 155"/>
                <a:gd name="T18" fmla="*/ 150 w 155"/>
                <a:gd name="T19" fmla="*/ 26 h 155"/>
                <a:gd name="T20" fmla="*/ 147 w 155"/>
                <a:gd name="T21" fmla="*/ 21 h 155"/>
                <a:gd name="T22" fmla="*/ 133 w 155"/>
                <a:gd name="T23" fmla="*/ 9 h 155"/>
                <a:gd name="T24" fmla="*/ 133 w 155"/>
                <a:gd name="T25" fmla="*/ 9 h 155"/>
                <a:gd name="T26" fmla="*/ 130 w 155"/>
                <a:gd name="T27" fmla="*/ 5 h 155"/>
                <a:gd name="T28" fmla="*/ 125 w 155"/>
                <a:gd name="T29" fmla="*/ 2 h 155"/>
                <a:gd name="T30" fmla="*/ 120 w 155"/>
                <a:gd name="T31" fmla="*/ 1 h 155"/>
                <a:gd name="T32" fmla="*/ 115 w 155"/>
                <a:gd name="T33" fmla="*/ 0 h 155"/>
                <a:gd name="T34" fmla="*/ 110 w 155"/>
                <a:gd name="T35" fmla="*/ 1 h 155"/>
                <a:gd name="T36" fmla="*/ 105 w 155"/>
                <a:gd name="T37" fmla="*/ 2 h 155"/>
                <a:gd name="T38" fmla="*/ 100 w 155"/>
                <a:gd name="T39" fmla="*/ 5 h 155"/>
                <a:gd name="T40" fmla="*/ 96 w 155"/>
                <a:gd name="T41" fmla="*/ 7 h 155"/>
                <a:gd name="T42" fmla="*/ 0 w 155"/>
                <a:gd name="T43" fmla="*/ 104 h 155"/>
                <a:gd name="T44" fmla="*/ 52 w 155"/>
                <a:gd name="T45"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5" h="155">
                  <a:moveTo>
                    <a:pt x="52" y="155"/>
                  </a:moveTo>
                  <a:lnTo>
                    <a:pt x="148" y="59"/>
                  </a:lnTo>
                  <a:lnTo>
                    <a:pt x="148" y="59"/>
                  </a:lnTo>
                  <a:lnTo>
                    <a:pt x="150" y="55"/>
                  </a:lnTo>
                  <a:lnTo>
                    <a:pt x="153" y="50"/>
                  </a:lnTo>
                  <a:lnTo>
                    <a:pt x="154" y="46"/>
                  </a:lnTo>
                  <a:lnTo>
                    <a:pt x="155" y="41"/>
                  </a:lnTo>
                  <a:lnTo>
                    <a:pt x="154" y="36"/>
                  </a:lnTo>
                  <a:lnTo>
                    <a:pt x="153" y="31"/>
                  </a:lnTo>
                  <a:lnTo>
                    <a:pt x="150" y="26"/>
                  </a:lnTo>
                  <a:lnTo>
                    <a:pt x="147" y="21"/>
                  </a:lnTo>
                  <a:lnTo>
                    <a:pt x="133" y="9"/>
                  </a:lnTo>
                  <a:lnTo>
                    <a:pt x="133" y="9"/>
                  </a:lnTo>
                  <a:lnTo>
                    <a:pt x="130" y="5"/>
                  </a:lnTo>
                  <a:lnTo>
                    <a:pt x="125" y="2"/>
                  </a:lnTo>
                  <a:lnTo>
                    <a:pt x="120" y="1"/>
                  </a:lnTo>
                  <a:lnTo>
                    <a:pt x="115" y="0"/>
                  </a:lnTo>
                  <a:lnTo>
                    <a:pt x="110" y="1"/>
                  </a:lnTo>
                  <a:lnTo>
                    <a:pt x="105" y="2"/>
                  </a:lnTo>
                  <a:lnTo>
                    <a:pt x="100" y="5"/>
                  </a:lnTo>
                  <a:lnTo>
                    <a:pt x="96" y="7"/>
                  </a:lnTo>
                  <a:lnTo>
                    <a:pt x="0" y="104"/>
                  </a:lnTo>
                  <a:lnTo>
                    <a:pt x="52" y="155"/>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332">
              <a:extLst>
                <a:ext uri="{FF2B5EF4-FFF2-40B4-BE49-F238E27FC236}">
                  <a16:creationId xmlns:a16="http://schemas.microsoft.com/office/drawing/2014/main" id="{39DFA602-FAEC-F527-FDC8-05B85138BD62}"/>
                </a:ext>
              </a:extLst>
            </p:cNvPr>
            <p:cNvSpPr>
              <a:spLocks/>
            </p:cNvSpPr>
            <p:nvPr/>
          </p:nvSpPr>
          <p:spPr bwMode="auto">
            <a:xfrm>
              <a:off x="5214938" y="4668838"/>
              <a:ext cx="236538" cy="117475"/>
            </a:xfrm>
            <a:custGeom>
              <a:avLst/>
              <a:gdLst>
                <a:gd name="T0" fmla="*/ 148 w 149"/>
                <a:gd name="T1" fmla="*/ 59 h 74"/>
                <a:gd name="T2" fmla="*/ 96 w 149"/>
                <a:gd name="T3" fmla="*/ 7 h 74"/>
                <a:gd name="T4" fmla="*/ 96 w 149"/>
                <a:gd name="T5" fmla="*/ 7 h 74"/>
                <a:gd name="T6" fmla="*/ 93 w 149"/>
                <a:gd name="T7" fmla="*/ 5 h 74"/>
                <a:gd name="T8" fmla="*/ 89 w 149"/>
                <a:gd name="T9" fmla="*/ 2 h 74"/>
                <a:gd name="T10" fmla="*/ 84 w 149"/>
                <a:gd name="T11" fmla="*/ 1 h 74"/>
                <a:gd name="T12" fmla="*/ 80 w 149"/>
                <a:gd name="T13" fmla="*/ 0 h 74"/>
                <a:gd name="T14" fmla="*/ 75 w 149"/>
                <a:gd name="T15" fmla="*/ 0 h 74"/>
                <a:gd name="T16" fmla="*/ 72 w 149"/>
                <a:gd name="T17" fmla="*/ 1 h 74"/>
                <a:gd name="T18" fmla="*/ 68 w 149"/>
                <a:gd name="T19" fmla="*/ 2 h 74"/>
                <a:gd name="T20" fmla="*/ 64 w 149"/>
                <a:gd name="T21" fmla="*/ 6 h 74"/>
                <a:gd name="T22" fmla="*/ 9 w 149"/>
                <a:gd name="T23" fmla="*/ 60 h 74"/>
                <a:gd name="T24" fmla="*/ 9 w 149"/>
                <a:gd name="T25" fmla="*/ 60 h 74"/>
                <a:gd name="T26" fmla="*/ 0 w 149"/>
                <a:gd name="T27" fmla="*/ 70 h 74"/>
                <a:gd name="T28" fmla="*/ 0 w 149"/>
                <a:gd name="T29" fmla="*/ 70 h 74"/>
                <a:gd name="T30" fmla="*/ 6 w 149"/>
                <a:gd name="T31" fmla="*/ 73 h 74"/>
                <a:gd name="T32" fmla="*/ 12 w 149"/>
                <a:gd name="T33" fmla="*/ 74 h 74"/>
                <a:gd name="T34" fmla="*/ 19 w 149"/>
                <a:gd name="T35" fmla="*/ 73 h 74"/>
                <a:gd name="T36" fmla="*/ 22 w 149"/>
                <a:gd name="T37" fmla="*/ 70 h 74"/>
                <a:gd name="T38" fmla="*/ 22 w 149"/>
                <a:gd name="T39" fmla="*/ 70 h 74"/>
                <a:gd name="T40" fmla="*/ 25 w 149"/>
                <a:gd name="T41" fmla="*/ 65 h 74"/>
                <a:gd name="T42" fmla="*/ 25 w 149"/>
                <a:gd name="T43" fmla="*/ 62 h 74"/>
                <a:gd name="T44" fmla="*/ 73 w 149"/>
                <a:gd name="T45" fmla="*/ 13 h 74"/>
                <a:gd name="T46" fmla="*/ 73 w 149"/>
                <a:gd name="T47" fmla="*/ 13 h 74"/>
                <a:gd name="T48" fmla="*/ 76 w 149"/>
                <a:gd name="T49" fmla="*/ 11 h 74"/>
                <a:gd name="T50" fmla="*/ 80 w 149"/>
                <a:gd name="T51" fmla="*/ 11 h 74"/>
                <a:gd name="T52" fmla="*/ 85 w 149"/>
                <a:gd name="T53" fmla="*/ 11 h 74"/>
                <a:gd name="T54" fmla="*/ 90 w 149"/>
                <a:gd name="T55" fmla="*/ 15 h 74"/>
                <a:gd name="T56" fmla="*/ 141 w 149"/>
                <a:gd name="T57" fmla="*/ 66 h 74"/>
                <a:gd name="T58" fmla="*/ 141 w 149"/>
                <a:gd name="T59" fmla="*/ 66 h 74"/>
                <a:gd name="T60" fmla="*/ 143 w 149"/>
                <a:gd name="T61" fmla="*/ 68 h 74"/>
                <a:gd name="T62" fmla="*/ 144 w 149"/>
                <a:gd name="T63" fmla="*/ 68 h 74"/>
                <a:gd name="T64" fmla="*/ 147 w 149"/>
                <a:gd name="T65" fmla="*/ 68 h 74"/>
                <a:gd name="T66" fmla="*/ 148 w 149"/>
                <a:gd name="T67" fmla="*/ 66 h 74"/>
                <a:gd name="T68" fmla="*/ 148 w 149"/>
                <a:gd name="T69" fmla="*/ 66 h 74"/>
                <a:gd name="T70" fmla="*/ 149 w 149"/>
                <a:gd name="T71" fmla="*/ 65 h 74"/>
                <a:gd name="T72" fmla="*/ 149 w 149"/>
                <a:gd name="T73" fmla="*/ 63 h 74"/>
                <a:gd name="T74" fmla="*/ 149 w 149"/>
                <a:gd name="T75" fmla="*/ 60 h 74"/>
                <a:gd name="T76" fmla="*/ 148 w 149"/>
                <a:gd name="T77" fmla="*/ 59 h 74"/>
                <a:gd name="T78" fmla="*/ 148 w 149"/>
                <a:gd name="T79" fmla="*/ 5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 h="74">
                  <a:moveTo>
                    <a:pt x="148" y="59"/>
                  </a:moveTo>
                  <a:lnTo>
                    <a:pt x="96" y="7"/>
                  </a:lnTo>
                  <a:lnTo>
                    <a:pt x="96" y="7"/>
                  </a:lnTo>
                  <a:lnTo>
                    <a:pt x="93" y="5"/>
                  </a:lnTo>
                  <a:lnTo>
                    <a:pt x="89" y="2"/>
                  </a:lnTo>
                  <a:lnTo>
                    <a:pt x="84" y="1"/>
                  </a:lnTo>
                  <a:lnTo>
                    <a:pt x="80" y="0"/>
                  </a:lnTo>
                  <a:lnTo>
                    <a:pt x="75" y="0"/>
                  </a:lnTo>
                  <a:lnTo>
                    <a:pt x="72" y="1"/>
                  </a:lnTo>
                  <a:lnTo>
                    <a:pt x="68" y="2"/>
                  </a:lnTo>
                  <a:lnTo>
                    <a:pt x="64" y="6"/>
                  </a:lnTo>
                  <a:lnTo>
                    <a:pt x="9" y="60"/>
                  </a:lnTo>
                  <a:lnTo>
                    <a:pt x="9" y="60"/>
                  </a:lnTo>
                  <a:lnTo>
                    <a:pt x="0" y="70"/>
                  </a:lnTo>
                  <a:lnTo>
                    <a:pt x="0" y="70"/>
                  </a:lnTo>
                  <a:lnTo>
                    <a:pt x="6" y="73"/>
                  </a:lnTo>
                  <a:lnTo>
                    <a:pt x="12" y="74"/>
                  </a:lnTo>
                  <a:lnTo>
                    <a:pt x="19" y="73"/>
                  </a:lnTo>
                  <a:lnTo>
                    <a:pt x="22" y="70"/>
                  </a:lnTo>
                  <a:lnTo>
                    <a:pt x="22" y="70"/>
                  </a:lnTo>
                  <a:lnTo>
                    <a:pt x="25" y="65"/>
                  </a:lnTo>
                  <a:lnTo>
                    <a:pt x="25" y="62"/>
                  </a:lnTo>
                  <a:lnTo>
                    <a:pt x="73" y="13"/>
                  </a:lnTo>
                  <a:lnTo>
                    <a:pt x="73" y="13"/>
                  </a:lnTo>
                  <a:lnTo>
                    <a:pt x="76" y="11"/>
                  </a:lnTo>
                  <a:lnTo>
                    <a:pt x="80" y="11"/>
                  </a:lnTo>
                  <a:lnTo>
                    <a:pt x="85" y="11"/>
                  </a:lnTo>
                  <a:lnTo>
                    <a:pt x="90" y="15"/>
                  </a:lnTo>
                  <a:lnTo>
                    <a:pt x="141" y="66"/>
                  </a:lnTo>
                  <a:lnTo>
                    <a:pt x="141" y="66"/>
                  </a:lnTo>
                  <a:lnTo>
                    <a:pt x="143" y="68"/>
                  </a:lnTo>
                  <a:lnTo>
                    <a:pt x="144" y="68"/>
                  </a:lnTo>
                  <a:lnTo>
                    <a:pt x="147" y="68"/>
                  </a:lnTo>
                  <a:lnTo>
                    <a:pt x="148" y="66"/>
                  </a:lnTo>
                  <a:lnTo>
                    <a:pt x="148" y="66"/>
                  </a:lnTo>
                  <a:lnTo>
                    <a:pt x="149" y="65"/>
                  </a:lnTo>
                  <a:lnTo>
                    <a:pt x="149" y="63"/>
                  </a:lnTo>
                  <a:lnTo>
                    <a:pt x="149" y="60"/>
                  </a:lnTo>
                  <a:lnTo>
                    <a:pt x="148" y="59"/>
                  </a:lnTo>
                  <a:lnTo>
                    <a:pt x="148" y="59"/>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3" name="Segnaposto numero diapositiva 2">
            <a:extLst>
              <a:ext uri="{FF2B5EF4-FFF2-40B4-BE49-F238E27FC236}">
                <a16:creationId xmlns:a16="http://schemas.microsoft.com/office/drawing/2014/main" id="{F9E5BD1C-2B6A-6993-85E6-F6C0832964B7}"/>
              </a:ext>
            </a:extLst>
          </p:cNvPr>
          <p:cNvSpPr>
            <a:spLocks noGrp="1"/>
          </p:cNvSpPr>
          <p:nvPr>
            <p:ph type="sldNum" sz="quarter" idx="12"/>
          </p:nvPr>
        </p:nvSpPr>
        <p:spPr/>
        <p:txBody>
          <a:bodyPr/>
          <a:lstStyle/>
          <a:p>
            <a:fld id="{00F0C1FD-41C3-4D85-8E51-9C56B45C685D}" type="slidenum">
              <a:rPr lang="it-IT" smtClean="0">
                <a:latin typeface="Open Sans Light" panose="020B0306030504020204" pitchFamily="34" charset="0"/>
                <a:ea typeface="Open Sans Light" panose="020B0306030504020204" pitchFamily="34" charset="0"/>
                <a:cs typeface="Open Sans Light" panose="020B0306030504020204" pitchFamily="34" charset="0"/>
              </a:rPr>
              <a:t>10</a:t>
            </a:fld>
            <a:endParaRPr lang="it-IT">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4" name="Group 406">
            <a:extLst>
              <a:ext uri="{FF2B5EF4-FFF2-40B4-BE49-F238E27FC236}">
                <a16:creationId xmlns:a16="http://schemas.microsoft.com/office/drawing/2014/main" id="{90D96374-445A-7345-122C-996E4C765540}"/>
              </a:ext>
            </a:extLst>
          </p:cNvPr>
          <p:cNvGrpSpPr/>
          <p:nvPr/>
        </p:nvGrpSpPr>
        <p:grpSpPr>
          <a:xfrm>
            <a:off x="910387" y="1467163"/>
            <a:ext cx="684000" cy="684000"/>
            <a:chOff x="3144838" y="0"/>
            <a:chExt cx="1112838" cy="1114425"/>
          </a:xfrm>
        </p:grpSpPr>
        <p:sp>
          <p:nvSpPr>
            <p:cNvPr id="5" name="Freeform 7">
              <a:extLst>
                <a:ext uri="{FF2B5EF4-FFF2-40B4-BE49-F238E27FC236}">
                  <a16:creationId xmlns:a16="http://schemas.microsoft.com/office/drawing/2014/main" id="{BBB6CF76-62CE-2A2B-514A-65AFF24CC85C}"/>
                </a:ext>
              </a:extLst>
            </p:cNvPr>
            <p:cNvSpPr>
              <a:spLocks/>
            </p:cNvSpPr>
            <p:nvPr/>
          </p:nvSpPr>
          <p:spPr bwMode="auto">
            <a:xfrm>
              <a:off x="3144838" y="0"/>
              <a:ext cx="1112838" cy="1114425"/>
            </a:xfrm>
            <a:custGeom>
              <a:avLst/>
              <a:gdLst>
                <a:gd name="T0" fmla="*/ 332 w 701"/>
                <a:gd name="T1" fmla="*/ 701 h 702"/>
                <a:gd name="T2" fmla="*/ 280 w 701"/>
                <a:gd name="T3" fmla="*/ 695 h 702"/>
                <a:gd name="T4" fmla="*/ 230 w 701"/>
                <a:gd name="T5" fmla="*/ 680 h 702"/>
                <a:gd name="T6" fmla="*/ 183 w 701"/>
                <a:gd name="T7" fmla="*/ 659 h 702"/>
                <a:gd name="T8" fmla="*/ 141 w 701"/>
                <a:gd name="T9" fmla="*/ 632 h 702"/>
                <a:gd name="T10" fmla="*/ 103 w 701"/>
                <a:gd name="T11" fmla="*/ 598 h 702"/>
                <a:gd name="T12" fmla="*/ 69 w 701"/>
                <a:gd name="T13" fmla="*/ 561 h 702"/>
                <a:gd name="T14" fmla="*/ 42 w 701"/>
                <a:gd name="T15" fmla="*/ 518 h 702"/>
                <a:gd name="T16" fmla="*/ 21 w 701"/>
                <a:gd name="T17" fmla="*/ 471 h 702"/>
                <a:gd name="T18" fmla="*/ 7 w 701"/>
                <a:gd name="T19" fmla="*/ 422 h 702"/>
                <a:gd name="T20" fmla="*/ 0 w 701"/>
                <a:gd name="T21" fmla="*/ 369 h 702"/>
                <a:gd name="T22" fmla="*/ 0 w 701"/>
                <a:gd name="T23" fmla="*/ 333 h 702"/>
                <a:gd name="T24" fmla="*/ 7 w 701"/>
                <a:gd name="T25" fmla="*/ 280 h 702"/>
                <a:gd name="T26" fmla="*/ 21 w 701"/>
                <a:gd name="T27" fmla="*/ 231 h 702"/>
                <a:gd name="T28" fmla="*/ 42 w 701"/>
                <a:gd name="T29" fmla="*/ 184 h 702"/>
                <a:gd name="T30" fmla="*/ 69 w 701"/>
                <a:gd name="T31" fmla="*/ 142 h 702"/>
                <a:gd name="T32" fmla="*/ 103 w 701"/>
                <a:gd name="T33" fmla="*/ 104 h 702"/>
                <a:gd name="T34" fmla="*/ 141 w 701"/>
                <a:gd name="T35" fmla="*/ 70 h 702"/>
                <a:gd name="T36" fmla="*/ 183 w 701"/>
                <a:gd name="T37" fmla="*/ 43 h 702"/>
                <a:gd name="T38" fmla="*/ 230 w 701"/>
                <a:gd name="T39" fmla="*/ 22 h 702"/>
                <a:gd name="T40" fmla="*/ 280 w 701"/>
                <a:gd name="T41" fmla="*/ 7 h 702"/>
                <a:gd name="T42" fmla="*/ 332 w 701"/>
                <a:gd name="T43" fmla="*/ 1 h 702"/>
                <a:gd name="T44" fmla="*/ 368 w 701"/>
                <a:gd name="T45" fmla="*/ 1 h 702"/>
                <a:gd name="T46" fmla="*/ 421 w 701"/>
                <a:gd name="T47" fmla="*/ 7 h 702"/>
                <a:gd name="T48" fmla="*/ 470 w 701"/>
                <a:gd name="T49" fmla="*/ 22 h 702"/>
                <a:gd name="T50" fmla="*/ 517 w 701"/>
                <a:gd name="T51" fmla="*/ 43 h 702"/>
                <a:gd name="T52" fmla="*/ 560 w 701"/>
                <a:gd name="T53" fmla="*/ 70 h 702"/>
                <a:gd name="T54" fmla="*/ 599 w 701"/>
                <a:gd name="T55" fmla="*/ 104 h 702"/>
                <a:gd name="T56" fmla="*/ 631 w 701"/>
                <a:gd name="T57" fmla="*/ 142 h 702"/>
                <a:gd name="T58" fmla="*/ 659 w 701"/>
                <a:gd name="T59" fmla="*/ 184 h 702"/>
                <a:gd name="T60" fmla="*/ 680 w 701"/>
                <a:gd name="T61" fmla="*/ 231 h 702"/>
                <a:gd name="T62" fmla="*/ 693 w 701"/>
                <a:gd name="T63" fmla="*/ 280 h 702"/>
                <a:gd name="T64" fmla="*/ 701 w 701"/>
                <a:gd name="T65" fmla="*/ 333 h 702"/>
                <a:gd name="T66" fmla="*/ 701 w 701"/>
                <a:gd name="T67" fmla="*/ 369 h 702"/>
                <a:gd name="T68" fmla="*/ 693 w 701"/>
                <a:gd name="T69" fmla="*/ 422 h 702"/>
                <a:gd name="T70" fmla="*/ 680 w 701"/>
                <a:gd name="T71" fmla="*/ 471 h 702"/>
                <a:gd name="T72" fmla="*/ 659 w 701"/>
                <a:gd name="T73" fmla="*/ 518 h 702"/>
                <a:gd name="T74" fmla="*/ 631 w 701"/>
                <a:gd name="T75" fmla="*/ 561 h 702"/>
                <a:gd name="T76" fmla="*/ 599 w 701"/>
                <a:gd name="T77" fmla="*/ 598 h 702"/>
                <a:gd name="T78" fmla="*/ 560 w 701"/>
                <a:gd name="T79" fmla="*/ 632 h 702"/>
                <a:gd name="T80" fmla="*/ 517 w 701"/>
                <a:gd name="T81" fmla="*/ 659 h 702"/>
                <a:gd name="T82" fmla="*/ 470 w 701"/>
                <a:gd name="T83" fmla="*/ 680 h 702"/>
                <a:gd name="T84" fmla="*/ 421 w 701"/>
                <a:gd name="T85" fmla="*/ 695 h 702"/>
                <a:gd name="T86" fmla="*/ 368 w 701"/>
                <a:gd name="T8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1" y="702"/>
                  </a:moveTo>
                  <a:lnTo>
                    <a:pt x="351" y="702"/>
                  </a:lnTo>
                  <a:lnTo>
                    <a:pt x="332" y="701"/>
                  </a:lnTo>
                  <a:lnTo>
                    <a:pt x="315" y="699"/>
                  </a:lnTo>
                  <a:lnTo>
                    <a:pt x="298" y="697"/>
                  </a:lnTo>
                  <a:lnTo>
                    <a:pt x="280" y="695"/>
                  </a:lnTo>
                  <a:lnTo>
                    <a:pt x="263" y="691"/>
                  </a:lnTo>
                  <a:lnTo>
                    <a:pt x="246" y="686"/>
                  </a:lnTo>
                  <a:lnTo>
                    <a:pt x="230" y="680"/>
                  </a:lnTo>
                  <a:lnTo>
                    <a:pt x="214" y="674"/>
                  </a:lnTo>
                  <a:lnTo>
                    <a:pt x="199" y="667"/>
                  </a:lnTo>
                  <a:lnTo>
                    <a:pt x="183" y="659"/>
                  </a:lnTo>
                  <a:lnTo>
                    <a:pt x="168" y="651"/>
                  </a:lnTo>
                  <a:lnTo>
                    <a:pt x="155" y="641"/>
                  </a:lnTo>
                  <a:lnTo>
                    <a:pt x="141" y="632"/>
                  </a:lnTo>
                  <a:lnTo>
                    <a:pt x="127" y="622"/>
                  </a:lnTo>
                  <a:lnTo>
                    <a:pt x="115" y="611"/>
                  </a:lnTo>
                  <a:lnTo>
                    <a:pt x="103" y="598"/>
                  </a:lnTo>
                  <a:lnTo>
                    <a:pt x="90" y="587"/>
                  </a:lnTo>
                  <a:lnTo>
                    <a:pt x="81" y="574"/>
                  </a:lnTo>
                  <a:lnTo>
                    <a:pt x="69" y="561"/>
                  </a:lnTo>
                  <a:lnTo>
                    <a:pt x="60" y="546"/>
                  </a:lnTo>
                  <a:lnTo>
                    <a:pt x="51" y="533"/>
                  </a:lnTo>
                  <a:lnTo>
                    <a:pt x="42" y="518"/>
                  </a:lnTo>
                  <a:lnTo>
                    <a:pt x="35" y="503"/>
                  </a:lnTo>
                  <a:lnTo>
                    <a:pt x="27" y="487"/>
                  </a:lnTo>
                  <a:lnTo>
                    <a:pt x="21" y="471"/>
                  </a:lnTo>
                  <a:lnTo>
                    <a:pt x="15" y="455"/>
                  </a:lnTo>
                  <a:lnTo>
                    <a:pt x="11" y="439"/>
                  </a:lnTo>
                  <a:lnTo>
                    <a:pt x="7" y="422"/>
                  </a:lnTo>
                  <a:lnTo>
                    <a:pt x="4" y="405"/>
                  </a:lnTo>
                  <a:lnTo>
                    <a:pt x="2" y="387"/>
                  </a:lnTo>
                  <a:lnTo>
                    <a:pt x="0" y="369"/>
                  </a:lnTo>
                  <a:lnTo>
                    <a:pt x="0" y="352"/>
                  </a:lnTo>
                  <a:lnTo>
                    <a:pt x="0" y="352"/>
                  </a:lnTo>
                  <a:lnTo>
                    <a:pt x="0" y="333"/>
                  </a:lnTo>
                  <a:lnTo>
                    <a:pt x="2" y="316"/>
                  </a:lnTo>
                  <a:lnTo>
                    <a:pt x="4" y="297"/>
                  </a:lnTo>
                  <a:lnTo>
                    <a:pt x="7" y="280"/>
                  </a:lnTo>
                  <a:lnTo>
                    <a:pt x="11" y="264"/>
                  </a:lnTo>
                  <a:lnTo>
                    <a:pt x="15" y="247"/>
                  </a:lnTo>
                  <a:lnTo>
                    <a:pt x="21" y="231"/>
                  </a:lnTo>
                  <a:lnTo>
                    <a:pt x="27" y="215"/>
                  </a:lnTo>
                  <a:lnTo>
                    <a:pt x="35" y="199"/>
                  </a:lnTo>
                  <a:lnTo>
                    <a:pt x="42" y="184"/>
                  </a:lnTo>
                  <a:lnTo>
                    <a:pt x="51" y="169"/>
                  </a:lnTo>
                  <a:lnTo>
                    <a:pt x="60" y="155"/>
                  </a:lnTo>
                  <a:lnTo>
                    <a:pt x="69" y="142"/>
                  </a:lnTo>
                  <a:lnTo>
                    <a:pt x="81" y="128"/>
                  </a:lnTo>
                  <a:lnTo>
                    <a:pt x="90" y="116"/>
                  </a:lnTo>
                  <a:lnTo>
                    <a:pt x="103" y="104"/>
                  </a:lnTo>
                  <a:lnTo>
                    <a:pt x="115" y="91"/>
                  </a:lnTo>
                  <a:lnTo>
                    <a:pt x="127" y="80"/>
                  </a:lnTo>
                  <a:lnTo>
                    <a:pt x="141" y="70"/>
                  </a:lnTo>
                  <a:lnTo>
                    <a:pt x="155" y="60"/>
                  </a:lnTo>
                  <a:lnTo>
                    <a:pt x="168" y="52"/>
                  </a:lnTo>
                  <a:lnTo>
                    <a:pt x="183" y="43"/>
                  </a:lnTo>
                  <a:lnTo>
                    <a:pt x="199" y="35"/>
                  </a:lnTo>
                  <a:lnTo>
                    <a:pt x="214" y="28"/>
                  </a:lnTo>
                  <a:lnTo>
                    <a:pt x="230" y="22"/>
                  </a:lnTo>
                  <a:lnTo>
                    <a:pt x="246" y="16"/>
                  </a:lnTo>
                  <a:lnTo>
                    <a:pt x="263" y="11"/>
                  </a:lnTo>
                  <a:lnTo>
                    <a:pt x="280" y="7"/>
                  </a:lnTo>
                  <a:lnTo>
                    <a:pt x="298" y="5"/>
                  </a:lnTo>
                  <a:lnTo>
                    <a:pt x="315" y="2"/>
                  </a:lnTo>
                  <a:lnTo>
                    <a:pt x="332" y="1"/>
                  </a:lnTo>
                  <a:lnTo>
                    <a:pt x="351" y="0"/>
                  </a:lnTo>
                  <a:lnTo>
                    <a:pt x="351" y="0"/>
                  </a:lnTo>
                  <a:lnTo>
                    <a:pt x="368" y="1"/>
                  </a:lnTo>
                  <a:lnTo>
                    <a:pt x="386" y="2"/>
                  </a:lnTo>
                  <a:lnTo>
                    <a:pt x="404" y="5"/>
                  </a:lnTo>
                  <a:lnTo>
                    <a:pt x="421" y="7"/>
                  </a:lnTo>
                  <a:lnTo>
                    <a:pt x="438" y="11"/>
                  </a:lnTo>
                  <a:lnTo>
                    <a:pt x="454" y="16"/>
                  </a:lnTo>
                  <a:lnTo>
                    <a:pt x="470" y="22"/>
                  </a:lnTo>
                  <a:lnTo>
                    <a:pt x="486" y="28"/>
                  </a:lnTo>
                  <a:lnTo>
                    <a:pt x="502" y="35"/>
                  </a:lnTo>
                  <a:lnTo>
                    <a:pt x="517" y="43"/>
                  </a:lnTo>
                  <a:lnTo>
                    <a:pt x="532" y="52"/>
                  </a:lnTo>
                  <a:lnTo>
                    <a:pt x="547" y="60"/>
                  </a:lnTo>
                  <a:lnTo>
                    <a:pt x="560" y="70"/>
                  </a:lnTo>
                  <a:lnTo>
                    <a:pt x="574" y="80"/>
                  </a:lnTo>
                  <a:lnTo>
                    <a:pt x="586" y="91"/>
                  </a:lnTo>
                  <a:lnTo>
                    <a:pt x="599" y="104"/>
                  </a:lnTo>
                  <a:lnTo>
                    <a:pt x="610" y="116"/>
                  </a:lnTo>
                  <a:lnTo>
                    <a:pt x="621" y="128"/>
                  </a:lnTo>
                  <a:lnTo>
                    <a:pt x="631" y="142"/>
                  </a:lnTo>
                  <a:lnTo>
                    <a:pt x="640" y="155"/>
                  </a:lnTo>
                  <a:lnTo>
                    <a:pt x="650" y="169"/>
                  </a:lnTo>
                  <a:lnTo>
                    <a:pt x="659" y="184"/>
                  </a:lnTo>
                  <a:lnTo>
                    <a:pt x="666" y="199"/>
                  </a:lnTo>
                  <a:lnTo>
                    <a:pt x="674" y="215"/>
                  </a:lnTo>
                  <a:lnTo>
                    <a:pt x="680" y="231"/>
                  </a:lnTo>
                  <a:lnTo>
                    <a:pt x="685" y="247"/>
                  </a:lnTo>
                  <a:lnTo>
                    <a:pt x="690" y="264"/>
                  </a:lnTo>
                  <a:lnTo>
                    <a:pt x="693" y="280"/>
                  </a:lnTo>
                  <a:lnTo>
                    <a:pt x="697" y="297"/>
                  </a:lnTo>
                  <a:lnTo>
                    <a:pt x="698" y="316"/>
                  </a:lnTo>
                  <a:lnTo>
                    <a:pt x="701" y="333"/>
                  </a:lnTo>
                  <a:lnTo>
                    <a:pt x="701" y="352"/>
                  </a:lnTo>
                  <a:lnTo>
                    <a:pt x="701" y="352"/>
                  </a:lnTo>
                  <a:lnTo>
                    <a:pt x="701" y="369"/>
                  </a:lnTo>
                  <a:lnTo>
                    <a:pt x="698" y="387"/>
                  </a:lnTo>
                  <a:lnTo>
                    <a:pt x="697" y="405"/>
                  </a:lnTo>
                  <a:lnTo>
                    <a:pt x="693" y="422"/>
                  </a:lnTo>
                  <a:lnTo>
                    <a:pt x="690" y="439"/>
                  </a:lnTo>
                  <a:lnTo>
                    <a:pt x="685" y="455"/>
                  </a:lnTo>
                  <a:lnTo>
                    <a:pt x="680" y="471"/>
                  </a:lnTo>
                  <a:lnTo>
                    <a:pt x="674" y="487"/>
                  </a:lnTo>
                  <a:lnTo>
                    <a:pt x="666" y="503"/>
                  </a:lnTo>
                  <a:lnTo>
                    <a:pt x="659" y="518"/>
                  </a:lnTo>
                  <a:lnTo>
                    <a:pt x="650" y="533"/>
                  </a:lnTo>
                  <a:lnTo>
                    <a:pt x="640" y="546"/>
                  </a:lnTo>
                  <a:lnTo>
                    <a:pt x="631" y="561"/>
                  </a:lnTo>
                  <a:lnTo>
                    <a:pt x="621" y="574"/>
                  </a:lnTo>
                  <a:lnTo>
                    <a:pt x="610" y="587"/>
                  </a:lnTo>
                  <a:lnTo>
                    <a:pt x="599" y="598"/>
                  </a:lnTo>
                  <a:lnTo>
                    <a:pt x="586" y="611"/>
                  </a:lnTo>
                  <a:lnTo>
                    <a:pt x="574" y="622"/>
                  </a:lnTo>
                  <a:lnTo>
                    <a:pt x="560" y="632"/>
                  </a:lnTo>
                  <a:lnTo>
                    <a:pt x="547" y="641"/>
                  </a:lnTo>
                  <a:lnTo>
                    <a:pt x="532" y="651"/>
                  </a:lnTo>
                  <a:lnTo>
                    <a:pt x="517" y="659"/>
                  </a:lnTo>
                  <a:lnTo>
                    <a:pt x="502" y="667"/>
                  </a:lnTo>
                  <a:lnTo>
                    <a:pt x="486" y="674"/>
                  </a:lnTo>
                  <a:lnTo>
                    <a:pt x="470" y="680"/>
                  </a:lnTo>
                  <a:lnTo>
                    <a:pt x="454" y="686"/>
                  </a:lnTo>
                  <a:lnTo>
                    <a:pt x="438" y="691"/>
                  </a:lnTo>
                  <a:lnTo>
                    <a:pt x="421" y="695"/>
                  </a:lnTo>
                  <a:lnTo>
                    <a:pt x="404" y="697"/>
                  </a:lnTo>
                  <a:lnTo>
                    <a:pt x="386" y="699"/>
                  </a:lnTo>
                  <a:lnTo>
                    <a:pt x="368" y="701"/>
                  </a:lnTo>
                  <a:lnTo>
                    <a:pt x="351" y="702"/>
                  </a:lnTo>
                  <a:lnTo>
                    <a:pt x="351" y="702"/>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Freeform 202">
              <a:extLst>
                <a:ext uri="{FF2B5EF4-FFF2-40B4-BE49-F238E27FC236}">
                  <a16:creationId xmlns:a16="http://schemas.microsoft.com/office/drawing/2014/main" id="{D82BD339-3B79-2BF8-F41E-58B52DC7DC43}"/>
                </a:ext>
              </a:extLst>
            </p:cNvPr>
            <p:cNvSpPr>
              <a:spLocks/>
            </p:cNvSpPr>
            <p:nvPr/>
          </p:nvSpPr>
          <p:spPr bwMode="auto">
            <a:xfrm>
              <a:off x="3392488" y="244475"/>
              <a:ext cx="841375" cy="844550"/>
            </a:xfrm>
            <a:custGeom>
              <a:avLst/>
              <a:gdLst>
                <a:gd name="T0" fmla="*/ 343 w 530"/>
                <a:gd name="T1" fmla="*/ 110 h 532"/>
                <a:gd name="T2" fmla="*/ 340 w 530"/>
                <a:gd name="T3" fmla="*/ 109 h 532"/>
                <a:gd name="T4" fmla="*/ 311 w 530"/>
                <a:gd name="T5" fmla="*/ 79 h 532"/>
                <a:gd name="T6" fmla="*/ 277 w 530"/>
                <a:gd name="T7" fmla="*/ 58 h 532"/>
                <a:gd name="T8" fmla="*/ 275 w 530"/>
                <a:gd name="T9" fmla="*/ 58 h 532"/>
                <a:gd name="T10" fmla="*/ 269 w 530"/>
                <a:gd name="T11" fmla="*/ 59 h 532"/>
                <a:gd name="T12" fmla="*/ 260 w 530"/>
                <a:gd name="T13" fmla="*/ 72 h 532"/>
                <a:gd name="T14" fmla="*/ 234 w 530"/>
                <a:gd name="T15" fmla="*/ 46 h 532"/>
                <a:gd name="T16" fmla="*/ 229 w 530"/>
                <a:gd name="T17" fmla="*/ 40 h 532"/>
                <a:gd name="T18" fmla="*/ 208 w 530"/>
                <a:gd name="T19" fmla="*/ 24 h 532"/>
                <a:gd name="T20" fmla="*/ 185 w 530"/>
                <a:gd name="T21" fmla="*/ 11 h 532"/>
                <a:gd name="T22" fmla="*/ 160 w 530"/>
                <a:gd name="T23" fmla="*/ 4 h 532"/>
                <a:gd name="T24" fmla="*/ 134 w 530"/>
                <a:gd name="T25" fmla="*/ 0 h 532"/>
                <a:gd name="T26" fmla="*/ 121 w 530"/>
                <a:gd name="T27" fmla="*/ 1 h 532"/>
                <a:gd name="T28" fmla="*/ 95 w 530"/>
                <a:gd name="T29" fmla="*/ 6 h 532"/>
                <a:gd name="T30" fmla="*/ 70 w 530"/>
                <a:gd name="T31" fmla="*/ 16 h 532"/>
                <a:gd name="T32" fmla="*/ 49 w 530"/>
                <a:gd name="T33" fmla="*/ 31 h 532"/>
                <a:gd name="T34" fmla="*/ 39 w 530"/>
                <a:gd name="T35" fmla="*/ 40 h 532"/>
                <a:gd name="T36" fmla="*/ 22 w 530"/>
                <a:gd name="T37" fmla="*/ 61 h 532"/>
                <a:gd name="T38" fmla="*/ 10 w 530"/>
                <a:gd name="T39" fmla="*/ 84 h 532"/>
                <a:gd name="T40" fmla="*/ 2 w 530"/>
                <a:gd name="T41" fmla="*/ 109 h 532"/>
                <a:gd name="T42" fmla="*/ 0 w 530"/>
                <a:gd name="T43" fmla="*/ 135 h 532"/>
                <a:gd name="T44" fmla="*/ 0 w 530"/>
                <a:gd name="T45" fmla="*/ 149 h 532"/>
                <a:gd name="T46" fmla="*/ 6 w 530"/>
                <a:gd name="T47" fmla="*/ 177 h 532"/>
                <a:gd name="T48" fmla="*/ 17 w 530"/>
                <a:gd name="T49" fmla="*/ 201 h 532"/>
                <a:gd name="T50" fmla="*/ 33 w 530"/>
                <a:gd name="T51" fmla="*/ 223 h 532"/>
                <a:gd name="T52" fmla="*/ 74 w 530"/>
                <a:gd name="T53" fmla="*/ 264 h 532"/>
                <a:gd name="T54" fmla="*/ 63 w 530"/>
                <a:gd name="T55" fmla="*/ 270 h 532"/>
                <a:gd name="T56" fmla="*/ 59 w 530"/>
                <a:gd name="T57" fmla="*/ 275 h 532"/>
                <a:gd name="T58" fmla="*/ 59 w 530"/>
                <a:gd name="T59" fmla="*/ 283 h 532"/>
                <a:gd name="T60" fmla="*/ 76 w 530"/>
                <a:gd name="T61" fmla="*/ 312 h 532"/>
                <a:gd name="T62" fmla="*/ 79 w 530"/>
                <a:gd name="T63" fmla="*/ 315 h 532"/>
                <a:gd name="T64" fmla="*/ 296 w 530"/>
                <a:gd name="T65" fmla="*/ 532 h 532"/>
                <a:gd name="T66" fmla="*/ 336 w 530"/>
                <a:gd name="T67" fmla="*/ 517 h 532"/>
                <a:gd name="T68" fmla="*/ 375 w 530"/>
                <a:gd name="T69" fmla="*/ 496 h 532"/>
                <a:gd name="T70" fmla="*/ 410 w 530"/>
                <a:gd name="T71" fmla="*/ 473 h 532"/>
                <a:gd name="T72" fmla="*/ 443 w 530"/>
                <a:gd name="T73" fmla="*/ 443 h 532"/>
                <a:gd name="T74" fmla="*/ 471 w 530"/>
                <a:gd name="T75" fmla="*/ 411 h 532"/>
                <a:gd name="T76" fmla="*/ 494 w 530"/>
                <a:gd name="T77" fmla="*/ 375 h 532"/>
                <a:gd name="T78" fmla="*/ 514 w 530"/>
                <a:gd name="T79" fmla="*/ 337 h 532"/>
                <a:gd name="T80" fmla="*/ 530 w 530"/>
                <a:gd name="T81" fmla="*/ 296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0" h="532">
                  <a:moveTo>
                    <a:pt x="343" y="110"/>
                  </a:moveTo>
                  <a:lnTo>
                    <a:pt x="343" y="110"/>
                  </a:lnTo>
                  <a:lnTo>
                    <a:pt x="343" y="110"/>
                  </a:lnTo>
                  <a:lnTo>
                    <a:pt x="340" y="109"/>
                  </a:lnTo>
                  <a:lnTo>
                    <a:pt x="311" y="79"/>
                  </a:lnTo>
                  <a:lnTo>
                    <a:pt x="311" y="79"/>
                  </a:lnTo>
                  <a:lnTo>
                    <a:pt x="307" y="75"/>
                  </a:lnTo>
                  <a:lnTo>
                    <a:pt x="277" y="58"/>
                  </a:lnTo>
                  <a:lnTo>
                    <a:pt x="277" y="58"/>
                  </a:lnTo>
                  <a:lnTo>
                    <a:pt x="275" y="58"/>
                  </a:lnTo>
                  <a:lnTo>
                    <a:pt x="271" y="58"/>
                  </a:lnTo>
                  <a:lnTo>
                    <a:pt x="269" y="59"/>
                  </a:lnTo>
                  <a:lnTo>
                    <a:pt x="266" y="62"/>
                  </a:lnTo>
                  <a:lnTo>
                    <a:pt x="260" y="72"/>
                  </a:lnTo>
                  <a:lnTo>
                    <a:pt x="234" y="46"/>
                  </a:lnTo>
                  <a:lnTo>
                    <a:pt x="234" y="46"/>
                  </a:lnTo>
                  <a:lnTo>
                    <a:pt x="229" y="40"/>
                  </a:lnTo>
                  <a:lnTo>
                    <a:pt x="229" y="40"/>
                  </a:lnTo>
                  <a:lnTo>
                    <a:pt x="219" y="31"/>
                  </a:lnTo>
                  <a:lnTo>
                    <a:pt x="208" y="24"/>
                  </a:lnTo>
                  <a:lnTo>
                    <a:pt x="197" y="16"/>
                  </a:lnTo>
                  <a:lnTo>
                    <a:pt x="185" y="11"/>
                  </a:lnTo>
                  <a:lnTo>
                    <a:pt x="174" y="6"/>
                  </a:lnTo>
                  <a:lnTo>
                    <a:pt x="160" y="4"/>
                  </a:lnTo>
                  <a:lnTo>
                    <a:pt x="148" y="1"/>
                  </a:lnTo>
                  <a:lnTo>
                    <a:pt x="134" y="0"/>
                  </a:lnTo>
                  <a:lnTo>
                    <a:pt x="134" y="0"/>
                  </a:lnTo>
                  <a:lnTo>
                    <a:pt x="121" y="1"/>
                  </a:lnTo>
                  <a:lnTo>
                    <a:pt x="107" y="4"/>
                  </a:lnTo>
                  <a:lnTo>
                    <a:pt x="95" y="6"/>
                  </a:lnTo>
                  <a:lnTo>
                    <a:pt x="82" y="11"/>
                  </a:lnTo>
                  <a:lnTo>
                    <a:pt x="70" y="16"/>
                  </a:lnTo>
                  <a:lnTo>
                    <a:pt x="59" y="24"/>
                  </a:lnTo>
                  <a:lnTo>
                    <a:pt x="49" y="31"/>
                  </a:lnTo>
                  <a:lnTo>
                    <a:pt x="39" y="40"/>
                  </a:lnTo>
                  <a:lnTo>
                    <a:pt x="39" y="40"/>
                  </a:lnTo>
                  <a:lnTo>
                    <a:pt x="29" y="50"/>
                  </a:lnTo>
                  <a:lnTo>
                    <a:pt x="22" y="61"/>
                  </a:lnTo>
                  <a:lnTo>
                    <a:pt x="16" y="72"/>
                  </a:lnTo>
                  <a:lnTo>
                    <a:pt x="10" y="84"/>
                  </a:lnTo>
                  <a:lnTo>
                    <a:pt x="5" y="96"/>
                  </a:lnTo>
                  <a:lnTo>
                    <a:pt x="2" y="109"/>
                  </a:lnTo>
                  <a:lnTo>
                    <a:pt x="0" y="121"/>
                  </a:lnTo>
                  <a:lnTo>
                    <a:pt x="0" y="135"/>
                  </a:lnTo>
                  <a:lnTo>
                    <a:pt x="0" y="135"/>
                  </a:lnTo>
                  <a:lnTo>
                    <a:pt x="0" y="149"/>
                  </a:lnTo>
                  <a:lnTo>
                    <a:pt x="2" y="163"/>
                  </a:lnTo>
                  <a:lnTo>
                    <a:pt x="6" y="177"/>
                  </a:lnTo>
                  <a:lnTo>
                    <a:pt x="11" y="190"/>
                  </a:lnTo>
                  <a:lnTo>
                    <a:pt x="17" y="201"/>
                  </a:lnTo>
                  <a:lnTo>
                    <a:pt x="24" y="214"/>
                  </a:lnTo>
                  <a:lnTo>
                    <a:pt x="33" y="223"/>
                  </a:lnTo>
                  <a:lnTo>
                    <a:pt x="43" y="233"/>
                  </a:lnTo>
                  <a:lnTo>
                    <a:pt x="74" y="264"/>
                  </a:lnTo>
                  <a:lnTo>
                    <a:pt x="63" y="270"/>
                  </a:lnTo>
                  <a:lnTo>
                    <a:pt x="63" y="270"/>
                  </a:lnTo>
                  <a:lnTo>
                    <a:pt x="60" y="273"/>
                  </a:lnTo>
                  <a:lnTo>
                    <a:pt x="59" y="275"/>
                  </a:lnTo>
                  <a:lnTo>
                    <a:pt x="58" y="279"/>
                  </a:lnTo>
                  <a:lnTo>
                    <a:pt x="59" y="283"/>
                  </a:lnTo>
                  <a:lnTo>
                    <a:pt x="76" y="312"/>
                  </a:lnTo>
                  <a:lnTo>
                    <a:pt x="76" y="312"/>
                  </a:lnTo>
                  <a:lnTo>
                    <a:pt x="79" y="315"/>
                  </a:lnTo>
                  <a:lnTo>
                    <a:pt x="79" y="315"/>
                  </a:lnTo>
                  <a:lnTo>
                    <a:pt x="296" y="532"/>
                  </a:lnTo>
                  <a:lnTo>
                    <a:pt x="296" y="532"/>
                  </a:lnTo>
                  <a:lnTo>
                    <a:pt x="317" y="526"/>
                  </a:lnTo>
                  <a:lnTo>
                    <a:pt x="336" y="517"/>
                  </a:lnTo>
                  <a:lnTo>
                    <a:pt x="356" y="507"/>
                  </a:lnTo>
                  <a:lnTo>
                    <a:pt x="375" y="496"/>
                  </a:lnTo>
                  <a:lnTo>
                    <a:pt x="393" y="485"/>
                  </a:lnTo>
                  <a:lnTo>
                    <a:pt x="410" y="473"/>
                  </a:lnTo>
                  <a:lnTo>
                    <a:pt x="426" y="458"/>
                  </a:lnTo>
                  <a:lnTo>
                    <a:pt x="443" y="443"/>
                  </a:lnTo>
                  <a:lnTo>
                    <a:pt x="457" y="428"/>
                  </a:lnTo>
                  <a:lnTo>
                    <a:pt x="471" y="411"/>
                  </a:lnTo>
                  <a:lnTo>
                    <a:pt x="483" y="394"/>
                  </a:lnTo>
                  <a:lnTo>
                    <a:pt x="494" y="375"/>
                  </a:lnTo>
                  <a:lnTo>
                    <a:pt x="505" y="357"/>
                  </a:lnTo>
                  <a:lnTo>
                    <a:pt x="514" y="337"/>
                  </a:lnTo>
                  <a:lnTo>
                    <a:pt x="523" y="317"/>
                  </a:lnTo>
                  <a:lnTo>
                    <a:pt x="530" y="296"/>
                  </a:lnTo>
                  <a:lnTo>
                    <a:pt x="343" y="11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203">
              <a:extLst>
                <a:ext uri="{FF2B5EF4-FFF2-40B4-BE49-F238E27FC236}">
                  <a16:creationId xmlns:a16="http://schemas.microsoft.com/office/drawing/2014/main" id="{E1A3D700-0E65-A9AE-65B9-61FABCC0F960}"/>
                </a:ext>
              </a:extLst>
            </p:cNvPr>
            <p:cNvSpPr>
              <a:spLocks noEditPoints="1"/>
            </p:cNvSpPr>
            <p:nvPr/>
          </p:nvSpPr>
          <p:spPr bwMode="auto">
            <a:xfrm>
              <a:off x="3462338" y="317500"/>
              <a:ext cx="528638" cy="528638"/>
            </a:xfrm>
            <a:custGeom>
              <a:avLst/>
              <a:gdLst>
                <a:gd name="T0" fmla="*/ 299 w 333"/>
                <a:gd name="T1" fmla="*/ 118 h 333"/>
                <a:gd name="T2" fmla="*/ 320 w 333"/>
                <a:gd name="T3" fmla="*/ 100 h 333"/>
                <a:gd name="T4" fmla="*/ 296 w 333"/>
                <a:gd name="T5" fmla="*/ 63 h 333"/>
                <a:gd name="T6" fmla="*/ 264 w 333"/>
                <a:gd name="T7" fmla="*/ 66 h 333"/>
                <a:gd name="T8" fmla="*/ 268 w 333"/>
                <a:gd name="T9" fmla="*/ 36 h 333"/>
                <a:gd name="T10" fmla="*/ 231 w 333"/>
                <a:gd name="T11" fmla="*/ 12 h 333"/>
                <a:gd name="T12" fmla="*/ 212 w 333"/>
                <a:gd name="T13" fmla="*/ 33 h 333"/>
                <a:gd name="T14" fmla="*/ 190 w 333"/>
                <a:gd name="T15" fmla="*/ 5 h 333"/>
                <a:gd name="T16" fmla="*/ 148 w 333"/>
                <a:gd name="T17" fmla="*/ 0 h 333"/>
                <a:gd name="T18" fmla="*/ 140 w 333"/>
                <a:gd name="T19" fmla="*/ 29 h 333"/>
                <a:gd name="T20" fmla="*/ 109 w 333"/>
                <a:gd name="T21" fmla="*/ 18 h 333"/>
                <a:gd name="T22" fmla="*/ 67 w 333"/>
                <a:gd name="T23" fmla="*/ 32 h 333"/>
                <a:gd name="T24" fmla="*/ 64 w 333"/>
                <a:gd name="T25" fmla="*/ 43 h 333"/>
                <a:gd name="T26" fmla="*/ 42 w 333"/>
                <a:gd name="T27" fmla="*/ 66 h 333"/>
                <a:gd name="T28" fmla="*/ 31 w 333"/>
                <a:gd name="T29" fmla="*/ 70 h 333"/>
                <a:gd name="T30" fmla="*/ 14 w 333"/>
                <a:gd name="T31" fmla="*/ 108 h 333"/>
                <a:gd name="T32" fmla="*/ 29 w 333"/>
                <a:gd name="T33" fmla="*/ 143 h 333"/>
                <a:gd name="T34" fmla="*/ 1 w 333"/>
                <a:gd name="T35" fmla="*/ 148 h 333"/>
                <a:gd name="T36" fmla="*/ 3 w 333"/>
                <a:gd name="T37" fmla="*/ 191 h 333"/>
                <a:gd name="T38" fmla="*/ 32 w 333"/>
                <a:gd name="T39" fmla="*/ 205 h 333"/>
                <a:gd name="T40" fmla="*/ 15 w 333"/>
                <a:gd name="T41" fmla="*/ 229 h 333"/>
                <a:gd name="T42" fmla="*/ 35 w 333"/>
                <a:gd name="T43" fmla="*/ 269 h 333"/>
                <a:gd name="T44" fmla="*/ 62 w 333"/>
                <a:gd name="T45" fmla="*/ 259 h 333"/>
                <a:gd name="T46" fmla="*/ 67 w 333"/>
                <a:gd name="T47" fmla="*/ 295 h 333"/>
                <a:gd name="T48" fmla="*/ 100 w 333"/>
                <a:gd name="T49" fmla="*/ 319 h 333"/>
                <a:gd name="T50" fmla="*/ 122 w 333"/>
                <a:gd name="T51" fmla="*/ 298 h 333"/>
                <a:gd name="T52" fmla="*/ 143 w 333"/>
                <a:gd name="T53" fmla="*/ 324 h 333"/>
                <a:gd name="T54" fmla="*/ 186 w 333"/>
                <a:gd name="T55" fmla="*/ 333 h 333"/>
                <a:gd name="T56" fmla="*/ 195 w 333"/>
                <a:gd name="T57" fmla="*/ 324 h 333"/>
                <a:gd name="T58" fmla="*/ 226 w 333"/>
                <a:gd name="T59" fmla="*/ 314 h 333"/>
                <a:gd name="T60" fmla="*/ 237 w 333"/>
                <a:gd name="T61" fmla="*/ 318 h 333"/>
                <a:gd name="T62" fmla="*/ 270 w 333"/>
                <a:gd name="T63" fmla="*/ 292 h 333"/>
                <a:gd name="T64" fmla="*/ 275 w 333"/>
                <a:gd name="T65" fmla="*/ 256 h 333"/>
                <a:gd name="T66" fmla="*/ 301 w 333"/>
                <a:gd name="T67" fmla="*/ 265 h 333"/>
                <a:gd name="T68" fmla="*/ 321 w 333"/>
                <a:gd name="T69" fmla="*/ 227 h 333"/>
                <a:gd name="T70" fmla="*/ 302 w 333"/>
                <a:gd name="T71" fmla="*/ 201 h 333"/>
                <a:gd name="T72" fmla="*/ 331 w 333"/>
                <a:gd name="T73" fmla="*/ 187 h 333"/>
                <a:gd name="T74" fmla="*/ 333 w 333"/>
                <a:gd name="T75" fmla="*/ 144 h 333"/>
                <a:gd name="T76" fmla="*/ 167 w 333"/>
                <a:gd name="T77" fmla="*/ 255 h 333"/>
                <a:gd name="T78" fmla="*/ 132 w 333"/>
                <a:gd name="T79" fmla="*/ 248 h 333"/>
                <a:gd name="T80" fmla="*/ 99 w 333"/>
                <a:gd name="T81" fmla="*/ 223 h 333"/>
                <a:gd name="T82" fmla="*/ 80 w 333"/>
                <a:gd name="T83" fmla="*/ 184 h 333"/>
                <a:gd name="T84" fmla="*/ 80 w 333"/>
                <a:gd name="T85" fmla="*/ 148 h 333"/>
                <a:gd name="T86" fmla="*/ 99 w 333"/>
                <a:gd name="T87" fmla="*/ 110 h 333"/>
                <a:gd name="T88" fmla="*/ 132 w 333"/>
                <a:gd name="T89" fmla="*/ 85 h 333"/>
                <a:gd name="T90" fmla="*/ 167 w 333"/>
                <a:gd name="T91" fmla="*/ 78 h 333"/>
                <a:gd name="T92" fmla="*/ 210 w 333"/>
                <a:gd name="T93" fmla="*/ 89 h 333"/>
                <a:gd name="T94" fmla="*/ 241 w 333"/>
                <a:gd name="T95" fmla="*/ 117 h 333"/>
                <a:gd name="T96" fmla="*/ 255 w 333"/>
                <a:gd name="T97" fmla="*/ 158 h 333"/>
                <a:gd name="T98" fmla="*/ 252 w 333"/>
                <a:gd name="T99" fmla="*/ 192 h 333"/>
                <a:gd name="T100" fmla="*/ 230 w 333"/>
                <a:gd name="T101" fmla="*/ 229 h 333"/>
                <a:gd name="T102" fmla="*/ 194 w 333"/>
                <a:gd name="T103" fmla="*/ 25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3" h="333">
                  <a:moveTo>
                    <a:pt x="325" y="139"/>
                  </a:moveTo>
                  <a:lnTo>
                    <a:pt x="305" y="139"/>
                  </a:lnTo>
                  <a:lnTo>
                    <a:pt x="305" y="139"/>
                  </a:lnTo>
                  <a:lnTo>
                    <a:pt x="302" y="128"/>
                  </a:lnTo>
                  <a:lnTo>
                    <a:pt x="299" y="118"/>
                  </a:lnTo>
                  <a:lnTo>
                    <a:pt x="316" y="108"/>
                  </a:lnTo>
                  <a:lnTo>
                    <a:pt x="316" y="108"/>
                  </a:lnTo>
                  <a:lnTo>
                    <a:pt x="318" y="106"/>
                  </a:lnTo>
                  <a:lnTo>
                    <a:pt x="320" y="102"/>
                  </a:lnTo>
                  <a:lnTo>
                    <a:pt x="320" y="100"/>
                  </a:lnTo>
                  <a:lnTo>
                    <a:pt x="318" y="96"/>
                  </a:lnTo>
                  <a:lnTo>
                    <a:pt x="301" y="66"/>
                  </a:lnTo>
                  <a:lnTo>
                    <a:pt x="301" y="66"/>
                  </a:lnTo>
                  <a:lnTo>
                    <a:pt x="299" y="64"/>
                  </a:lnTo>
                  <a:lnTo>
                    <a:pt x="296" y="63"/>
                  </a:lnTo>
                  <a:lnTo>
                    <a:pt x="292" y="63"/>
                  </a:lnTo>
                  <a:lnTo>
                    <a:pt x="290" y="64"/>
                  </a:lnTo>
                  <a:lnTo>
                    <a:pt x="271" y="74"/>
                  </a:lnTo>
                  <a:lnTo>
                    <a:pt x="271" y="74"/>
                  </a:lnTo>
                  <a:lnTo>
                    <a:pt x="264" y="66"/>
                  </a:lnTo>
                  <a:lnTo>
                    <a:pt x="257" y="59"/>
                  </a:lnTo>
                  <a:lnTo>
                    <a:pt x="267" y="42"/>
                  </a:lnTo>
                  <a:lnTo>
                    <a:pt x="267" y="42"/>
                  </a:lnTo>
                  <a:lnTo>
                    <a:pt x="268" y="38"/>
                  </a:lnTo>
                  <a:lnTo>
                    <a:pt x="268" y="36"/>
                  </a:lnTo>
                  <a:lnTo>
                    <a:pt x="265" y="32"/>
                  </a:lnTo>
                  <a:lnTo>
                    <a:pt x="263" y="29"/>
                  </a:lnTo>
                  <a:lnTo>
                    <a:pt x="233" y="12"/>
                  </a:lnTo>
                  <a:lnTo>
                    <a:pt x="233" y="12"/>
                  </a:lnTo>
                  <a:lnTo>
                    <a:pt x="231" y="12"/>
                  </a:lnTo>
                  <a:lnTo>
                    <a:pt x="227" y="12"/>
                  </a:lnTo>
                  <a:lnTo>
                    <a:pt x="225" y="13"/>
                  </a:lnTo>
                  <a:lnTo>
                    <a:pt x="222" y="16"/>
                  </a:lnTo>
                  <a:lnTo>
                    <a:pt x="212" y="33"/>
                  </a:lnTo>
                  <a:lnTo>
                    <a:pt x="212" y="33"/>
                  </a:lnTo>
                  <a:lnTo>
                    <a:pt x="201" y="31"/>
                  </a:lnTo>
                  <a:lnTo>
                    <a:pt x="191" y="28"/>
                  </a:lnTo>
                  <a:lnTo>
                    <a:pt x="191" y="8"/>
                  </a:lnTo>
                  <a:lnTo>
                    <a:pt x="191" y="8"/>
                  </a:lnTo>
                  <a:lnTo>
                    <a:pt x="190" y="5"/>
                  </a:lnTo>
                  <a:lnTo>
                    <a:pt x="188" y="2"/>
                  </a:lnTo>
                  <a:lnTo>
                    <a:pt x="185" y="1"/>
                  </a:lnTo>
                  <a:lnTo>
                    <a:pt x="183" y="0"/>
                  </a:lnTo>
                  <a:lnTo>
                    <a:pt x="148" y="0"/>
                  </a:lnTo>
                  <a:lnTo>
                    <a:pt x="148" y="0"/>
                  </a:lnTo>
                  <a:lnTo>
                    <a:pt x="144" y="1"/>
                  </a:lnTo>
                  <a:lnTo>
                    <a:pt x="142" y="2"/>
                  </a:lnTo>
                  <a:lnTo>
                    <a:pt x="140" y="5"/>
                  </a:lnTo>
                  <a:lnTo>
                    <a:pt x="140" y="8"/>
                  </a:lnTo>
                  <a:lnTo>
                    <a:pt x="140" y="29"/>
                  </a:lnTo>
                  <a:lnTo>
                    <a:pt x="140" y="29"/>
                  </a:lnTo>
                  <a:lnTo>
                    <a:pt x="128" y="32"/>
                  </a:lnTo>
                  <a:lnTo>
                    <a:pt x="119" y="34"/>
                  </a:lnTo>
                  <a:lnTo>
                    <a:pt x="109" y="18"/>
                  </a:lnTo>
                  <a:lnTo>
                    <a:pt x="109" y="18"/>
                  </a:lnTo>
                  <a:lnTo>
                    <a:pt x="106" y="15"/>
                  </a:lnTo>
                  <a:lnTo>
                    <a:pt x="104" y="13"/>
                  </a:lnTo>
                  <a:lnTo>
                    <a:pt x="100" y="13"/>
                  </a:lnTo>
                  <a:lnTo>
                    <a:pt x="96" y="15"/>
                  </a:lnTo>
                  <a:lnTo>
                    <a:pt x="67" y="32"/>
                  </a:lnTo>
                  <a:lnTo>
                    <a:pt x="67" y="32"/>
                  </a:lnTo>
                  <a:lnTo>
                    <a:pt x="64" y="34"/>
                  </a:lnTo>
                  <a:lnTo>
                    <a:pt x="63" y="37"/>
                  </a:lnTo>
                  <a:lnTo>
                    <a:pt x="63" y="41"/>
                  </a:lnTo>
                  <a:lnTo>
                    <a:pt x="64" y="43"/>
                  </a:lnTo>
                  <a:lnTo>
                    <a:pt x="74" y="62"/>
                  </a:lnTo>
                  <a:lnTo>
                    <a:pt x="74" y="62"/>
                  </a:lnTo>
                  <a:lnTo>
                    <a:pt x="67" y="69"/>
                  </a:lnTo>
                  <a:lnTo>
                    <a:pt x="59" y="76"/>
                  </a:lnTo>
                  <a:lnTo>
                    <a:pt x="42" y="66"/>
                  </a:lnTo>
                  <a:lnTo>
                    <a:pt x="42" y="66"/>
                  </a:lnTo>
                  <a:lnTo>
                    <a:pt x="40" y="65"/>
                  </a:lnTo>
                  <a:lnTo>
                    <a:pt x="36" y="66"/>
                  </a:lnTo>
                  <a:lnTo>
                    <a:pt x="32" y="68"/>
                  </a:lnTo>
                  <a:lnTo>
                    <a:pt x="31" y="70"/>
                  </a:lnTo>
                  <a:lnTo>
                    <a:pt x="14" y="100"/>
                  </a:lnTo>
                  <a:lnTo>
                    <a:pt x="14" y="100"/>
                  </a:lnTo>
                  <a:lnTo>
                    <a:pt x="12" y="102"/>
                  </a:lnTo>
                  <a:lnTo>
                    <a:pt x="12" y="106"/>
                  </a:lnTo>
                  <a:lnTo>
                    <a:pt x="14" y="108"/>
                  </a:lnTo>
                  <a:lnTo>
                    <a:pt x="16" y="111"/>
                  </a:lnTo>
                  <a:lnTo>
                    <a:pt x="35" y="122"/>
                  </a:lnTo>
                  <a:lnTo>
                    <a:pt x="35" y="122"/>
                  </a:lnTo>
                  <a:lnTo>
                    <a:pt x="31" y="132"/>
                  </a:lnTo>
                  <a:lnTo>
                    <a:pt x="29" y="143"/>
                  </a:lnTo>
                  <a:lnTo>
                    <a:pt x="9" y="143"/>
                  </a:lnTo>
                  <a:lnTo>
                    <a:pt x="9" y="143"/>
                  </a:lnTo>
                  <a:lnTo>
                    <a:pt x="6" y="143"/>
                  </a:lnTo>
                  <a:lnTo>
                    <a:pt x="3" y="145"/>
                  </a:lnTo>
                  <a:lnTo>
                    <a:pt x="1" y="148"/>
                  </a:lnTo>
                  <a:lnTo>
                    <a:pt x="0" y="152"/>
                  </a:lnTo>
                  <a:lnTo>
                    <a:pt x="0" y="185"/>
                  </a:lnTo>
                  <a:lnTo>
                    <a:pt x="0" y="185"/>
                  </a:lnTo>
                  <a:lnTo>
                    <a:pt x="1" y="189"/>
                  </a:lnTo>
                  <a:lnTo>
                    <a:pt x="3" y="191"/>
                  </a:lnTo>
                  <a:lnTo>
                    <a:pt x="6" y="194"/>
                  </a:lnTo>
                  <a:lnTo>
                    <a:pt x="9" y="194"/>
                  </a:lnTo>
                  <a:lnTo>
                    <a:pt x="30" y="194"/>
                  </a:lnTo>
                  <a:lnTo>
                    <a:pt x="30" y="194"/>
                  </a:lnTo>
                  <a:lnTo>
                    <a:pt x="32" y="205"/>
                  </a:lnTo>
                  <a:lnTo>
                    <a:pt x="36" y="214"/>
                  </a:lnTo>
                  <a:lnTo>
                    <a:pt x="19" y="224"/>
                  </a:lnTo>
                  <a:lnTo>
                    <a:pt x="19" y="224"/>
                  </a:lnTo>
                  <a:lnTo>
                    <a:pt x="16" y="227"/>
                  </a:lnTo>
                  <a:lnTo>
                    <a:pt x="15" y="229"/>
                  </a:lnTo>
                  <a:lnTo>
                    <a:pt x="14" y="233"/>
                  </a:lnTo>
                  <a:lnTo>
                    <a:pt x="15" y="237"/>
                  </a:lnTo>
                  <a:lnTo>
                    <a:pt x="32" y="266"/>
                  </a:lnTo>
                  <a:lnTo>
                    <a:pt x="32" y="266"/>
                  </a:lnTo>
                  <a:lnTo>
                    <a:pt x="35" y="269"/>
                  </a:lnTo>
                  <a:lnTo>
                    <a:pt x="37" y="270"/>
                  </a:lnTo>
                  <a:lnTo>
                    <a:pt x="41" y="270"/>
                  </a:lnTo>
                  <a:lnTo>
                    <a:pt x="45" y="269"/>
                  </a:lnTo>
                  <a:lnTo>
                    <a:pt x="62" y="259"/>
                  </a:lnTo>
                  <a:lnTo>
                    <a:pt x="62" y="259"/>
                  </a:lnTo>
                  <a:lnTo>
                    <a:pt x="69" y="266"/>
                  </a:lnTo>
                  <a:lnTo>
                    <a:pt x="78" y="274"/>
                  </a:lnTo>
                  <a:lnTo>
                    <a:pt x="68" y="291"/>
                  </a:lnTo>
                  <a:lnTo>
                    <a:pt x="68" y="291"/>
                  </a:lnTo>
                  <a:lnTo>
                    <a:pt x="67" y="295"/>
                  </a:lnTo>
                  <a:lnTo>
                    <a:pt x="67" y="297"/>
                  </a:lnTo>
                  <a:lnTo>
                    <a:pt x="68" y="301"/>
                  </a:lnTo>
                  <a:lnTo>
                    <a:pt x="70" y="302"/>
                  </a:lnTo>
                  <a:lnTo>
                    <a:pt x="100" y="319"/>
                  </a:lnTo>
                  <a:lnTo>
                    <a:pt x="100" y="319"/>
                  </a:lnTo>
                  <a:lnTo>
                    <a:pt x="104" y="321"/>
                  </a:lnTo>
                  <a:lnTo>
                    <a:pt x="106" y="321"/>
                  </a:lnTo>
                  <a:lnTo>
                    <a:pt x="110" y="319"/>
                  </a:lnTo>
                  <a:lnTo>
                    <a:pt x="112" y="317"/>
                  </a:lnTo>
                  <a:lnTo>
                    <a:pt x="122" y="298"/>
                  </a:lnTo>
                  <a:lnTo>
                    <a:pt x="122" y="298"/>
                  </a:lnTo>
                  <a:lnTo>
                    <a:pt x="132" y="302"/>
                  </a:lnTo>
                  <a:lnTo>
                    <a:pt x="143" y="305"/>
                  </a:lnTo>
                  <a:lnTo>
                    <a:pt x="143" y="324"/>
                  </a:lnTo>
                  <a:lnTo>
                    <a:pt x="143" y="324"/>
                  </a:lnTo>
                  <a:lnTo>
                    <a:pt x="144" y="327"/>
                  </a:lnTo>
                  <a:lnTo>
                    <a:pt x="146" y="330"/>
                  </a:lnTo>
                  <a:lnTo>
                    <a:pt x="148" y="332"/>
                  </a:lnTo>
                  <a:lnTo>
                    <a:pt x="152" y="333"/>
                  </a:lnTo>
                  <a:lnTo>
                    <a:pt x="186" y="333"/>
                  </a:lnTo>
                  <a:lnTo>
                    <a:pt x="186" y="333"/>
                  </a:lnTo>
                  <a:lnTo>
                    <a:pt x="189" y="332"/>
                  </a:lnTo>
                  <a:lnTo>
                    <a:pt x="193" y="330"/>
                  </a:lnTo>
                  <a:lnTo>
                    <a:pt x="194" y="327"/>
                  </a:lnTo>
                  <a:lnTo>
                    <a:pt x="195" y="324"/>
                  </a:lnTo>
                  <a:lnTo>
                    <a:pt x="195" y="303"/>
                  </a:lnTo>
                  <a:lnTo>
                    <a:pt x="195" y="303"/>
                  </a:lnTo>
                  <a:lnTo>
                    <a:pt x="205" y="301"/>
                  </a:lnTo>
                  <a:lnTo>
                    <a:pt x="216" y="297"/>
                  </a:lnTo>
                  <a:lnTo>
                    <a:pt x="226" y="314"/>
                  </a:lnTo>
                  <a:lnTo>
                    <a:pt x="226" y="314"/>
                  </a:lnTo>
                  <a:lnTo>
                    <a:pt x="227" y="317"/>
                  </a:lnTo>
                  <a:lnTo>
                    <a:pt x="231" y="319"/>
                  </a:lnTo>
                  <a:lnTo>
                    <a:pt x="233" y="319"/>
                  </a:lnTo>
                  <a:lnTo>
                    <a:pt x="237" y="318"/>
                  </a:lnTo>
                  <a:lnTo>
                    <a:pt x="267" y="301"/>
                  </a:lnTo>
                  <a:lnTo>
                    <a:pt x="267" y="301"/>
                  </a:lnTo>
                  <a:lnTo>
                    <a:pt x="269" y="298"/>
                  </a:lnTo>
                  <a:lnTo>
                    <a:pt x="270" y="296"/>
                  </a:lnTo>
                  <a:lnTo>
                    <a:pt x="270" y="292"/>
                  </a:lnTo>
                  <a:lnTo>
                    <a:pt x="270" y="288"/>
                  </a:lnTo>
                  <a:lnTo>
                    <a:pt x="259" y="271"/>
                  </a:lnTo>
                  <a:lnTo>
                    <a:pt x="259" y="271"/>
                  </a:lnTo>
                  <a:lnTo>
                    <a:pt x="268" y="264"/>
                  </a:lnTo>
                  <a:lnTo>
                    <a:pt x="275" y="256"/>
                  </a:lnTo>
                  <a:lnTo>
                    <a:pt x="291" y="266"/>
                  </a:lnTo>
                  <a:lnTo>
                    <a:pt x="291" y="266"/>
                  </a:lnTo>
                  <a:lnTo>
                    <a:pt x="295" y="266"/>
                  </a:lnTo>
                  <a:lnTo>
                    <a:pt x="299" y="266"/>
                  </a:lnTo>
                  <a:lnTo>
                    <a:pt x="301" y="265"/>
                  </a:lnTo>
                  <a:lnTo>
                    <a:pt x="304" y="263"/>
                  </a:lnTo>
                  <a:lnTo>
                    <a:pt x="321" y="233"/>
                  </a:lnTo>
                  <a:lnTo>
                    <a:pt x="321" y="233"/>
                  </a:lnTo>
                  <a:lnTo>
                    <a:pt x="322" y="229"/>
                  </a:lnTo>
                  <a:lnTo>
                    <a:pt x="321" y="227"/>
                  </a:lnTo>
                  <a:lnTo>
                    <a:pt x="320" y="223"/>
                  </a:lnTo>
                  <a:lnTo>
                    <a:pt x="317" y="221"/>
                  </a:lnTo>
                  <a:lnTo>
                    <a:pt x="300" y="211"/>
                  </a:lnTo>
                  <a:lnTo>
                    <a:pt x="300" y="211"/>
                  </a:lnTo>
                  <a:lnTo>
                    <a:pt x="302" y="201"/>
                  </a:lnTo>
                  <a:lnTo>
                    <a:pt x="305" y="190"/>
                  </a:lnTo>
                  <a:lnTo>
                    <a:pt x="325" y="190"/>
                  </a:lnTo>
                  <a:lnTo>
                    <a:pt x="325" y="190"/>
                  </a:lnTo>
                  <a:lnTo>
                    <a:pt x="328" y="190"/>
                  </a:lnTo>
                  <a:lnTo>
                    <a:pt x="331" y="187"/>
                  </a:lnTo>
                  <a:lnTo>
                    <a:pt x="333" y="185"/>
                  </a:lnTo>
                  <a:lnTo>
                    <a:pt x="333" y="181"/>
                  </a:lnTo>
                  <a:lnTo>
                    <a:pt x="333" y="148"/>
                  </a:lnTo>
                  <a:lnTo>
                    <a:pt x="333" y="148"/>
                  </a:lnTo>
                  <a:lnTo>
                    <a:pt x="333" y="144"/>
                  </a:lnTo>
                  <a:lnTo>
                    <a:pt x="331" y="142"/>
                  </a:lnTo>
                  <a:lnTo>
                    <a:pt x="328" y="139"/>
                  </a:lnTo>
                  <a:lnTo>
                    <a:pt x="325" y="139"/>
                  </a:lnTo>
                  <a:lnTo>
                    <a:pt x="325" y="139"/>
                  </a:lnTo>
                  <a:close/>
                  <a:moveTo>
                    <a:pt x="167" y="255"/>
                  </a:moveTo>
                  <a:lnTo>
                    <a:pt x="167" y="255"/>
                  </a:lnTo>
                  <a:lnTo>
                    <a:pt x="158" y="254"/>
                  </a:lnTo>
                  <a:lnTo>
                    <a:pt x="149" y="253"/>
                  </a:lnTo>
                  <a:lnTo>
                    <a:pt x="141" y="251"/>
                  </a:lnTo>
                  <a:lnTo>
                    <a:pt x="132" y="248"/>
                  </a:lnTo>
                  <a:lnTo>
                    <a:pt x="125" y="244"/>
                  </a:lnTo>
                  <a:lnTo>
                    <a:pt x="117" y="240"/>
                  </a:lnTo>
                  <a:lnTo>
                    <a:pt x="110" y="234"/>
                  </a:lnTo>
                  <a:lnTo>
                    <a:pt x="104" y="229"/>
                  </a:lnTo>
                  <a:lnTo>
                    <a:pt x="99" y="223"/>
                  </a:lnTo>
                  <a:lnTo>
                    <a:pt x="94" y="216"/>
                  </a:lnTo>
                  <a:lnTo>
                    <a:pt x="89" y="208"/>
                  </a:lnTo>
                  <a:lnTo>
                    <a:pt x="85" y="201"/>
                  </a:lnTo>
                  <a:lnTo>
                    <a:pt x="83" y="192"/>
                  </a:lnTo>
                  <a:lnTo>
                    <a:pt x="80" y="184"/>
                  </a:lnTo>
                  <a:lnTo>
                    <a:pt x="79" y="175"/>
                  </a:lnTo>
                  <a:lnTo>
                    <a:pt x="78" y="166"/>
                  </a:lnTo>
                  <a:lnTo>
                    <a:pt x="78" y="166"/>
                  </a:lnTo>
                  <a:lnTo>
                    <a:pt x="79" y="158"/>
                  </a:lnTo>
                  <a:lnTo>
                    <a:pt x="80" y="148"/>
                  </a:lnTo>
                  <a:lnTo>
                    <a:pt x="83" y="140"/>
                  </a:lnTo>
                  <a:lnTo>
                    <a:pt x="85" y="132"/>
                  </a:lnTo>
                  <a:lnTo>
                    <a:pt x="89" y="124"/>
                  </a:lnTo>
                  <a:lnTo>
                    <a:pt x="94" y="117"/>
                  </a:lnTo>
                  <a:lnTo>
                    <a:pt x="99" y="110"/>
                  </a:lnTo>
                  <a:lnTo>
                    <a:pt x="104" y="103"/>
                  </a:lnTo>
                  <a:lnTo>
                    <a:pt x="110" y="97"/>
                  </a:lnTo>
                  <a:lnTo>
                    <a:pt x="117" y="92"/>
                  </a:lnTo>
                  <a:lnTo>
                    <a:pt x="125" y="89"/>
                  </a:lnTo>
                  <a:lnTo>
                    <a:pt x="132" y="85"/>
                  </a:lnTo>
                  <a:lnTo>
                    <a:pt x="141" y="81"/>
                  </a:lnTo>
                  <a:lnTo>
                    <a:pt x="149" y="79"/>
                  </a:lnTo>
                  <a:lnTo>
                    <a:pt x="158" y="78"/>
                  </a:lnTo>
                  <a:lnTo>
                    <a:pt x="167" y="78"/>
                  </a:lnTo>
                  <a:lnTo>
                    <a:pt x="167" y="78"/>
                  </a:lnTo>
                  <a:lnTo>
                    <a:pt x="177" y="78"/>
                  </a:lnTo>
                  <a:lnTo>
                    <a:pt x="185" y="79"/>
                  </a:lnTo>
                  <a:lnTo>
                    <a:pt x="194" y="81"/>
                  </a:lnTo>
                  <a:lnTo>
                    <a:pt x="201" y="85"/>
                  </a:lnTo>
                  <a:lnTo>
                    <a:pt x="210" y="89"/>
                  </a:lnTo>
                  <a:lnTo>
                    <a:pt x="216" y="92"/>
                  </a:lnTo>
                  <a:lnTo>
                    <a:pt x="223" y="97"/>
                  </a:lnTo>
                  <a:lnTo>
                    <a:pt x="230" y="103"/>
                  </a:lnTo>
                  <a:lnTo>
                    <a:pt x="236" y="110"/>
                  </a:lnTo>
                  <a:lnTo>
                    <a:pt x="241" y="117"/>
                  </a:lnTo>
                  <a:lnTo>
                    <a:pt x="246" y="124"/>
                  </a:lnTo>
                  <a:lnTo>
                    <a:pt x="249" y="132"/>
                  </a:lnTo>
                  <a:lnTo>
                    <a:pt x="252" y="140"/>
                  </a:lnTo>
                  <a:lnTo>
                    <a:pt x="254" y="148"/>
                  </a:lnTo>
                  <a:lnTo>
                    <a:pt x="255" y="158"/>
                  </a:lnTo>
                  <a:lnTo>
                    <a:pt x="255" y="166"/>
                  </a:lnTo>
                  <a:lnTo>
                    <a:pt x="255" y="166"/>
                  </a:lnTo>
                  <a:lnTo>
                    <a:pt x="255" y="175"/>
                  </a:lnTo>
                  <a:lnTo>
                    <a:pt x="254" y="184"/>
                  </a:lnTo>
                  <a:lnTo>
                    <a:pt x="252" y="192"/>
                  </a:lnTo>
                  <a:lnTo>
                    <a:pt x="249" y="201"/>
                  </a:lnTo>
                  <a:lnTo>
                    <a:pt x="246" y="208"/>
                  </a:lnTo>
                  <a:lnTo>
                    <a:pt x="241" y="216"/>
                  </a:lnTo>
                  <a:lnTo>
                    <a:pt x="236" y="223"/>
                  </a:lnTo>
                  <a:lnTo>
                    <a:pt x="230" y="229"/>
                  </a:lnTo>
                  <a:lnTo>
                    <a:pt x="223" y="234"/>
                  </a:lnTo>
                  <a:lnTo>
                    <a:pt x="216" y="240"/>
                  </a:lnTo>
                  <a:lnTo>
                    <a:pt x="210" y="244"/>
                  </a:lnTo>
                  <a:lnTo>
                    <a:pt x="201" y="248"/>
                  </a:lnTo>
                  <a:lnTo>
                    <a:pt x="194" y="251"/>
                  </a:lnTo>
                  <a:lnTo>
                    <a:pt x="185" y="253"/>
                  </a:lnTo>
                  <a:lnTo>
                    <a:pt x="177" y="254"/>
                  </a:lnTo>
                  <a:lnTo>
                    <a:pt x="167" y="255"/>
                  </a:lnTo>
                  <a:lnTo>
                    <a:pt x="167" y="255"/>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204">
              <a:extLst>
                <a:ext uri="{FF2B5EF4-FFF2-40B4-BE49-F238E27FC236}">
                  <a16:creationId xmlns:a16="http://schemas.microsoft.com/office/drawing/2014/main" id="{90E9EEC1-9EDF-1A14-4FD9-0F648C437079}"/>
                </a:ext>
              </a:extLst>
            </p:cNvPr>
            <p:cNvSpPr>
              <a:spLocks/>
            </p:cNvSpPr>
            <p:nvPr/>
          </p:nvSpPr>
          <p:spPr bwMode="auto">
            <a:xfrm>
              <a:off x="3462338" y="317500"/>
              <a:ext cx="260350" cy="528638"/>
            </a:xfrm>
            <a:custGeom>
              <a:avLst/>
              <a:gdLst>
                <a:gd name="T0" fmla="*/ 156 w 164"/>
                <a:gd name="T1" fmla="*/ 254 h 333"/>
                <a:gd name="T2" fmla="*/ 131 w 164"/>
                <a:gd name="T3" fmla="*/ 247 h 333"/>
                <a:gd name="T4" fmla="*/ 110 w 164"/>
                <a:gd name="T5" fmla="*/ 234 h 333"/>
                <a:gd name="T6" fmla="*/ 93 w 164"/>
                <a:gd name="T7" fmla="*/ 214 h 333"/>
                <a:gd name="T8" fmla="*/ 82 w 164"/>
                <a:gd name="T9" fmla="*/ 192 h 333"/>
                <a:gd name="T10" fmla="*/ 78 w 164"/>
                <a:gd name="T11" fmla="*/ 166 h 333"/>
                <a:gd name="T12" fmla="*/ 80 w 164"/>
                <a:gd name="T13" fmla="*/ 149 h 333"/>
                <a:gd name="T14" fmla="*/ 89 w 164"/>
                <a:gd name="T15" fmla="*/ 124 h 333"/>
                <a:gd name="T16" fmla="*/ 104 w 164"/>
                <a:gd name="T17" fmla="*/ 105 h 333"/>
                <a:gd name="T18" fmla="*/ 123 w 164"/>
                <a:gd name="T19" fmla="*/ 89 h 333"/>
                <a:gd name="T20" fmla="*/ 147 w 164"/>
                <a:gd name="T21" fmla="*/ 80 h 333"/>
                <a:gd name="T22" fmla="*/ 164 w 164"/>
                <a:gd name="T23" fmla="*/ 0 h 333"/>
                <a:gd name="T24" fmla="*/ 144 w 164"/>
                <a:gd name="T25" fmla="*/ 1 h 333"/>
                <a:gd name="T26" fmla="*/ 140 w 164"/>
                <a:gd name="T27" fmla="*/ 8 h 333"/>
                <a:gd name="T28" fmla="*/ 128 w 164"/>
                <a:gd name="T29" fmla="*/ 32 h 333"/>
                <a:gd name="T30" fmla="*/ 109 w 164"/>
                <a:gd name="T31" fmla="*/ 18 h 333"/>
                <a:gd name="T32" fmla="*/ 100 w 164"/>
                <a:gd name="T33" fmla="*/ 13 h 333"/>
                <a:gd name="T34" fmla="*/ 67 w 164"/>
                <a:gd name="T35" fmla="*/ 32 h 333"/>
                <a:gd name="T36" fmla="*/ 63 w 164"/>
                <a:gd name="T37" fmla="*/ 41 h 333"/>
                <a:gd name="T38" fmla="*/ 74 w 164"/>
                <a:gd name="T39" fmla="*/ 62 h 333"/>
                <a:gd name="T40" fmla="*/ 42 w 164"/>
                <a:gd name="T41" fmla="*/ 66 h 333"/>
                <a:gd name="T42" fmla="*/ 36 w 164"/>
                <a:gd name="T43" fmla="*/ 66 h 333"/>
                <a:gd name="T44" fmla="*/ 14 w 164"/>
                <a:gd name="T45" fmla="*/ 100 h 333"/>
                <a:gd name="T46" fmla="*/ 12 w 164"/>
                <a:gd name="T47" fmla="*/ 106 h 333"/>
                <a:gd name="T48" fmla="*/ 35 w 164"/>
                <a:gd name="T49" fmla="*/ 122 h 333"/>
                <a:gd name="T50" fmla="*/ 29 w 164"/>
                <a:gd name="T51" fmla="*/ 143 h 333"/>
                <a:gd name="T52" fmla="*/ 6 w 164"/>
                <a:gd name="T53" fmla="*/ 143 h 333"/>
                <a:gd name="T54" fmla="*/ 0 w 164"/>
                <a:gd name="T55" fmla="*/ 152 h 333"/>
                <a:gd name="T56" fmla="*/ 1 w 164"/>
                <a:gd name="T57" fmla="*/ 189 h 333"/>
                <a:gd name="T58" fmla="*/ 9 w 164"/>
                <a:gd name="T59" fmla="*/ 194 h 333"/>
                <a:gd name="T60" fmla="*/ 32 w 164"/>
                <a:gd name="T61" fmla="*/ 205 h 333"/>
                <a:gd name="T62" fmla="*/ 19 w 164"/>
                <a:gd name="T63" fmla="*/ 224 h 333"/>
                <a:gd name="T64" fmla="*/ 14 w 164"/>
                <a:gd name="T65" fmla="*/ 233 h 333"/>
                <a:gd name="T66" fmla="*/ 32 w 164"/>
                <a:gd name="T67" fmla="*/ 266 h 333"/>
                <a:gd name="T68" fmla="*/ 41 w 164"/>
                <a:gd name="T69" fmla="*/ 270 h 333"/>
                <a:gd name="T70" fmla="*/ 62 w 164"/>
                <a:gd name="T71" fmla="*/ 259 h 333"/>
                <a:gd name="T72" fmla="*/ 68 w 164"/>
                <a:gd name="T73" fmla="*/ 291 h 333"/>
                <a:gd name="T74" fmla="*/ 67 w 164"/>
                <a:gd name="T75" fmla="*/ 297 h 333"/>
                <a:gd name="T76" fmla="*/ 100 w 164"/>
                <a:gd name="T77" fmla="*/ 319 h 333"/>
                <a:gd name="T78" fmla="*/ 106 w 164"/>
                <a:gd name="T79" fmla="*/ 321 h 333"/>
                <a:gd name="T80" fmla="*/ 122 w 164"/>
                <a:gd name="T81" fmla="*/ 298 h 333"/>
                <a:gd name="T82" fmla="*/ 143 w 164"/>
                <a:gd name="T83" fmla="*/ 305 h 333"/>
                <a:gd name="T84" fmla="*/ 144 w 164"/>
                <a:gd name="T85" fmla="*/ 327 h 333"/>
                <a:gd name="T86" fmla="*/ 152 w 164"/>
                <a:gd name="T87"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333">
                  <a:moveTo>
                    <a:pt x="164" y="255"/>
                  </a:moveTo>
                  <a:lnTo>
                    <a:pt x="164" y="255"/>
                  </a:lnTo>
                  <a:lnTo>
                    <a:pt x="156" y="254"/>
                  </a:lnTo>
                  <a:lnTo>
                    <a:pt x="147" y="253"/>
                  </a:lnTo>
                  <a:lnTo>
                    <a:pt x="138" y="250"/>
                  </a:lnTo>
                  <a:lnTo>
                    <a:pt x="131" y="247"/>
                  </a:lnTo>
                  <a:lnTo>
                    <a:pt x="123" y="243"/>
                  </a:lnTo>
                  <a:lnTo>
                    <a:pt x="116" y="239"/>
                  </a:lnTo>
                  <a:lnTo>
                    <a:pt x="110" y="234"/>
                  </a:lnTo>
                  <a:lnTo>
                    <a:pt x="104" y="228"/>
                  </a:lnTo>
                  <a:lnTo>
                    <a:pt x="98" y="222"/>
                  </a:lnTo>
                  <a:lnTo>
                    <a:pt x="93" y="214"/>
                  </a:lnTo>
                  <a:lnTo>
                    <a:pt x="89" y="208"/>
                  </a:lnTo>
                  <a:lnTo>
                    <a:pt x="85" y="200"/>
                  </a:lnTo>
                  <a:lnTo>
                    <a:pt x="82" y="192"/>
                  </a:lnTo>
                  <a:lnTo>
                    <a:pt x="80" y="184"/>
                  </a:lnTo>
                  <a:lnTo>
                    <a:pt x="79" y="175"/>
                  </a:lnTo>
                  <a:lnTo>
                    <a:pt x="78" y="166"/>
                  </a:lnTo>
                  <a:lnTo>
                    <a:pt x="78" y="166"/>
                  </a:lnTo>
                  <a:lnTo>
                    <a:pt x="79" y="158"/>
                  </a:lnTo>
                  <a:lnTo>
                    <a:pt x="80" y="149"/>
                  </a:lnTo>
                  <a:lnTo>
                    <a:pt x="82" y="140"/>
                  </a:lnTo>
                  <a:lnTo>
                    <a:pt x="85" y="132"/>
                  </a:lnTo>
                  <a:lnTo>
                    <a:pt x="89" y="124"/>
                  </a:lnTo>
                  <a:lnTo>
                    <a:pt x="93" y="117"/>
                  </a:lnTo>
                  <a:lnTo>
                    <a:pt x="98" y="111"/>
                  </a:lnTo>
                  <a:lnTo>
                    <a:pt x="104" y="105"/>
                  </a:lnTo>
                  <a:lnTo>
                    <a:pt x="110" y="99"/>
                  </a:lnTo>
                  <a:lnTo>
                    <a:pt x="116" y="94"/>
                  </a:lnTo>
                  <a:lnTo>
                    <a:pt x="123" y="89"/>
                  </a:lnTo>
                  <a:lnTo>
                    <a:pt x="131" y="85"/>
                  </a:lnTo>
                  <a:lnTo>
                    <a:pt x="138" y="82"/>
                  </a:lnTo>
                  <a:lnTo>
                    <a:pt x="147" y="80"/>
                  </a:lnTo>
                  <a:lnTo>
                    <a:pt x="156" y="79"/>
                  </a:lnTo>
                  <a:lnTo>
                    <a:pt x="164" y="78"/>
                  </a:lnTo>
                  <a:lnTo>
                    <a:pt x="164" y="0"/>
                  </a:lnTo>
                  <a:lnTo>
                    <a:pt x="148" y="0"/>
                  </a:lnTo>
                  <a:lnTo>
                    <a:pt x="148" y="0"/>
                  </a:lnTo>
                  <a:lnTo>
                    <a:pt x="144" y="1"/>
                  </a:lnTo>
                  <a:lnTo>
                    <a:pt x="142" y="2"/>
                  </a:lnTo>
                  <a:lnTo>
                    <a:pt x="140" y="5"/>
                  </a:lnTo>
                  <a:lnTo>
                    <a:pt x="140" y="8"/>
                  </a:lnTo>
                  <a:lnTo>
                    <a:pt x="140" y="29"/>
                  </a:lnTo>
                  <a:lnTo>
                    <a:pt x="140" y="29"/>
                  </a:lnTo>
                  <a:lnTo>
                    <a:pt x="128" y="32"/>
                  </a:lnTo>
                  <a:lnTo>
                    <a:pt x="119" y="34"/>
                  </a:lnTo>
                  <a:lnTo>
                    <a:pt x="109" y="18"/>
                  </a:lnTo>
                  <a:lnTo>
                    <a:pt x="109" y="18"/>
                  </a:lnTo>
                  <a:lnTo>
                    <a:pt x="106" y="15"/>
                  </a:lnTo>
                  <a:lnTo>
                    <a:pt x="104" y="13"/>
                  </a:lnTo>
                  <a:lnTo>
                    <a:pt x="100" y="13"/>
                  </a:lnTo>
                  <a:lnTo>
                    <a:pt x="96" y="15"/>
                  </a:lnTo>
                  <a:lnTo>
                    <a:pt x="67" y="32"/>
                  </a:lnTo>
                  <a:lnTo>
                    <a:pt x="67" y="32"/>
                  </a:lnTo>
                  <a:lnTo>
                    <a:pt x="64" y="34"/>
                  </a:lnTo>
                  <a:lnTo>
                    <a:pt x="63" y="37"/>
                  </a:lnTo>
                  <a:lnTo>
                    <a:pt x="63" y="41"/>
                  </a:lnTo>
                  <a:lnTo>
                    <a:pt x="64" y="43"/>
                  </a:lnTo>
                  <a:lnTo>
                    <a:pt x="74" y="62"/>
                  </a:lnTo>
                  <a:lnTo>
                    <a:pt x="74" y="62"/>
                  </a:lnTo>
                  <a:lnTo>
                    <a:pt x="67" y="69"/>
                  </a:lnTo>
                  <a:lnTo>
                    <a:pt x="59" y="76"/>
                  </a:lnTo>
                  <a:lnTo>
                    <a:pt x="42" y="66"/>
                  </a:lnTo>
                  <a:lnTo>
                    <a:pt x="42" y="66"/>
                  </a:lnTo>
                  <a:lnTo>
                    <a:pt x="40" y="65"/>
                  </a:lnTo>
                  <a:lnTo>
                    <a:pt x="36" y="66"/>
                  </a:lnTo>
                  <a:lnTo>
                    <a:pt x="32" y="68"/>
                  </a:lnTo>
                  <a:lnTo>
                    <a:pt x="31" y="70"/>
                  </a:lnTo>
                  <a:lnTo>
                    <a:pt x="14" y="100"/>
                  </a:lnTo>
                  <a:lnTo>
                    <a:pt x="14" y="100"/>
                  </a:lnTo>
                  <a:lnTo>
                    <a:pt x="12" y="102"/>
                  </a:lnTo>
                  <a:lnTo>
                    <a:pt x="12" y="106"/>
                  </a:lnTo>
                  <a:lnTo>
                    <a:pt x="14" y="108"/>
                  </a:lnTo>
                  <a:lnTo>
                    <a:pt x="16" y="111"/>
                  </a:lnTo>
                  <a:lnTo>
                    <a:pt x="35" y="122"/>
                  </a:lnTo>
                  <a:lnTo>
                    <a:pt x="35" y="122"/>
                  </a:lnTo>
                  <a:lnTo>
                    <a:pt x="31" y="132"/>
                  </a:lnTo>
                  <a:lnTo>
                    <a:pt x="29" y="143"/>
                  </a:lnTo>
                  <a:lnTo>
                    <a:pt x="9" y="143"/>
                  </a:lnTo>
                  <a:lnTo>
                    <a:pt x="9" y="143"/>
                  </a:lnTo>
                  <a:lnTo>
                    <a:pt x="6" y="143"/>
                  </a:lnTo>
                  <a:lnTo>
                    <a:pt x="3" y="145"/>
                  </a:lnTo>
                  <a:lnTo>
                    <a:pt x="1" y="148"/>
                  </a:lnTo>
                  <a:lnTo>
                    <a:pt x="0" y="152"/>
                  </a:lnTo>
                  <a:lnTo>
                    <a:pt x="0" y="185"/>
                  </a:lnTo>
                  <a:lnTo>
                    <a:pt x="0" y="185"/>
                  </a:lnTo>
                  <a:lnTo>
                    <a:pt x="1" y="189"/>
                  </a:lnTo>
                  <a:lnTo>
                    <a:pt x="3" y="191"/>
                  </a:lnTo>
                  <a:lnTo>
                    <a:pt x="6" y="194"/>
                  </a:lnTo>
                  <a:lnTo>
                    <a:pt x="9" y="194"/>
                  </a:lnTo>
                  <a:lnTo>
                    <a:pt x="30" y="194"/>
                  </a:lnTo>
                  <a:lnTo>
                    <a:pt x="30" y="194"/>
                  </a:lnTo>
                  <a:lnTo>
                    <a:pt x="32" y="205"/>
                  </a:lnTo>
                  <a:lnTo>
                    <a:pt x="36" y="214"/>
                  </a:lnTo>
                  <a:lnTo>
                    <a:pt x="19" y="224"/>
                  </a:lnTo>
                  <a:lnTo>
                    <a:pt x="19" y="224"/>
                  </a:lnTo>
                  <a:lnTo>
                    <a:pt x="16" y="227"/>
                  </a:lnTo>
                  <a:lnTo>
                    <a:pt x="15" y="229"/>
                  </a:lnTo>
                  <a:lnTo>
                    <a:pt x="14" y="233"/>
                  </a:lnTo>
                  <a:lnTo>
                    <a:pt x="15" y="237"/>
                  </a:lnTo>
                  <a:lnTo>
                    <a:pt x="32" y="266"/>
                  </a:lnTo>
                  <a:lnTo>
                    <a:pt x="32" y="266"/>
                  </a:lnTo>
                  <a:lnTo>
                    <a:pt x="35" y="269"/>
                  </a:lnTo>
                  <a:lnTo>
                    <a:pt x="37" y="270"/>
                  </a:lnTo>
                  <a:lnTo>
                    <a:pt x="41" y="270"/>
                  </a:lnTo>
                  <a:lnTo>
                    <a:pt x="45" y="269"/>
                  </a:lnTo>
                  <a:lnTo>
                    <a:pt x="62" y="259"/>
                  </a:lnTo>
                  <a:lnTo>
                    <a:pt x="62" y="259"/>
                  </a:lnTo>
                  <a:lnTo>
                    <a:pt x="69" y="266"/>
                  </a:lnTo>
                  <a:lnTo>
                    <a:pt x="78" y="274"/>
                  </a:lnTo>
                  <a:lnTo>
                    <a:pt x="68" y="291"/>
                  </a:lnTo>
                  <a:lnTo>
                    <a:pt x="68" y="291"/>
                  </a:lnTo>
                  <a:lnTo>
                    <a:pt x="67" y="295"/>
                  </a:lnTo>
                  <a:lnTo>
                    <a:pt x="67" y="297"/>
                  </a:lnTo>
                  <a:lnTo>
                    <a:pt x="68" y="301"/>
                  </a:lnTo>
                  <a:lnTo>
                    <a:pt x="70" y="302"/>
                  </a:lnTo>
                  <a:lnTo>
                    <a:pt x="100" y="319"/>
                  </a:lnTo>
                  <a:lnTo>
                    <a:pt x="100" y="319"/>
                  </a:lnTo>
                  <a:lnTo>
                    <a:pt x="104" y="321"/>
                  </a:lnTo>
                  <a:lnTo>
                    <a:pt x="106" y="321"/>
                  </a:lnTo>
                  <a:lnTo>
                    <a:pt x="110" y="319"/>
                  </a:lnTo>
                  <a:lnTo>
                    <a:pt x="112" y="317"/>
                  </a:lnTo>
                  <a:lnTo>
                    <a:pt x="122" y="298"/>
                  </a:lnTo>
                  <a:lnTo>
                    <a:pt x="122" y="298"/>
                  </a:lnTo>
                  <a:lnTo>
                    <a:pt x="132" y="302"/>
                  </a:lnTo>
                  <a:lnTo>
                    <a:pt x="143" y="305"/>
                  </a:lnTo>
                  <a:lnTo>
                    <a:pt x="143" y="324"/>
                  </a:lnTo>
                  <a:lnTo>
                    <a:pt x="143" y="324"/>
                  </a:lnTo>
                  <a:lnTo>
                    <a:pt x="144" y="327"/>
                  </a:lnTo>
                  <a:lnTo>
                    <a:pt x="146" y="330"/>
                  </a:lnTo>
                  <a:lnTo>
                    <a:pt x="148" y="332"/>
                  </a:lnTo>
                  <a:lnTo>
                    <a:pt x="152" y="333"/>
                  </a:lnTo>
                  <a:lnTo>
                    <a:pt x="164" y="333"/>
                  </a:lnTo>
                  <a:lnTo>
                    <a:pt x="164" y="255"/>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06">
              <a:extLst>
                <a:ext uri="{FF2B5EF4-FFF2-40B4-BE49-F238E27FC236}">
                  <a16:creationId xmlns:a16="http://schemas.microsoft.com/office/drawing/2014/main" id="{58EB3FA9-AAD2-EEE3-71B7-04E8422053F9}"/>
                </a:ext>
              </a:extLst>
            </p:cNvPr>
            <p:cNvSpPr>
              <a:spLocks noEditPoints="1"/>
            </p:cNvSpPr>
            <p:nvPr/>
          </p:nvSpPr>
          <p:spPr bwMode="auto">
            <a:xfrm>
              <a:off x="3556000" y="409575"/>
              <a:ext cx="342900" cy="344488"/>
            </a:xfrm>
            <a:custGeom>
              <a:avLst/>
              <a:gdLst>
                <a:gd name="T0" fmla="*/ 97 w 216"/>
                <a:gd name="T1" fmla="*/ 1 h 217"/>
                <a:gd name="T2" fmla="*/ 66 w 216"/>
                <a:gd name="T3" fmla="*/ 8 h 217"/>
                <a:gd name="T4" fmla="*/ 40 w 216"/>
                <a:gd name="T5" fmla="*/ 24 h 217"/>
                <a:gd name="T6" fmla="*/ 19 w 216"/>
                <a:gd name="T7" fmla="*/ 48 h 217"/>
                <a:gd name="T8" fmla="*/ 5 w 216"/>
                <a:gd name="T9" fmla="*/ 76 h 217"/>
                <a:gd name="T10" fmla="*/ 0 w 216"/>
                <a:gd name="T11" fmla="*/ 108 h 217"/>
                <a:gd name="T12" fmla="*/ 2 w 216"/>
                <a:gd name="T13" fmla="*/ 131 h 217"/>
                <a:gd name="T14" fmla="*/ 13 w 216"/>
                <a:gd name="T15" fmla="*/ 160 h 217"/>
                <a:gd name="T16" fmla="*/ 31 w 216"/>
                <a:gd name="T17" fmla="*/ 185 h 217"/>
                <a:gd name="T18" fmla="*/ 56 w 216"/>
                <a:gd name="T19" fmla="*/ 203 h 217"/>
                <a:gd name="T20" fmla="*/ 87 w 216"/>
                <a:gd name="T21" fmla="*/ 214 h 217"/>
                <a:gd name="T22" fmla="*/ 108 w 216"/>
                <a:gd name="T23" fmla="*/ 217 h 217"/>
                <a:gd name="T24" fmla="*/ 140 w 216"/>
                <a:gd name="T25" fmla="*/ 212 h 217"/>
                <a:gd name="T26" fmla="*/ 168 w 216"/>
                <a:gd name="T27" fmla="*/ 198 h 217"/>
                <a:gd name="T28" fmla="*/ 192 w 216"/>
                <a:gd name="T29" fmla="*/ 177 h 217"/>
                <a:gd name="T30" fmla="*/ 208 w 216"/>
                <a:gd name="T31" fmla="*/ 150 h 217"/>
                <a:gd name="T32" fmla="*/ 215 w 216"/>
                <a:gd name="T33" fmla="*/ 119 h 217"/>
                <a:gd name="T34" fmla="*/ 215 w 216"/>
                <a:gd name="T35" fmla="*/ 97 h 217"/>
                <a:gd name="T36" fmla="*/ 208 w 216"/>
                <a:gd name="T37" fmla="*/ 66 h 217"/>
                <a:gd name="T38" fmla="*/ 192 w 216"/>
                <a:gd name="T39" fmla="*/ 39 h 217"/>
                <a:gd name="T40" fmla="*/ 168 w 216"/>
                <a:gd name="T41" fmla="*/ 18 h 217"/>
                <a:gd name="T42" fmla="*/ 140 w 216"/>
                <a:gd name="T43" fmla="*/ 5 h 217"/>
                <a:gd name="T44" fmla="*/ 108 w 216"/>
                <a:gd name="T45" fmla="*/ 0 h 217"/>
                <a:gd name="T46" fmla="*/ 108 w 216"/>
                <a:gd name="T47" fmla="*/ 197 h 217"/>
                <a:gd name="T48" fmla="*/ 82 w 216"/>
                <a:gd name="T49" fmla="*/ 193 h 217"/>
                <a:gd name="T50" fmla="*/ 58 w 216"/>
                <a:gd name="T51" fmla="*/ 182 h 217"/>
                <a:gd name="T52" fmla="*/ 40 w 216"/>
                <a:gd name="T53" fmla="*/ 165 h 217"/>
                <a:gd name="T54" fmla="*/ 26 w 216"/>
                <a:gd name="T55" fmla="*/ 143 h 217"/>
                <a:gd name="T56" fmla="*/ 20 w 216"/>
                <a:gd name="T57" fmla="*/ 117 h 217"/>
                <a:gd name="T58" fmla="*/ 20 w 216"/>
                <a:gd name="T59" fmla="*/ 100 h 217"/>
                <a:gd name="T60" fmla="*/ 26 w 216"/>
                <a:gd name="T61" fmla="*/ 74 h 217"/>
                <a:gd name="T62" fmla="*/ 40 w 216"/>
                <a:gd name="T63" fmla="*/ 52 h 217"/>
                <a:gd name="T64" fmla="*/ 58 w 216"/>
                <a:gd name="T65" fmla="*/ 34 h 217"/>
                <a:gd name="T66" fmla="*/ 82 w 216"/>
                <a:gd name="T67" fmla="*/ 23 h 217"/>
                <a:gd name="T68" fmla="*/ 108 w 216"/>
                <a:gd name="T69" fmla="*/ 20 h 217"/>
                <a:gd name="T70" fmla="*/ 126 w 216"/>
                <a:gd name="T71" fmla="*/ 21 h 217"/>
                <a:gd name="T72" fmla="*/ 151 w 216"/>
                <a:gd name="T73" fmla="*/ 31 h 217"/>
                <a:gd name="T74" fmla="*/ 171 w 216"/>
                <a:gd name="T75" fmla="*/ 45 h 217"/>
                <a:gd name="T76" fmla="*/ 187 w 216"/>
                <a:gd name="T77" fmla="*/ 66 h 217"/>
                <a:gd name="T78" fmla="*/ 195 w 216"/>
                <a:gd name="T79" fmla="*/ 90 h 217"/>
                <a:gd name="T80" fmla="*/ 196 w 216"/>
                <a:gd name="T81" fmla="*/ 108 h 217"/>
                <a:gd name="T82" fmla="*/ 193 w 216"/>
                <a:gd name="T83" fmla="*/ 134 h 217"/>
                <a:gd name="T84" fmla="*/ 182 w 216"/>
                <a:gd name="T85" fmla="*/ 158 h 217"/>
                <a:gd name="T86" fmla="*/ 164 w 216"/>
                <a:gd name="T87" fmla="*/ 176 h 217"/>
                <a:gd name="T88" fmla="*/ 142 w 216"/>
                <a:gd name="T89" fmla="*/ 190 h 217"/>
                <a:gd name="T90" fmla="*/ 118 w 216"/>
                <a:gd name="T91" fmla="*/ 19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6" h="217">
                  <a:moveTo>
                    <a:pt x="108" y="0"/>
                  </a:moveTo>
                  <a:lnTo>
                    <a:pt x="108" y="0"/>
                  </a:lnTo>
                  <a:lnTo>
                    <a:pt x="97" y="1"/>
                  </a:lnTo>
                  <a:lnTo>
                    <a:pt x="87" y="2"/>
                  </a:lnTo>
                  <a:lnTo>
                    <a:pt x="76" y="5"/>
                  </a:lnTo>
                  <a:lnTo>
                    <a:pt x="66" y="8"/>
                  </a:lnTo>
                  <a:lnTo>
                    <a:pt x="56" y="13"/>
                  </a:lnTo>
                  <a:lnTo>
                    <a:pt x="47" y="18"/>
                  </a:lnTo>
                  <a:lnTo>
                    <a:pt x="40" y="24"/>
                  </a:lnTo>
                  <a:lnTo>
                    <a:pt x="31" y="32"/>
                  </a:lnTo>
                  <a:lnTo>
                    <a:pt x="25" y="39"/>
                  </a:lnTo>
                  <a:lnTo>
                    <a:pt x="19" y="48"/>
                  </a:lnTo>
                  <a:lnTo>
                    <a:pt x="13" y="57"/>
                  </a:lnTo>
                  <a:lnTo>
                    <a:pt x="9" y="66"/>
                  </a:lnTo>
                  <a:lnTo>
                    <a:pt x="5" y="76"/>
                  </a:lnTo>
                  <a:lnTo>
                    <a:pt x="2" y="86"/>
                  </a:lnTo>
                  <a:lnTo>
                    <a:pt x="0" y="97"/>
                  </a:lnTo>
                  <a:lnTo>
                    <a:pt x="0" y="108"/>
                  </a:lnTo>
                  <a:lnTo>
                    <a:pt x="0" y="108"/>
                  </a:lnTo>
                  <a:lnTo>
                    <a:pt x="0" y="119"/>
                  </a:lnTo>
                  <a:lnTo>
                    <a:pt x="2" y="131"/>
                  </a:lnTo>
                  <a:lnTo>
                    <a:pt x="5" y="140"/>
                  </a:lnTo>
                  <a:lnTo>
                    <a:pt x="9" y="150"/>
                  </a:lnTo>
                  <a:lnTo>
                    <a:pt x="13" y="160"/>
                  </a:lnTo>
                  <a:lnTo>
                    <a:pt x="19" y="169"/>
                  </a:lnTo>
                  <a:lnTo>
                    <a:pt x="25" y="177"/>
                  </a:lnTo>
                  <a:lnTo>
                    <a:pt x="31" y="185"/>
                  </a:lnTo>
                  <a:lnTo>
                    <a:pt x="40" y="191"/>
                  </a:lnTo>
                  <a:lnTo>
                    <a:pt x="47" y="198"/>
                  </a:lnTo>
                  <a:lnTo>
                    <a:pt x="56" y="203"/>
                  </a:lnTo>
                  <a:lnTo>
                    <a:pt x="66" y="208"/>
                  </a:lnTo>
                  <a:lnTo>
                    <a:pt x="76" y="212"/>
                  </a:lnTo>
                  <a:lnTo>
                    <a:pt x="87" y="214"/>
                  </a:lnTo>
                  <a:lnTo>
                    <a:pt x="97" y="216"/>
                  </a:lnTo>
                  <a:lnTo>
                    <a:pt x="108" y="217"/>
                  </a:lnTo>
                  <a:lnTo>
                    <a:pt x="108" y="217"/>
                  </a:lnTo>
                  <a:lnTo>
                    <a:pt x="119" y="216"/>
                  </a:lnTo>
                  <a:lnTo>
                    <a:pt x="130" y="214"/>
                  </a:lnTo>
                  <a:lnTo>
                    <a:pt x="140" y="212"/>
                  </a:lnTo>
                  <a:lnTo>
                    <a:pt x="150" y="208"/>
                  </a:lnTo>
                  <a:lnTo>
                    <a:pt x="159" y="203"/>
                  </a:lnTo>
                  <a:lnTo>
                    <a:pt x="168" y="198"/>
                  </a:lnTo>
                  <a:lnTo>
                    <a:pt x="177" y="191"/>
                  </a:lnTo>
                  <a:lnTo>
                    <a:pt x="184" y="185"/>
                  </a:lnTo>
                  <a:lnTo>
                    <a:pt x="192" y="177"/>
                  </a:lnTo>
                  <a:lnTo>
                    <a:pt x="198" y="169"/>
                  </a:lnTo>
                  <a:lnTo>
                    <a:pt x="203" y="160"/>
                  </a:lnTo>
                  <a:lnTo>
                    <a:pt x="208" y="150"/>
                  </a:lnTo>
                  <a:lnTo>
                    <a:pt x="211" y="140"/>
                  </a:lnTo>
                  <a:lnTo>
                    <a:pt x="214" y="131"/>
                  </a:lnTo>
                  <a:lnTo>
                    <a:pt x="215" y="119"/>
                  </a:lnTo>
                  <a:lnTo>
                    <a:pt x="216" y="108"/>
                  </a:lnTo>
                  <a:lnTo>
                    <a:pt x="216" y="108"/>
                  </a:lnTo>
                  <a:lnTo>
                    <a:pt x="215" y="97"/>
                  </a:lnTo>
                  <a:lnTo>
                    <a:pt x="214" y="86"/>
                  </a:lnTo>
                  <a:lnTo>
                    <a:pt x="211" y="76"/>
                  </a:lnTo>
                  <a:lnTo>
                    <a:pt x="208" y="66"/>
                  </a:lnTo>
                  <a:lnTo>
                    <a:pt x="203" y="57"/>
                  </a:lnTo>
                  <a:lnTo>
                    <a:pt x="198" y="48"/>
                  </a:lnTo>
                  <a:lnTo>
                    <a:pt x="192" y="39"/>
                  </a:lnTo>
                  <a:lnTo>
                    <a:pt x="184" y="32"/>
                  </a:lnTo>
                  <a:lnTo>
                    <a:pt x="177" y="24"/>
                  </a:lnTo>
                  <a:lnTo>
                    <a:pt x="168" y="18"/>
                  </a:lnTo>
                  <a:lnTo>
                    <a:pt x="159" y="13"/>
                  </a:lnTo>
                  <a:lnTo>
                    <a:pt x="150" y="8"/>
                  </a:lnTo>
                  <a:lnTo>
                    <a:pt x="140" y="5"/>
                  </a:lnTo>
                  <a:lnTo>
                    <a:pt x="130" y="2"/>
                  </a:lnTo>
                  <a:lnTo>
                    <a:pt x="119" y="1"/>
                  </a:lnTo>
                  <a:lnTo>
                    <a:pt x="108" y="0"/>
                  </a:lnTo>
                  <a:lnTo>
                    <a:pt x="108" y="0"/>
                  </a:lnTo>
                  <a:close/>
                  <a:moveTo>
                    <a:pt x="108" y="197"/>
                  </a:moveTo>
                  <a:lnTo>
                    <a:pt x="108" y="197"/>
                  </a:lnTo>
                  <a:lnTo>
                    <a:pt x="99" y="196"/>
                  </a:lnTo>
                  <a:lnTo>
                    <a:pt x="90" y="195"/>
                  </a:lnTo>
                  <a:lnTo>
                    <a:pt x="82" y="193"/>
                  </a:lnTo>
                  <a:lnTo>
                    <a:pt x="73" y="190"/>
                  </a:lnTo>
                  <a:lnTo>
                    <a:pt x="66" y="186"/>
                  </a:lnTo>
                  <a:lnTo>
                    <a:pt x="58" y="182"/>
                  </a:lnTo>
                  <a:lnTo>
                    <a:pt x="51" y="176"/>
                  </a:lnTo>
                  <a:lnTo>
                    <a:pt x="45" y="171"/>
                  </a:lnTo>
                  <a:lnTo>
                    <a:pt x="40" y="165"/>
                  </a:lnTo>
                  <a:lnTo>
                    <a:pt x="35" y="158"/>
                  </a:lnTo>
                  <a:lnTo>
                    <a:pt x="30" y="150"/>
                  </a:lnTo>
                  <a:lnTo>
                    <a:pt x="26" y="143"/>
                  </a:lnTo>
                  <a:lnTo>
                    <a:pt x="24" y="134"/>
                  </a:lnTo>
                  <a:lnTo>
                    <a:pt x="21" y="126"/>
                  </a:lnTo>
                  <a:lnTo>
                    <a:pt x="20" y="117"/>
                  </a:lnTo>
                  <a:lnTo>
                    <a:pt x="19" y="108"/>
                  </a:lnTo>
                  <a:lnTo>
                    <a:pt x="19" y="108"/>
                  </a:lnTo>
                  <a:lnTo>
                    <a:pt x="20" y="100"/>
                  </a:lnTo>
                  <a:lnTo>
                    <a:pt x="21" y="90"/>
                  </a:lnTo>
                  <a:lnTo>
                    <a:pt x="24" y="82"/>
                  </a:lnTo>
                  <a:lnTo>
                    <a:pt x="26" y="74"/>
                  </a:lnTo>
                  <a:lnTo>
                    <a:pt x="30" y="66"/>
                  </a:lnTo>
                  <a:lnTo>
                    <a:pt x="35" y="59"/>
                  </a:lnTo>
                  <a:lnTo>
                    <a:pt x="40" y="52"/>
                  </a:lnTo>
                  <a:lnTo>
                    <a:pt x="45" y="45"/>
                  </a:lnTo>
                  <a:lnTo>
                    <a:pt x="51" y="39"/>
                  </a:lnTo>
                  <a:lnTo>
                    <a:pt x="58" y="34"/>
                  </a:lnTo>
                  <a:lnTo>
                    <a:pt x="66" y="31"/>
                  </a:lnTo>
                  <a:lnTo>
                    <a:pt x="73" y="27"/>
                  </a:lnTo>
                  <a:lnTo>
                    <a:pt x="82" y="23"/>
                  </a:lnTo>
                  <a:lnTo>
                    <a:pt x="90" y="21"/>
                  </a:lnTo>
                  <a:lnTo>
                    <a:pt x="99" y="20"/>
                  </a:lnTo>
                  <a:lnTo>
                    <a:pt x="108" y="20"/>
                  </a:lnTo>
                  <a:lnTo>
                    <a:pt x="108" y="20"/>
                  </a:lnTo>
                  <a:lnTo>
                    <a:pt x="118" y="20"/>
                  </a:lnTo>
                  <a:lnTo>
                    <a:pt x="126" y="21"/>
                  </a:lnTo>
                  <a:lnTo>
                    <a:pt x="135" y="23"/>
                  </a:lnTo>
                  <a:lnTo>
                    <a:pt x="142" y="27"/>
                  </a:lnTo>
                  <a:lnTo>
                    <a:pt x="151" y="31"/>
                  </a:lnTo>
                  <a:lnTo>
                    <a:pt x="157" y="34"/>
                  </a:lnTo>
                  <a:lnTo>
                    <a:pt x="164" y="39"/>
                  </a:lnTo>
                  <a:lnTo>
                    <a:pt x="171" y="45"/>
                  </a:lnTo>
                  <a:lnTo>
                    <a:pt x="177" y="52"/>
                  </a:lnTo>
                  <a:lnTo>
                    <a:pt x="182" y="59"/>
                  </a:lnTo>
                  <a:lnTo>
                    <a:pt x="187" y="66"/>
                  </a:lnTo>
                  <a:lnTo>
                    <a:pt x="190" y="74"/>
                  </a:lnTo>
                  <a:lnTo>
                    <a:pt x="193" y="82"/>
                  </a:lnTo>
                  <a:lnTo>
                    <a:pt x="195" y="90"/>
                  </a:lnTo>
                  <a:lnTo>
                    <a:pt x="196" y="100"/>
                  </a:lnTo>
                  <a:lnTo>
                    <a:pt x="196" y="108"/>
                  </a:lnTo>
                  <a:lnTo>
                    <a:pt x="196" y="108"/>
                  </a:lnTo>
                  <a:lnTo>
                    <a:pt x="196" y="117"/>
                  </a:lnTo>
                  <a:lnTo>
                    <a:pt x="195" y="126"/>
                  </a:lnTo>
                  <a:lnTo>
                    <a:pt x="193" y="134"/>
                  </a:lnTo>
                  <a:lnTo>
                    <a:pt x="190" y="143"/>
                  </a:lnTo>
                  <a:lnTo>
                    <a:pt x="187" y="150"/>
                  </a:lnTo>
                  <a:lnTo>
                    <a:pt x="182" y="158"/>
                  </a:lnTo>
                  <a:lnTo>
                    <a:pt x="177" y="165"/>
                  </a:lnTo>
                  <a:lnTo>
                    <a:pt x="171" y="171"/>
                  </a:lnTo>
                  <a:lnTo>
                    <a:pt x="164" y="176"/>
                  </a:lnTo>
                  <a:lnTo>
                    <a:pt x="157" y="182"/>
                  </a:lnTo>
                  <a:lnTo>
                    <a:pt x="151" y="186"/>
                  </a:lnTo>
                  <a:lnTo>
                    <a:pt x="142" y="190"/>
                  </a:lnTo>
                  <a:lnTo>
                    <a:pt x="135" y="193"/>
                  </a:lnTo>
                  <a:lnTo>
                    <a:pt x="126" y="195"/>
                  </a:lnTo>
                  <a:lnTo>
                    <a:pt x="118" y="196"/>
                  </a:lnTo>
                  <a:lnTo>
                    <a:pt x="108" y="197"/>
                  </a:lnTo>
                  <a:lnTo>
                    <a:pt x="108" y="197"/>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07">
              <a:extLst>
                <a:ext uri="{FF2B5EF4-FFF2-40B4-BE49-F238E27FC236}">
                  <a16:creationId xmlns:a16="http://schemas.microsoft.com/office/drawing/2014/main" id="{140907A4-4C50-857F-E768-164E77D55974}"/>
                </a:ext>
              </a:extLst>
            </p:cNvPr>
            <p:cNvSpPr>
              <a:spLocks/>
            </p:cNvSpPr>
            <p:nvPr/>
          </p:nvSpPr>
          <p:spPr bwMode="auto">
            <a:xfrm>
              <a:off x="3722688" y="409575"/>
              <a:ext cx="176213" cy="344488"/>
            </a:xfrm>
            <a:custGeom>
              <a:avLst/>
              <a:gdLst>
                <a:gd name="T0" fmla="*/ 3 w 111"/>
                <a:gd name="T1" fmla="*/ 0 h 217"/>
                <a:gd name="T2" fmla="*/ 0 w 111"/>
                <a:gd name="T3" fmla="*/ 20 h 217"/>
                <a:gd name="T4" fmla="*/ 3 w 111"/>
                <a:gd name="T5" fmla="*/ 20 h 217"/>
                <a:gd name="T6" fmla="*/ 13 w 111"/>
                <a:gd name="T7" fmla="*/ 20 h 217"/>
                <a:gd name="T8" fmla="*/ 30 w 111"/>
                <a:gd name="T9" fmla="*/ 23 h 217"/>
                <a:gd name="T10" fmla="*/ 46 w 111"/>
                <a:gd name="T11" fmla="*/ 31 h 217"/>
                <a:gd name="T12" fmla="*/ 59 w 111"/>
                <a:gd name="T13" fmla="*/ 39 h 217"/>
                <a:gd name="T14" fmla="*/ 72 w 111"/>
                <a:gd name="T15" fmla="*/ 52 h 217"/>
                <a:gd name="T16" fmla="*/ 82 w 111"/>
                <a:gd name="T17" fmla="*/ 66 h 217"/>
                <a:gd name="T18" fmla="*/ 88 w 111"/>
                <a:gd name="T19" fmla="*/ 82 h 217"/>
                <a:gd name="T20" fmla="*/ 91 w 111"/>
                <a:gd name="T21" fmla="*/ 100 h 217"/>
                <a:gd name="T22" fmla="*/ 91 w 111"/>
                <a:gd name="T23" fmla="*/ 108 h 217"/>
                <a:gd name="T24" fmla="*/ 90 w 111"/>
                <a:gd name="T25" fmla="*/ 126 h 217"/>
                <a:gd name="T26" fmla="*/ 85 w 111"/>
                <a:gd name="T27" fmla="*/ 143 h 217"/>
                <a:gd name="T28" fmla="*/ 77 w 111"/>
                <a:gd name="T29" fmla="*/ 158 h 217"/>
                <a:gd name="T30" fmla="*/ 66 w 111"/>
                <a:gd name="T31" fmla="*/ 171 h 217"/>
                <a:gd name="T32" fmla="*/ 52 w 111"/>
                <a:gd name="T33" fmla="*/ 182 h 217"/>
                <a:gd name="T34" fmla="*/ 37 w 111"/>
                <a:gd name="T35" fmla="*/ 190 h 217"/>
                <a:gd name="T36" fmla="*/ 21 w 111"/>
                <a:gd name="T37" fmla="*/ 195 h 217"/>
                <a:gd name="T38" fmla="*/ 3 w 111"/>
                <a:gd name="T39" fmla="*/ 197 h 217"/>
                <a:gd name="T40" fmla="*/ 0 w 111"/>
                <a:gd name="T41" fmla="*/ 197 h 217"/>
                <a:gd name="T42" fmla="*/ 0 w 111"/>
                <a:gd name="T43" fmla="*/ 216 h 217"/>
                <a:gd name="T44" fmla="*/ 3 w 111"/>
                <a:gd name="T45" fmla="*/ 217 h 217"/>
                <a:gd name="T46" fmla="*/ 25 w 111"/>
                <a:gd name="T47" fmla="*/ 214 h 217"/>
                <a:gd name="T48" fmla="*/ 45 w 111"/>
                <a:gd name="T49" fmla="*/ 208 h 217"/>
                <a:gd name="T50" fmla="*/ 63 w 111"/>
                <a:gd name="T51" fmla="*/ 198 h 217"/>
                <a:gd name="T52" fmla="*/ 79 w 111"/>
                <a:gd name="T53" fmla="*/ 185 h 217"/>
                <a:gd name="T54" fmla="*/ 93 w 111"/>
                <a:gd name="T55" fmla="*/ 169 h 217"/>
                <a:gd name="T56" fmla="*/ 103 w 111"/>
                <a:gd name="T57" fmla="*/ 150 h 217"/>
                <a:gd name="T58" fmla="*/ 109 w 111"/>
                <a:gd name="T59" fmla="*/ 131 h 217"/>
                <a:gd name="T60" fmla="*/ 111 w 111"/>
                <a:gd name="T61" fmla="*/ 108 h 217"/>
                <a:gd name="T62" fmla="*/ 110 w 111"/>
                <a:gd name="T63" fmla="*/ 97 h 217"/>
                <a:gd name="T64" fmla="*/ 106 w 111"/>
                <a:gd name="T65" fmla="*/ 76 h 217"/>
                <a:gd name="T66" fmla="*/ 98 w 111"/>
                <a:gd name="T67" fmla="*/ 57 h 217"/>
                <a:gd name="T68" fmla="*/ 87 w 111"/>
                <a:gd name="T69" fmla="*/ 39 h 217"/>
                <a:gd name="T70" fmla="*/ 72 w 111"/>
                <a:gd name="T71" fmla="*/ 24 h 217"/>
                <a:gd name="T72" fmla="*/ 54 w 111"/>
                <a:gd name="T73" fmla="*/ 13 h 217"/>
                <a:gd name="T74" fmla="*/ 35 w 111"/>
                <a:gd name="T75" fmla="*/ 5 h 217"/>
                <a:gd name="T76" fmla="*/ 14 w 111"/>
                <a:gd name="T77" fmla="*/ 1 h 217"/>
                <a:gd name="T78" fmla="*/ 3 w 111"/>
                <a:gd name="T7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1" h="217">
                  <a:moveTo>
                    <a:pt x="3" y="0"/>
                  </a:moveTo>
                  <a:lnTo>
                    <a:pt x="3" y="0"/>
                  </a:lnTo>
                  <a:lnTo>
                    <a:pt x="0" y="0"/>
                  </a:lnTo>
                  <a:lnTo>
                    <a:pt x="0" y="20"/>
                  </a:lnTo>
                  <a:lnTo>
                    <a:pt x="0" y="20"/>
                  </a:lnTo>
                  <a:lnTo>
                    <a:pt x="3" y="20"/>
                  </a:lnTo>
                  <a:lnTo>
                    <a:pt x="3" y="20"/>
                  </a:lnTo>
                  <a:lnTo>
                    <a:pt x="13" y="20"/>
                  </a:lnTo>
                  <a:lnTo>
                    <a:pt x="21" y="21"/>
                  </a:lnTo>
                  <a:lnTo>
                    <a:pt x="30" y="23"/>
                  </a:lnTo>
                  <a:lnTo>
                    <a:pt x="37" y="27"/>
                  </a:lnTo>
                  <a:lnTo>
                    <a:pt x="46" y="31"/>
                  </a:lnTo>
                  <a:lnTo>
                    <a:pt x="52" y="34"/>
                  </a:lnTo>
                  <a:lnTo>
                    <a:pt x="59" y="39"/>
                  </a:lnTo>
                  <a:lnTo>
                    <a:pt x="66" y="45"/>
                  </a:lnTo>
                  <a:lnTo>
                    <a:pt x="72" y="52"/>
                  </a:lnTo>
                  <a:lnTo>
                    <a:pt x="77" y="59"/>
                  </a:lnTo>
                  <a:lnTo>
                    <a:pt x="82" y="66"/>
                  </a:lnTo>
                  <a:lnTo>
                    <a:pt x="85" y="74"/>
                  </a:lnTo>
                  <a:lnTo>
                    <a:pt x="88" y="82"/>
                  </a:lnTo>
                  <a:lnTo>
                    <a:pt x="90" y="90"/>
                  </a:lnTo>
                  <a:lnTo>
                    <a:pt x="91" y="100"/>
                  </a:lnTo>
                  <a:lnTo>
                    <a:pt x="91" y="108"/>
                  </a:lnTo>
                  <a:lnTo>
                    <a:pt x="91" y="108"/>
                  </a:lnTo>
                  <a:lnTo>
                    <a:pt x="91" y="117"/>
                  </a:lnTo>
                  <a:lnTo>
                    <a:pt x="90" y="126"/>
                  </a:lnTo>
                  <a:lnTo>
                    <a:pt x="88" y="134"/>
                  </a:lnTo>
                  <a:lnTo>
                    <a:pt x="85" y="143"/>
                  </a:lnTo>
                  <a:lnTo>
                    <a:pt x="82" y="150"/>
                  </a:lnTo>
                  <a:lnTo>
                    <a:pt x="77" y="158"/>
                  </a:lnTo>
                  <a:lnTo>
                    <a:pt x="72" y="165"/>
                  </a:lnTo>
                  <a:lnTo>
                    <a:pt x="66" y="171"/>
                  </a:lnTo>
                  <a:lnTo>
                    <a:pt x="59" y="176"/>
                  </a:lnTo>
                  <a:lnTo>
                    <a:pt x="52" y="182"/>
                  </a:lnTo>
                  <a:lnTo>
                    <a:pt x="46" y="186"/>
                  </a:lnTo>
                  <a:lnTo>
                    <a:pt x="37" y="190"/>
                  </a:lnTo>
                  <a:lnTo>
                    <a:pt x="30" y="193"/>
                  </a:lnTo>
                  <a:lnTo>
                    <a:pt x="21" y="195"/>
                  </a:lnTo>
                  <a:lnTo>
                    <a:pt x="13" y="196"/>
                  </a:lnTo>
                  <a:lnTo>
                    <a:pt x="3" y="197"/>
                  </a:lnTo>
                  <a:lnTo>
                    <a:pt x="3" y="197"/>
                  </a:lnTo>
                  <a:lnTo>
                    <a:pt x="0" y="197"/>
                  </a:lnTo>
                  <a:lnTo>
                    <a:pt x="0" y="216"/>
                  </a:lnTo>
                  <a:lnTo>
                    <a:pt x="0" y="216"/>
                  </a:lnTo>
                  <a:lnTo>
                    <a:pt x="3" y="217"/>
                  </a:lnTo>
                  <a:lnTo>
                    <a:pt x="3" y="217"/>
                  </a:lnTo>
                  <a:lnTo>
                    <a:pt x="14" y="216"/>
                  </a:lnTo>
                  <a:lnTo>
                    <a:pt x="25" y="214"/>
                  </a:lnTo>
                  <a:lnTo>
                    <a:pt x="35" y="212"/>
                  </a:lnTo>
                  <a:lnTo>
                    <a:pt x="45" y="208"/>
                  </a:lnTo>
                  <a:lnTo>
                    <a:pt x="54" y="203"/>
                  </a:lnTo>
                  <a:lnTo>
                    <a:pt x="63" y="198"/>
                  </a:lnTo>
                  <a:lnTo>
                    <a:pt x="72" y="191"/>
                  </a:lnTo>
                  <a:lnTo>
                    <a:pt x="79" y="185"/>
                  </a:lnTo>
                  <a:lnTo>
                    <a:pt x="87" y="177"/>
                  </a:lnTo>
                  <a:lnTo>
                    <a:pt x="93" y="169"/>
                  </a:lnTo>
                  <a:lnTo>
                    <a:pt x="98" y="160"/>
                  </a:lnTo>
                  <a:lnTo>
                    <a:pt x="103" y="150"/>
                  </a:lnTo>
                  <a:lnTo>
                    <a:pt x="106" y="140"/>
                  </a:lnTo>
                  <a:lnTo>
                    <a:pt x="109" y="131"/>
                  </a:lnTo>
                  <a:lnTo>
                    <a:pt x="110" y="119"/>
                  </a:lnTo>
                  <a:lnTo>
                    <a:pt x="111" y="108"/>
                  </a:lnTo>
                  <a:lnTo>
                    <a:pt x="111" y="108"/>
                  </a:lnTo>
                  <a:lnTo>
                    <a:pt x="110" y="97"/>
                  </a:lnTo>
                  <a:lnTo>
                    <a:pt x="109" y="86"/>
                  </a:lnTo>
                  <a:lnTo>
                    <a:pt x="106" y="76"/>
                  </a:lnTo>
                  <a:lnTo>
                    <a:pt x="103" y="66"/>
                  </a:lnTo>
                  <a:lnTo>
                    <a:pt x="98" y="57"/>
                  </a:lnTo>
                  <a:lnTo>
                    <a:pt x="93" y="48"/>
                  </a:lnTo>
                  <a:lnTo>
                    <a:pt x="87" y="39"/>
                  </a:lnTo>
                  <a:lnTo>
                    <a:pt x="79" y="32"/>
                  </a:lnTo>
                  <a:lnTo>
                    <a:pt x="72" y="24"/>
                  </a:lnTo>
                  <a:lnTo>
                    <a:pt x="63" y="18"/>
                  </a:lnTo>
                  <a:lnTo>
                    <a:pt x="54" y="13"/>
                  </a:lnTo>
                  <a:lnTo>
                    <a:pt x="45" y="8"/>
                  </a:lnTo>
                  <a:lnTo>
                    <a:pt x="35" y="5"/>
                  </a:lnTo>
                  <a:lnTo>
                    <a:pt x="25" y="2"/>
                  </a:lnTo>
                  <a:lnTo>
                    <a:pt x="14" y="1"/>
                  </a:lnTo>
                  <a:lnTo>
                    <a:pt x="3" y="0"/>
                  </a:lnTo>
                  <a:lnTo>
                    <a:pt x="3" y="0"/>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08">
              <a:extLst>
                <a:ext uri="{FF2B5EF4-FFF2-40B4-BE49-F238E27FC236}">
                  <a16:creationId xmlns:a16="http://schemas.microsoft.com/office/drawing/2014/main" id="{F10B1CC9-1622-69D9-0B0B-76DA17E34DDE}"/>
                </a:ext>
              </a:extLst>
            </p:cNvPr>
            <p:cNvSpPr>
              <a:spLocks/>
            </p:cNvSpPr>
            <p:nvPr/>
          </p:nvSpPr>
          <p:spPr bwMode="auto">
            <a:xfrm>
              <a:off x="3762375" y="617538"/>
              <a:ext cx="276225" cy="276225"/>
            </a:xfrm>
            <a:custGeom>
              <a:avLst/>
              <a:gdLst>
                <a:gd name="T0" fmla="*/ 164 w 174"/>
                <a:gd name="T1" fmla="*/ 164 h 174"/>
                <a:gd name="T2" fmla="*/ 164 w 174"/>
                <a:gd name="T3" fmla="*/ 164 h 174"/>
                <a:gd name="T4" fmla="*/ 164 w 174"/>
                <a:gd name="T5" fmla="*/ 164 h 174"/>
                <a:gd name="T6" fmla="*/ 164 w 174"/>
                <a:gd name="T7" fmla="*/ 164 h 174"/>
                <a:gd name="T8" fmla="*/ 158 w 174"/>
                <a:gd name="T9" fmla="*/ 169 h 174"/>
                <a:gd name="T10" fmla="*/ 152 w 174"/>
                <a:gd name="T11" fmla="*/ 171 h 174"/>
                <a:gd name="T12" fmla="*/ 145 w 174"/>
                <a:gd name="T13" fmla="*/ 174 h 174"/>
                <a:gd name="T14" fmla="*/ 139 w 174"/>
                <a:gd name="T15" fmla="*/ 174 h 174"/>
                <a:gd name="T16" fmla="*/ 133 w 174"/>
                <a:gd name="T17" fmla="*/ 174 h 174"/>
                <a:gd name="T18" fmla="*/ 127 w 174"/>
                <a:gd name="T19" fmla="*/ 171 h 174"/>
                <a:gd name="T20" fmla="*/ 121 w 174"/>
                <a:gd name="T21" fmla="*/ 169 h 174"/>
                <a:gd name="T22" fmla="*/ 115 w 174"/>
                <a:gd name="T23" fmla="*/ 164 h 174"/>
                <a:gd name="T24" fmla="*/ 10 w 174"/>
                <a:gd name="T25" fmla="*/ 59 h 174"/>
                <a:gd name="T26" fmla="*/ 10 w 174"/>
                <a:gd name="T27" fmla="*/ 59 h 174"/>
                <a:gd name="T28" fmla="*/ 6 w 174"/>
                <a:gd name="T29" fmla="*/ 53 h 174"/>
                <a:gd name="T30" fmla="*/ 2 w 174"/>
                <a:gd name="T31" fmla="*/ 48 h 174"/>
                <a:gd name="T32" fmla="*/ 1 w 174"/>
                <a:gd name="T33" fmla="*/ 40 h 174"/>
                <a:gd name="T34" fmla="*/ 0 w 174"/>
                <a:gd name="T35" fmla="*/ 34 h 174"/>
                <a:gd name="T36" fmla="*/ 1 w 174"/>
                <a:gd name="T37" fmla="*/ 28 h 174"/>
                <a:gd name="T38" fmla="*/ 2 w 174"/>
                <a:gd name="T39" fmla="*/ 22 h 174"/>
                <a:gd name="T40" fmla="*/ 6 w 174"/>
                <a:gd name="T41" fmla="*/ 16 h 174"/>
                <a:gd name="T42" fmla="*/ 10 w 174"/>
                <a:gd name="T43" fmla="*/ 9 h 174"/>
                <a:gd name="T44" fmla="*/ 10 w 174"/>
                <a:gd name="T45" fmla="*/ 9 h 174"/>
                <a:gd name="T46" fmla="*/ 10 w 174"/>
                <a:gd name="T47" fmla="*/ 9 h 174"/>
                <a:gd name="T48" fmla="*/ 10 w 174"/>
                <a:gd name="T49" fmla="*/ 9 h 174"/>
                <a:gd name="T50" fmla="*/ 16 w 174"/>
                <a:gd name="T51" fmla="*/ 6 h 174"/>
                <a:gd name="T52" fmla="*/ 22 w 174"/>
                <a:gd name="T53" fmla="*/ 2 h 174"/>
                <a:gd name="T54" fmla="*/ 28 w 174"/>
                <a:gd name="T55" fmla="*/ 1 h 174"/>
                <a:gd name="T56" fmla="*/ 34 w 174"/>
                <a:gd name="T57" fmla="*/ 0 h 174"/>
                <a:gd name="T58" fmla="*/ 42 w 174"/>
                <a:gd name="T59" fmla="*/ 1 h 174"/>
                <a:gd name="T60" fmla="*/ 48 w 174"/>
                <a:gd name="T61" fmla="*/ 2 h 174"/>
                <a:gd name="T62" fmla="*/ 53 w 174"/>
                <a:gd name="T63" fmla="*/ 6 h 174"/>
                <a:gd name="T64" fmla="*/ 59 w 174"/>
                <a:gd name="T65" fmla="*/ 11 h 174"/>
                <a:gd name="T66" fmla="*/ 164 w 174"/>
                <a:gd name="T67" fmla="*/ 116 h 174"/>
                <a:gd name="T68" fmla="*/ 164 w 174"/>
                <a:gd name="T69" fmla="*/ 116 h 174"/>
                <a:gd name="T70" fmla="*/ 168 w 174"/>
                <a:gd name="T71" fmla="*/ 120 h 174"/>
                <a:gd name="T72" fmla="*/ 171 w 174"/>
                <a:gd name="T73" fmla="*/ 127 h 174"/>
                <a:gd name="T74" fmla="*/ 173 w 174"/>
                <a:gd name="T75" fmla="*/ 133 h 174"/>
                <a:gd name="T76" fmla="*/ 174 w 174"/>
                <a:gd name="T77" fmla="*/ 140 h 174"/>
                <a:gd name="T78" fmla="*/ 173 w 174"/>
                <a:gd name="T79" fmla="*/ 146 h 174"/>
                <a:gd name="T80" fmla="*/ 171 w 174"/>
                <a:gd name="T81" fmla="*/ 153 h 174"/>
                <a:gd name="T82" fmla="*/ 168 w 174"/>
                <a:gd name="T83" fmla="*/ 159 h 174"/>
                <a:gd name="T84" fmla="*/ 164 w 174"/>
                <a:gd name="T85" fmla="*/ 164 h 174"/>
                <a:gd name="T86" fmla="*/ 164 w 174"/>
                <a:gd name="T87" fmla="*/ 16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4" h="174">
                  <a:moveTo>
                    <a:pt x="164" y="164"/>
                  </a:moveTo>
                  <a:lnTo>
                    <a:pt x="164" y="164"/>
                  </a:lnTo>
                  <a:lnTo>
                    <a:pt x="164" y="164"/>
                  </a:lnTo>
                  <a:lnTo>
                    <a:pt x="164" y="164"/>
                  </a:lnTo>
                  <a:lnTo>
                    <a:pt x="158" y="169"/>
                  </a:lnTo>
                  <a:lnTo>
                    <a:pt x="152" y="171"/>
                  </a:lnTo>
                  <a:lnTo>
                    <a:pt x="145" y="174"/>
                  </a:lnTo>
                  <a:lnTo>
                    <a:pt x="139" y="174"/>
                  </a:lnTo>
                  <a:lnTo>
                    <a:pt x="133" y="174"/>
                  </a:lnTo>
                  <a:lnTo>
                    <a:pt x="127" y="171"/>
                  </a:lnTo>
                  <a:lnTo>
                    <a:pt x="121" y="169"/>
                  </a:lnTo>
                  <a:lnTo>
                    <a:pt x="115" y="164"/>
                  </a:lnTo>
                  <a:lnTo>
                    <a:pt x="10" y="59"/>
                  </a:lnTo>
                  <a:lnTo>
                    <a:pt x="10" y="59"/>
                  </a:lnTo>
                  <a:lnTo>
                    <a:pt x="6" y="53"/>
                  </a:lnTo>
                  <a:lnTo>
                    <a:pt x="2" y="48"/>
                  </a:lnTo>
                  <a:lnTo>
                    <a:pt x="1" y="40"/>
                  </a:lnTo>
                  <a:lnTo>
                    <a:pt x="0" y="34"/>
                  </a:lnTo>
                  <a:lnTo>
                    <a:pt x="1" y="28"/>
                  </a:lnTo>
                  <a:lnTo>
                    <a:pt x="2" y="22"/>
                  </a:lnTo>
                  <a:lnTo>
                    <a:pt x="6" y="16"/>
                  </a:lnTo>
                  <a:lnTo>
                    <a:pt x="10" y="9"/>
                  </a:lnTo>
                  <a:lnTo>
                    <a:pt x="10" y="9"/>
                  </a:lnTo>
                  <a:lnTo>
                    <a:pt x="10" y="9"/>
                  </a:lnTo>
                  <a:lnTo>
                    <a:pt x="10" y="9"/>
                  </a:lnTo>
                  <a:lnTo>
                    <a:pt x="16" y="6"/>
                  </a:lnTo>
                  <a:lnTo>
                    <a:pt x="22" y="2"/>
                  </a:lnTo>
                  <a:lnTo>
                    <a:pt x="28" y="1"/>
                  </a:lnTo>
                  <a:lnTo>
                    <a:pt x="34" y="0"/>
                  </a:lnTo>
                  <a:lnTo>
                    <a:pt x="42" y="1"/>
                  </a:lnTo>
                  <a:lnTo>
                    <a:pt x="48" y="2"/>
                  </a:lnTo>
                  <a:lnTo>
                    <a:pt x="53" y="6"/>
                  </a:lnTo>
                  <a:lnTo>
                    <a:pt x="59" y="11"/>
                  </a:lnTo>
                  <a:lnTo>
                    <a:pt x="164" y="116"/>
                  </a:lnTo>
                  <a:lnTo>
                    <a:pt x="164" y="116"/>
                  </a:lnTo>
                  <a:lnTo>
                    <a:pt x="168" y="120"/>
                  </a:lnTo>
                  <a:lnTo>
                    <a:pt x="171" y="127"/>
                  </a:lnTo>
                  <a:lnTo>
                    <a:pt x="173" y="133"/>
                  </a:lnTo>
                  <a:lnTo>
                    <a:pt x="174" y="140"/>
                  </a:lnTo>
                  <a:lnTo>
                    <a:pt x="173" y="146"/>
                  </a:lnTo>
                  <a:lnTo>
                    <a:pt x="171" y="153"/>
                  </a:lnTo>
                  <a:lnTo>
                    <a:pt x="168" y="159"/>
                  </a:lnTo>
                  <a:lnTo>
                    <a:pt x="164" y="164"/>
                  </a:lnTo>
                  <a:lnTo>
                    <a:pt x="164" y="164"/>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09">
              <a:extLst>
                <a:ext uri="{FF2B5EF4-FFF2-40B4-BE49-F238E27FC236}">
                  <a16:creationId xmlns:a16="http://schemas.microsoft.com/office/drawing/2014/main" id="{60F7DF33-418A-979C-3D1A-22170CFE4E8C}"/>
                </a:ext>
              </a:extLst>
            </p:cNvPr>
            <p:cNvSpPr>
              <a:spLocks/>
            </p:cNvSpPr>
            <p:nvPr/>
          </p:nvSpPr>
          <p:spPr bwMode="auto">
            <a:xfrm>
              <a:off x="3795713" y="673100"/>
              <a:ext cx="209550" cy="209550"/>
            </a:xfrm>
            <a:custGeom>
              <a:avLst/>
              <a:gdLst>
                <a:gd name="T0" fmla="*/ 128 w 132"/>
                <a:gd name="T1" fmla="*/ 129 h 132"/>
                <a:gd name="T2" fmla="*/ 128 w 132"/>
                <a:gd name="T3" fmla="*/ 129 h 132"/>
                <a:gd name="T4" fmla="*/ 123 w 132"/>
                <a:gd name="T5" fmla="*/ 131 h 132"/>
                <a:gd name="T6" fmla="*/ 118 w 132"/>
                <a:gd name="T7" fmla="*/ 132 h 132"/>
                <a:gd name="T8" fmla="*/ 113 w 132"/>
                <a:gd name="T9" fmla="*/ 131 h 132"/>
                <a:gd name="T10" fmla="*/ 108 w 132"/>
                <a:gd name="T11" fmla="*/ 129 h 132"/>
                <a:gd name="T12" fmla="*/ 4 w 132"/>
                <a:gd name="T13" fmla="*/ 23 h 132"/>
                <a:gd name="T14" fmla="*/ 4 w 132"/>
                <a:gd name="T15" fmla="*/ 23 h 132"/>
                <a:gd name="T16" fmla="*/ 1 w 132"/>
                <a:gd name="T17" fmla="*/ 19 h 132"/>
                <a:gd name="T18" fmla="*/ 0 w 132"/>
                <a:gd name="T19" fmla="*/ 14 h 132"/>
                <a:gd name="T20" fmla="*/ 1 w 132"/>
                <a:gd name="T21" fmla="*/ 9 h 132"/>
                <a:gd name="T22" fmla="*/ 4 w 132"/>
                <a:gd name="T23" fmla="*/ 4 h 132"/>
                <a:gd name="T24" fmla="*/ 4 w 132"/>
                <a:gd name="T25" fmla="*/ 4 h 132"/>
                <a:gd name="T26" fmla="*/ 8 w 132"/>
                <a:gd name="T27" fmla="*/ 2 h 132"/>
                <a:gd name="T28" fmla="*/ 13 w 132"/>
                <a:gd name="T29" fmla="*/ 0 h 132"/>
                <a:gd name="T30" fmla="*/ 18 w 132"/>
                <a:gd name="T31" fmla="*/ 2 h 132"/>
                <a:gd name="T32" fmla="*/ 23 w 132"/>
                <a:gd name="T33" fmla="*/ 4 h 132"/>
                <a:gd name="T34" fmla="*/ 128 w 132"/>
                <a:gd name="T35" fmla="*/ 109 h 132"/>
                <a:gd name="T36" fmla="*/ 128 w 132"/>
                <a:gd name="T37" fmla="*/ 109 h 132"/>
                <a:gd name="T38" fmla="*/ 131 w 132"/>
                <a:gd name="T39" fmla="*/ 114 h 132"/>
                <a:gd name="T40" fmla="*/ 132 w 132"/>
                <a:gd name="T41" fmla="*/ 119 h 132"/>
                <a:gd name="T42" fmla="*/ 131 w 132"/>
                <a:gd name="T43" fmla="*/ 124 h 132"/>
                <a:gd name="T44" fmla="*/ 128 w 132"/>
                <a:gd name="T45" fmla="*/ 129 h 132"/>
                <a:gd name="T46" fmla="*/ 128 w 132"/>
                <a:gd name="T47"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32">
                  <a:moveTo>
                    <a:pt x="128" y="129"/>
                  </a:moveTo>
                  <a:lnTo>
                    <a:pt x="128" y="129"/>
                  </a:lnTo>
                  <a:lnTo>
                    <a:pt x="123" y="131"/>
                  </a:lnTo>
                  <a:lnTo>
                    <a:pt x="118" y="132"/>
                  </a:lnTo>
                  <a:lnTo>
                    <a:pt x="113" y="131"/>
                  </a:lnTo>
                  <a:lnTo>
                    <a:pt x="108" y="129"/>
                  </a:lnTo>
                  <a:lnTo>
                    <a:pt x="4" y="23"/>
                  </a:lnTo>
                  <a:lnTo>
                    <a:pt x="4" y="23"/>
                  </a:lnTo>
                  <a:lnTo>
                    <a:pt x="1" y="19"/>
                  </a:lnTo>
                  <a:lnTo>
                    <a:pt x="0" y="14"/>
                  </a:lnTo>
                  <a:lnTo>
                    <a:pt x="1" y="9"/>
                  </a:lnTo>
                  <a:lnTo>
                    <a:pt x="4" y="4"/>
                  </a:lnTo>
                  <a:lnTo>
                    <a:pt x="4" y="4"/>
                  </a:lnTo>
                  <a:lnTo>
                    <a:pt x="8" y="2"/>
                  </a:lnTo>
                  <a:lnTo>
                    <a:pt x="13" y="0"/>
                  </a:lnTo>
                  <a:lnTo>
                    <a:pt x="18" y="2"/>
                  </a:lnTo>
                  <a:lnTo>
                    <a:pt x="23" y="4"/>
                  </a:lnTo>
                  <a:lnTo>
                    <a:pt x="128" y="109"/>
                  </a:lnTo>
                  <a:lnTo>
                    <a:pt x="128" y="109"/>
                  </a:lnTo>
                  <a:lnTo>
                    <a:pt x="131" y="114"/>
                  </a:lnTo>
                  <a:lnTo>
                    <a:pt x="132" y="119"/>
                  </a:lnTo>
                  <a:lnTo>
                    <a:pt x="131" y="124"/>
                  </a:lnTo>
                  <a:lnTo>
                    <a:pt x="128" y="129"/>
                  </a:lnTo>
                  <a:lnTo>
                    <a:pt x="128" y="129"/>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210">
              <a:extLst>
                <a:ext uri="{FF2B5EF4-FFF2-40B4-BE49-F238E27FC236}">
                  <a16:creationId xmlns:a16="http://schemas.microsoft.com/office/drawing/2014/main" id="{85642058-F27D-C21F-EEEA-C7DD61144F10}"/>
                </a:ext>
              </a:extLst>
            </p:cNvPr>
            <p:cNvSpPr>
              <a:spLocks/>
            </p:cNvSpPr>
            <p:nvPr/>
          </p:nvSpPr>
          <p:spPr bwMode="auto">
            <a:xfrm>
              <a:off x="3392488" y="244475"/>
              <a:ext cx="427038" cy="427038"/>
            </a:xfrm>
            <a:custGeom>
              <a:avLst/>
              <a:gdLst>
                <a:gd name="T0" fmla="*/ 39 w 269"/>
                <a:gd name="T1" fmla="*/ 40 h 269"/>
                <a:gd name="T2" fmla="*/ 39 w 269"/>
                <a:gd name="T3" fmla="*/ 40 h 269"/>
                <a:gd name="T4" fmla="*/ 59 w 269"/>
                <a:gd name="T5" fmla="*/ 24 h 269"/>
                <a:gd name="T6" fmla="*/ 82 w 269"/>
                <a:gd name="T7" fmla="*/ 11 h 269"/>
                <a:gd name="T8" fmla="*/ 107 w 269"/>
                <a:gd name="T9" fmla="*/ 4 h 269"/>
                <a:gd name="T10" fmla="*/ 134 w 269"/>
                <a:gd name="T11" fmla="*/ 0 h 269"/>
                <a:gd name="T12" fmla="*/ 148 w 269"/>
                <a:gd name="T13" fmla="*/ 1 h 269"/>
                <a:gd name="T14" fmla="*/ 174 w 269"/>
                <a:gd name="T15" fmla="*/ 6 h 269"/>
                <a:gd name="T16" fmla="*/ 198 w 269"/>
                <a:gd name="T17" fmla="*/ 17 h 269"/>
                <a:gd name="T18" fmla="*/ 219 w 269"/>
                <a:gd name="T19" fmla="*/ 31 h 269"/>
                <a:gd name="T20" fmla="*/ 238 w 269"/>
                <a:gd name="T21" fmla="*/ 50 h 269"/>
                <a:gd name="T22" fmla="*/ 251 w 269"/>
                <a:gd name="T23" fmla="*/ 72 h 269"/>
                <a:gd name="T24" fmla="*/ 262 w 269"/>
                <a:gd name="T25" fmla="*/ 95 h 269"/>
                <a:gd name="T26" fmla="*/ 267 w 269"/>
                <a:gd name="T27" fmla="*/ 121 h 269"/>
                <a:gd name="T28" fmla="*/ 269 w 269"/>
                <a:gd name="T29" fmla="*/ 136 h 269"/>
                <a:gd name="T30" fmla="*/ 265 w 269"/>
                <a:gd name="T31" fmla="*/ 162 h 269"/>
                <a:gd name="T32" fmla="*/ 258 w 269"/>
                <a:gd name="T33" fmla="*/ 186 h 269"/>
                <a:gd name="T34" fmla="*/ 245 w 269"/>
                <a:gd name="T35" fmla="*/ 210 h 269"/>
                <a:gd name="T36" fmla="*/ 229 w 269"/>
                <a:gd name="T37" fmla="*/ 230 h 269"/>
                <a:gd name="T38" fmla="*/ 219 w 269"/>
                <a:gd name="T39" fmla="*/ 240 h 269"/>
                <a:gd name="T40" fmla="*/ 197 w 269"/>
                <a:gd name="T41" fmla="*/ 253 h 269"/>
                <a:gd name="T42" fmla="*/ 172 w 269"/>
                <a:gd name="T43" fmla="*/ 264 h 269"/>
                <a:gd name="T44" fmla="*/ 147 w 269"/>
                <a:gd name="T45" fmla="*/ 269 h 269"/>
                <a:gd name="T46" fmla="*/ 133 w 269"/>
                <a:gd name="T47" fmla="*/ 269 h 269"/>
                <a:gd name="T48" fmla="*/ 107 w 269"/>
                <a:gd name="T49" fmla="*/ 267 h 269"/>
                <a:gd name="T50" fmla="*/ 82 w 269"/>
                <a:gd name="T51" fmla="*/ 259 h 269"/>
                <a:gd name="T52" fmla="*/ 59 w 269"/>
                <a:gd name="T53" fmla="*/ 247 h 269"/>
                <a:gd name="T54" fmla="*/ 39 w 269"/>
                <a:gd name="T55" fmla="*/ 230 h 269"/>
                <a:gd name="T56" fmla="*/ 29 w 269"/>
                <a:gd name="T57" fmla="*/ 220 h 269"/>
                <a:gd name="T58" fmla="*/ 15 w 269"/>
                <a:gd name="T59" fmla="*/ 198 h 269"/>
                <a:gd name="T60" fmla="*/ 5 w 269"/>
                <a:gd name="T61" fmla="*/ 174 h 269"/>
                <a:gd name="T62" fmla="*/ 0 w 269"/>
                <a:gd name="T63" fmla="*/ 148 h 269"/>
                <a:gd name="T64" fmla="*/ 0 w 269"/>
                <a:gd name="T65" fmla="*/ 135 h 269"/>
                <a:gd name="T66" fmla="*/ 2 w 269"/>
                <a:gd name="T67" fmla="*/ 109 h 269"/>
                <a:gd name="T68" fmla="*/ 10 w 269"/>
                <a:gd name="T69" fmla="*/ 84 h 269"/>
                <a:gd name="T70" fmla="*/ 22 w 269"/>
                <a:gd name="T71" fmla="*/ 61 h 269"/>
                <a:gd name="T72" fmla="*/ 39 w 269"/>
                <a:gd name="T73" fmla="*/ 4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9" h="269">
                  <a:moveTo>
                    <a:pt x="39" y="40"/>
                  </a:moveTo>
                  <a:lnTo>
                    <a:pt x="39" y="40"/>
                  </a:lnTo>
                  <a:lnTo>
                    <a:pt x="39" y="40"/>
                  </a:lnTo>
                  <a:lnTo>
                    <a:pt x="39" y="40"/>
                  </a:lnTo>
                  <a:lnTo>
                    <a:pt x="49" y="31"/>
                  </a:lnTo>
                  <a:lnTo>
                    <a:pt x="59" y="24"/>
                  </a:lnTo>
                  <a:lnTo>
                    <a:pt x="70" y="16"/>
                  </a:lnTo>
                  <a:lnTo>
                    <a:pt x="82" y="11"/>
                  </a:lnTo>
                  <a:lnTo>
                    <a:pt x="95" y="6"/>
                  </a:lnTo>
                  <a:lnTo>
                    <a:pt x="107" y="4"/>
                  </a:lnTo>
                  <a:lnTo>
                    <a:pt x="121" y="1"/>
                  </a:lnTo>
                  <a:lnTo>
                    <a:pt x="134" y="0"/>
                  </a:lnTo>
                  <a:lnTo>
                    <a:pt x="134" y="0"/>
                  </a:lnTo>
                  <a:lnTo>
                    <a:pt x="148" y="1"/>
                  </a:lnTo>
                  <a:lnTo>
                    <a:pt x="161" y="4"/>
                  </a:lnTo>
                  <a:lnTo>
                    <a:pt x="174" y="6"/>
                  </a:lnTo>
                  <a:lnTo>
                    <a:pt x="186" y="11"/>
                  </a:lnTo>
                  <a:lnTo>
                    <a:pt x="198" y="17"/>
                  </a:lnTo>
                  <a:lnTo>
                    <a:pt x="209" y="24"/>
                  </a:lnTo>
                  <a:lnTo>
                    <a:pt x="219" y="31"/>
                  </a:lnTo>
                  <a:lnTo>
                    <a:pt x="229" y="40"/>
                  </a:lnTo>
                  <a:lnTo>
                    <a:pt x="238" y="50"/>
                  </a:lnTo>
                  <a:lnTo>
                    <a:pt x="245" y="61"/>
                  </a:lnTo>
                  <a:lnTo>
                    <a:pt x="251" y="72"/>
                  </a:lnTo>
                  <a:lnTo>
                    <a:pt x="258" y="83"/>
                  </a:lnTo>
                  <a:lnTo>
                    <a:pt x="262" y="95"/>
                  </a:lnTo>
                  <a:lnTo>
                    <a:pt x="265" y="109"/>
                  </a:lnTo>
                  <a:lnTo>
                    <a:pt x="267" y="121"/>
                  </a:lnTo>
                  <a:lnTo>
                    <a:pt x="269" y="136"/>
                  </a:lnTo>
                  <a:lnTo>
                    <a:pt x="269" y="136"/>
                  </a:lnTo>
                  <a:lnTo>
                    <a:pt x="267" y="148"/>
                  </a:lnTo>
                  <a:lnTo>
                    <a:pt x="265" y="162"/>
                  </a:lnTo>
                  <a:lnTo>
                    <a:pt x="262" y="174"/>
                  </a:lnTo>
                  <a:lnTo>
                    <a:pt x="258" y="186"/>
                  </a:lnTo>
                  <a:lnTo>
                    <a:pt x="253" y="199"/>
                  </a:lnTo>
                  <a:lnTo>
                    <a:pt x="245" y="210"/>
                  </a:lnTo>
                  <a:lnTo>
                    <a:pt x="238" y="220"/>
                  </a:lnTo>
                  <a:lnTo>
                    <a:pt x="229" y="230"/>
                  </a:lnTo>
                  <a:lnTo>
                    <a:pt x="229" y="230"/>
                  </a:lnTo>
                  <a:lnTo>
                    <a:pt x="219" y="240"/>
                  </a:lnTo>
                  <a:lnTo>
                    <a:pt x="208" y="247"/>
                  </a:lnTo>
                  <a:lnTo>
                    <a:pt x="197" y="253"/>
                  </a:lnTo>
                  <a:lnTo>
                    <a:pt x="185" y="259"/>
                  </a:lnTo>
                  <a:lnTo>
                    <a:pt x="172" y="264"/>
                  </a:lnTo>
                  <a:lnTo>
                    <a:pt x="160" y="267"/>
                  </a:lnTo>
                  <a:lnTo>
                    <a:pt x="147" y="269"/>
                  </a:lnTo>
                  <a:lnTo>
                    <a:pt x="133" y="269"/>
                  </a:lnTo>
                  <a:lnTo>
                    <a:pt x="133" y="269"/>
                  </a:lnTo>
                  <a:lnTo>
                    <a:pt x="121" y="269"/>
                  </a:lnTo>
                  <a:lnTo>
                    <a:pt x="107" y="267"/>
                  </a:lnTo>
                  <a:lnTo>
                    <a:pt x="95" y="263"/>
                  </a:lnTo>
                  <a:lnTo>
                    <a:pt x="82" y="259"/>
                  </a:lnTo>
                  <a:lnTo>
                    <a:pt x="70" y="253"/>
                  </a:lnTo>
                  <a:lnTo>
                    <a:pt x="59" y="247"/>
                  </a:lnTo>
                  <a:lnTo>
                    <a:pt x="49" y="238"/>
                  </a:lnTo>
                  <a:lnTo>
                    <a:pt x="39" y="230"/>
                  </a:lnTo>
                  <a:lnTo>
                    <a:pt x="39" y="230"/>
                  </a:lnTo>
                  <a:lnTo>
                    <a:pt x="29" y="220"/>
                  </a:lnTo>
                  <a:lnTo>
                    <a:pt x="22" y="209"/>
                  </a:lnTo>
                  <a:lnTo>
                    <a:pt x="15" y="198"/>
                  </a:lnTo>
                  <a:lnTo>
                    <a:pt x="10" y="186"/>
                  </a:lnTo>
                  <a:lnTo>
                    <a:pt x="5" y="174"/>
                  </a:lnTo>
                  <a:lnTo>
                    <a:pt x="2" y="162"/>
                  </a:lnTo>
                  <a:lnTo>
                    <a:pt x="0" y="148"/>
                  </a:lnTo>
                  <a:lnTo>
                    <a:pt x="0" y="135"/>
                  </a:lnTo>
                  <a:lnTo>
                    <a:pt x="0" y="135"/>
                  </a:lnTo>
                  <a:lnTo>
                    <a:pt x="0" y="121"/>
                  </a:lnTo>
                  <a:lnTo>
                    <a:pt x="2" y="109"/>
                  </a:lnTo>
                  <a:lnTo>
                    <a:pt x="5" y="96"/>
                  </a:lnTo>
                  <a:lnTo>
                    <a:pt x="10" y="84"/>
                  </a:lnTo>
                  <a:lnTo>
                    <a:pt x="16" y="72"/>
                  </a:lnTo>
                  <a:lnTo>
                    <a:pt x="22" y="61"/>
                  </a:lnTo>
                  <a:lnTo>
                    <a:pt x="29" y="50"/>
                  </a:lnTo>
                  <a:lnTo>
                    <a:pt x="39" y="40"/>
                  </a:lnTo>
                  <a:lnTo>
                    <a:pt x="39" y="40"/>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211">
              <a:extLst>
                <a:ext uri="{FF2B5EF4-FFF2-40B4-BE49-F238E27FC236}">
                  <a16:creationId xmlns:a16="http://schemas.microsoft.com/office/drawing/2014/main" id="{8046A54B-6490-2071-4C28-9D6048044C6F}"/>
                </a:ext>
              </a:extLst>
            </p:cNvPr>
            <p:cNvSpPr>
              <a:spLocks/>
            </p:cNvSpPr>
            <p:nvPr/>
          </p:nvSpPr>
          <p:spPr bwMode="auto">
            <a:xfrm>
              <a:off x="3446463" y="300038"/>
              <a:ext cx="317500" cy="317500"/>
            </a:xfrm>
            <a:custGeom>
              <a:avLst/>
              <a:gdLst>
                <a:gd name="T0" fmla="*/ 29 w 200"/>
                <a:gd name="T1" fmla="*/ 29 h 200"/>
                <a:gd name="T2" fmla="*/ 16 w 200"/>
                <a:gd name="T3" fmla="*/ 44 h 200"/>
                <a:gd name="T4" fmla="*/ 8 w 200"/>
                <a:gd name="T5" fmla="*/ 61 h 200"/>
                <a:gd name="T6" fmla="*/ 2 w 200"/>
                <a:gd name="T7" fmla="*/ 80 h 200"/>
                <a:gd name="T8" fmla="*/ 0 w 200"/>
                <a:gd name="T9" fmla="*/ 100 h 200"/>
                <a:gd name="T10" fmla="*/ 0 w 200"/>
                <a:gd name="T11" fmla="*/ 110 h 200"/>
                <a:gd name="T12" fmla="*/ 4 w 200"/>
                <a:gd name="T13" fmla="*/ 129 h 200"/>
                <a:gd name="T14" fmla="*/ 11 w 200"/>
                <a:gd name="T15" fmla="*/ 148 h 200"/>
                <a:gd name="T16" fmla="*/ 22 w 200"/>
                <a:gd name="T17" fmla="*/ 164 h 200"/>
                <a:gd name="T18" fmla="*/ 36 w 200"/>
                <a:gd name="T19" fmla="*/ 177 h 200"/>
                <a:gd name="T20" fmla="*/ 52 w 200"/>
                <a:gd name="T21" fmla="*/ 187 h 200"/>
                <a:gd name="T22" fmla="*/ 69 w 200"/>
                <a:gd name="T23" fmla="*/ 196 h 200"/>
                <a:gd name="T24" fmla="*/ 89 w 200"/>
                <a:gd name="T25" fmla="*/ 200 h 200"/>
                <a:gd name="T26" fmla="*/ 99 w 200"/>
                <a:gd name="T27" fmla="*/ 200 h 200"/>
                <a:gd name="T28" fmla="*/ 119 w 200"/>
                <a:gd name="T29" fmla="*/ 198 h 200"/>
                <a:gd name="T30" fmla="*/ 138 w 200"/>
                <a:gd name="T31" fmla="*/ 192 h 200"/>
                <a:gd name="T32" fmla="*/ 156 w 200"/>
                <a:gd name="T33" fmla="*/ 184 h 200"/>
                <a:gd name="T34" fmla="*/ 170 w 200"/>
                <a:gd name="T35" fmla="*/ 171 h 200"/>
                <a:gd name="T36" fmla="*/ 170 w 200"/>
                <a:gd name="T37" fmla="*/ 171 h 200"/>
                <a:gd name="T38" fmla="*/ 183 w 200"/>
                <a:gd name="T39" fmla="*/ 155 h 200"/>
                <a:gd name="T40" fmla="*/ 193 w 200"/>
                <a:gd name="T41" fmla="*/ 138 h 200"/>
                <a:gd name="T42" fmla="*/ 198 w 200"/>
                <a:gd name="T43" fmla="*/ 119 h 200"/>
                <a:gd name="T44" fmla="*/ 200 w 200"/>
                <a:gd name="T45" fmla="*/ 100 h 200"/>
                <a:gd name="T46" fmla="*/ 199 w 200"/>
                <a:gd name="T47" fmla="*/ 90 h 200"/>
                <a:gd name="T48" fmla="*/ 195 w 200"/>
                <a:gd name="T49" fmla="*/ 71 h 200"/>
                <a:gd name="T50" fmla="*/ 188 w 200"/>
                <a:gd name="T51" fmla="*/ 53 h 200"/>
                <a:gd name="T52" fmla="*/ 177 w 200"/>
                <a:gd name="T53" fmla="*/ 37 h 200"/>
                <a:gd name="T54" fmla="*/ 170 w 200"/>
                <a:gd name="T55" fmla="*/ 29 h 200"/>
                <a:gd name="T56" fmla="*/ 156 w 200"/>
                <a:gd name="T57" fmla="*/ 17 h 200"/>
                <a:gd name="T58" fmla="*/ 138 w 200"/>
                <a:gd name="T59" fmla="*/ 7 h 200"/>
                <a:gd name="T60" fmla="*/ 120 w 200"/>
                <a:gd name="T61" fmla="*/ 2 h 200"/>
                <a:gd name="T62" fmla="*/ 100 w 200"/>
                <a:gd name="T63" fmla="*/ 0 h 200"/>
                <a:gd name="T64" fmla="*/ 90 w 200"/>
                <a:gd name="T65" fmla="*/ 1 h 200"/>
                <a:gd name="T66" fmla="*/ 71 w 200"/>
                <a:gd name="T67" fmla="*/ 5 h 200"/>
                <a:gd name="T68" fmla="*/ 53 w 200"/>
                <a:gd name="T69" fmla="*/ 12 h 200"/>
                <a:gd name="T70" fmla="*/ 36 w 200"/>
                <a:gd name="T71" fmla="*/ 23 h 200"/>
                <a:gd name="T72" fmla="*/ 29 w 200"/>
                <a:gd name="T73" fmla="*/ 2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200">
                  <a:moveTo>
                    <a:pt x="29" y="29"/>
                  </a:moveTo>
                  <a:lnTo>
                    <a:pt x="29" y="29"/>
                  </a:lnTo>
                  <a:lnTo>
                    <a:pt x="22" y="37"/>
                  </a:lnTo>
                  <a:lnTo>
                    <a:pt x="16" y="44"/>
                  </a:lnTo>
                  <a:lnTo>
                    <a:pt x="11" y="53"/>
                  </a:lnTo>
                  <a:lnTo>
                    <a:pt x="8" y="61"/>
                  </a:lnTo>
                  <a:lnTo>
                    <a:pt x="4" y="71"/>
                  </a:lnTo>
                  <a:lnTo>
                    <a:pt x="2" y="80"/>
                  </a:lnTo>
                  <a:lnTo>
                    <a:pt x="0" y="90"/>
                  </a:lnTo>
                  <a:lnTo>
                    <a:pt x="0" y="100"/>
                  </a:lnTo>
                  <a:lnTo>
                    <a:pt x="0" y="100"/>
                  </a:lnTo>
                  <a:lnTo>
                    <a:pt x="0" y="110"/>
                  </a:lnTo>
                  <a:lnTo>
                    <a:pt x="2" y="119"/>
                  </a:lnTo>
                  <a:lnTo>
                    <a:pt x="4" y="129"/>
                  </a:lnTo>
                  <a:lnTo>
                    <a:pt x="8" y="139"/>
                  </a:lnTo>
                  <a:lnTo>
                    <a:pt x="11" y="148"/>
                  </a:lnTo>
                  <a:lnTo>
                    <a:pt x="16" y="155"/>
                  </a:lnTo>
                  <a:lnTo>
                    <a:pt x="22" y="164"/>
                  </a:lnTo>
                  <a:lnTo>
                    <a:pt x="29" y="170"/>
                  </a:lnTo>
                  <a:lnTo>
                    <a:pt x="36" y="177"/>
                  </a:lnTo>
                  <a:lnTo>
                    <a:pt x="43" y="182"/>
                  </a:lnTo>
                  <a:lnTo>
                    <a:pt x="52" y="187"/>
                  </a:lnTo>
                  <a:lnTo>
                    <a:pt x="61" y="192"/>
                  </a:lnTo>
                  <a:lnTo>
                    <a:pt x="69" y="196"/>
                  </a:lnTo>
                  <a:lnTo>
                    <a:pt x="79" y="198"/>
                  </a:lnTo>
                  <a:lnTo>
                    <a:pt x="89" y="200"/>
                  </a:lnTo>
                  <a:lnTo>
                    <a:pt x="99" y="200"/>
                  </a:lnTo>
                  <a:lnTo>
                    <a:pt x="99" y="200"/>
                  </a:lnTo>
                  <a:lnTo>
                    <a:pt x="110" y="200"/>
                  </a:lnTo>
                  <a:lnTo>
                    <a:pt x="119" y="198"/>
                  </a:lnTo>
                  <a:lnTo>
                    <a:pt x="129" y="196"/>
                  </a:lnTo>
                  <a:lnTo>
                    <a:pt x="138" y="192"/>
                  </a:lnTo>
                  <a:lnTo>
                    <a:pt x="147" y="188"/>
                  </a:lnTo>
                  <a:lnTo>
                    <a:pt x="156" y="184"/>
                  </a:lnTo>
                  <a:lnTo>
                    <a:pt x="163" y="177"/>
                  </a:lnTo>
                  <a:lnTo>
                    <a:pt x="170" y="171"/>
                  </a:lnTo>
                  <a:lnTo>
                    <a:pt x="170" y="171"/>
                  </a:lnTo>
                  <a:lnTo>
                    <a:pt x="170" y="171"/>
                  </a:lnTo>
                  <a:lnTo>
                    <a:pt x="177" y="164"/>
                  </a:lnTo>
                  <a:lnTo>
                    <a:pt x="183" y="155"/>
                  </a:lnTo>
                  <a:lnTo>
                    <a:pt x="188" y="147"/>
                  </a:lnTo>
                  <a:lnTo>
                    <a:pt x="193" y="138"/>
                  </a:lnTo>
                  <a:lnTo>
                    <a:pt x="195" y="129"/>
                  </a:lnTo>
                  <a:lnTo>
                    <a:pt x="198" y="119"/>
                  </a:lnTo>
                  <a:lnTo>
                    <a:pt x="199" y="110"/>
                  </a:lnTo>
                  <a:lnTo>
                    <a:pt x="200" y="100"/>
                  </a:lnTo>
                  <a:lnTo>
                    <a:pt x="200" y="100"/>
                  </a:lnTo>
                  <a:lnTo>
                    <a:pt x="199" y="90"/>
                  </a:lnTo>
                  <a:lnTo>
                    <a:pt x="198" y="81"/>
                  </a:lnTo>
                  <a:lnTo>
                    <a:pt x="195" y="71"/>
                  </a:lnTo>
                  <a:lnTo>
                    <a:pt x="193" y="61"/>
                  </a:lnTo>
                  <a:lnTo>
                    <a:pt x="188" y="53"/>
                  </a:lnTo>
                  <a:lnTo>
                    <a:pt x="183" y="45"/>
                  </a:lnTo>
                  <a:lnTo>
                    <a:pt x="177" y="37"/>
                  </a:lnTo>
                  <a:lnTo>
                    <a:pt x="170" y="29"/>
                  </a:lnTo>
                  <a:lnTo>
                    <a:pt x="170" y="29"/>
                  </a:lnTo>
                  <a:lnTo>
                    <a:pt x="163" y="23"/>
                  </a:lnTo>
                  <a:lnTo>
                    <a:pt x="156" y="17"/>
                  </a:lnTo>
                  <a:lnTo>
                    <a:pt x="147" y="12"/>
                  </a:lnTo>
                  <a:lnTo>
                    <a:pt x="138" y="7"/>
                  </a:lnTo>
                  <a:lnTo>
                    <a:pt x="129" y="5"/>
                  </a:lnTo>
                  <a:lnTo>
                    <a:pt x="120" y="2"/>
                  </a:lnTo>
                  <a:lnTo>
                    <a:pt x="110" y="1"/>
                  </a:lnTo>
                  <a:lnTo>
                    <a:pt x="100" y="0"/>
                  </a:lnTo>
                  <a:lnTo>
                    <a:pt x="100" y="0"/>
                  </a:lnTo>
                  <a:lnTo>
                    <a:pt x="90" y="1"/>
                  </a:lnTo>
                  <a:lnTo>
                    <a:pt x="80" y="2"/>
                  </a:lnTo>
                  <a:lnTo>
                    <a:pt x="71" y="5"/>
                  </a:lnTo>
                  <a:lnTo>
                    <a:pt x="62" y="7"/>
                  </a:lnTo>
                  <a:lnTo>
                    <a:pt x="53" y="12"/>
                  </a:lnTo>
                  <a:lnTo>
                    <a:pt x="45" y="17"/>
                  </a:lnTo>
                  <a:lnTo>
                    <a:pt x="36" y="23"/>
                  </a:lnTo>
                  <a:lnTo>
                    <a:pt x="29" y="29"/>
                  </a:lnTo>
                  <a:lnTo>
                    <a:pt x="29" y="29"/>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212">
              <a:extLst>
                <a:ext uri="{FF2B5EF4-FFF2-40B4-BE49-F238E27FC236}">
                  <a16:creationId xmlns:a16="http://schemas.microsoft.com/office/drawing/2014/main" id="{BA24B8DE-BB23-2E28-9C7D-4BCB8DB063C0}"/>
                </a:ext>
              </a:extLst>
            </p:cNvPr>
            <p:cNvSpPr>
              <a:spLocks/>
            </p:cNvSpPr>
            <p:nvPr/>
          </p:nvSpPr>
          <p:spPr bwMode="auto">
            <a:xfrm>
              <a:off x="3476625" y="300038"/>
              <a:ext cx="287338" cy="306388"/>
            </a:xfrm>
            <a:custGeom>
              <a:avLst/>
              <a:gdLst>
                <a:gd name="T0" fmla="*/ 151 w 181"/>
                <a:gd name="T1" fmla="*/ 29 h 193"/>
                <a:gd name="T2" fmla="*/ 137 w 181"/>
                <a:gd name="T3" fmla="*/ 17 h 193"/>
                <a:gd name="T4" fmla="*/ 119 w 181"/>
                <a:gd name="T5" fmla="*/ 7 h 193"/>
                <a:gd name="T6" fmla="*/ 101 w 181"/>
                <a:gd name="T7" fmla="*/ 2 h 193"/>
                <a:gd name="T8" fmla="*/ 81 w 181"/>
                <a:gd name="T9" fmla="*/ 0 h 193"/>
                <a:gd name="T10" fmla="*/ 70 w 181"/>
                <a:gd name="T11" fmla="*/ 1 h 193"/>
                <a:gd name="T12" fmla="*/ 59 w 181"/>
                <a:gd name="T13" fmla="*/ 2 h 193"/>
                <a:gd name="T14" fmla="*/ 43 w 181"/>
                <a:gd name="T15" fmla="*/ 11 h 193"/>
                <a:gd name="T16" fmla="*/ 29 w 181"/>
                <a:gd name="T17" fmla="*/ 23 h 193"/>
                <a:gd name="T18" fmla="*/ 23 w 181"/>
                <a:gd name="T19" fmla="*/ 31 h 193"/>
                <a:gd name="T20" fmla="*/ 12 w 181"/>
                <a:gd name="T21" fmla="*/ 47 h 193"/>
                <a:gd name="T22" fmla="*/ 5 w 181"/>
                <a:gd name="T23" fmla="*/ 64 h 193"/>
                <a:gd name="T24" fmla="*/ 1 w 181"/>
                <a:gd name="T25" fmla="*/ 84 h 193"/>
                <a:gd name="T26" fmla="*/ 0 w 181"/>
                <a:gd name="T27" fmla="*/ 93 h 193"/>
                <a:gd name="T28" fmla="*/ 2 w 181"/>
                <a:gd name="T29" fmla="*/ 113 h 193"/>
                <a:gd name="T30" fmla="*/ 7 w 181"/>
                <a:gd name="T31" fmla="*/ 133 h 193"/>
                <a:gd name="T32" fmla="*/ 17 w 181"/>
                <a:gd name="T33" fmla="*/ 149 h 193"/>
                <a:gd name="T34" fmla="*/ 29 w 181"/>
                <a:gd name="T35" fmla="*/ 164 h 193"/>
                <a:gd name="T36" fmla="*/ 44 w 181"/>
                <a:gd name="T37" fmla="*/ 176 h 193"/>
                <a:gd name="T38" fmla="*/ 61 w 181"/>
                <a:gd name="T39" fmla="*/ 186 h 193"/>
                <a:gd name="T40" fmla="*/ 80 w 181"/>
                <a:gd name="T41" fmla="*/ 191 h 193"/>
                <a:gd name="T42" fmla="*/ 100 w 181"/>
                <a:gd name="T43" fmla="*/ 193 h 193"/>
                <a:gd name="T44" fmla="*/ 111 w 181"/>
                <a:gd name="T45" fmla="*/ 193 h 193"/>
                <a:gd name="T46" fmla="*/ 122 w 181"/>
                <a:gd name="T47" fmla="*/ 191 h 193"/>
                <a:gd name="T48" fmla="*/ 138 w 181"/>
                <a:gd name="T49" fmla="*/ 182 h 193"/>
                <a:gd name="T50" fmla="*/ 151 w 181"/>
                <a:gd name="T51" fmla="*/ 171 h 193"/>
                <a:gd name="T52" fmla="*/ 151 w 181"/>
                <a:gd name="T53" fmla="*/ 171 h 193"/>
                <a:gd name="T54" fmla="*/ 164 w 181"/>
                <a:gd name="T55" fmla="*/ 155 h 193"/>
                <a:gd name="T56" fmla="*/ 174 w 181"/>
                <a:gd name="T57" fmla="*/ 138 h 193"/>
                <a:gd name="T58" fmla="*/ 179 w 181"/>
                <a:gd name="T59" fmla="*/ 119 h 193"/>
                <a:gd name="T60" fmla="*/ 181 w 181"/>
                <a:gd name="T61" fmla="*/ 100 h 193"/>
                <a:gd name="T62" fmla="*/ 180 w 181"/>
                <a:gd name="T63" fmla="*/ 90 h 193"/>
                <a:gd name="T64" fmla="*/ 176 w 181"/>
                <a:gd name="T65" fmla="*/ 71 h 193"/>
                <a:gd name="T66" fmla="*/ 169 w 181"/>
                <a:gd name="T67" fmla="*/ 53 h 193"/>
                <a:gd name="T68" fmla="*/ 158 w 181"/>
                <a:gd name="T69" fmla="*/ 37 h 193"/>
                <a:gd name="T70" fmla="*/ 151 w 181"/>
                <a:gd name="T71" fmla="*/ 2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193">
                  <a:moveTo>
                    <a:pt x="151" y="29"/>
                  </a:moveTo>
                  <a:lnTo>
                    <a:pt x="151" y="29"/>
                  </a:lnTo>
                  <a:lnTo>
                    <a:pt x="144" y="23"/>
                  </a:lnTo>
                  <a:lnTo>
                    <a:pt x="137" y="17"/>
                  </a:lnTo>
                  <a:lnTo>
                    <a:pt x="128" y="12"/>
                  </a:lnTo>
                  <a:lnTo>
                    <a:pt x="119" y="7"/>
                  </a:lnTo>
                  <a:lnTo>
                    <a:pt x="110" y="5"/>
                  </a:lnTo>
                  <a:lnTo>
                    <a:pt x="101" y="2"/>
                  </a:lnTo>
                  <a:lnTo>
                    <a:pt x="91" y="1"/>
                  </a:lnTo>
                  <a:lnTo>
                    <a:pt x="81" y="0"/>
                  </a:lnTo>
                  <a:lnTo>
                    <a:pt x="81" y="0"/>
                  </a:lnTo>
                  <a:lnTo>
                    <a:pt x="70" y="1"/>
                  </a:lnTo>
                  <a:lnTo>
                    <a:pt x="59" y="2"/>
                  </a:lnTo>
                  <a:lnTo>
                    <a:pt x="59" y="2"/>
                  </a:lnTo>
                  <a:lnTo>
                    <a:pt x="50" y="7"/>
                  </a:lnTo>
                  <a:lnTo>
                    <a:pt x="43" y="11"/>
                  </a:lnTo>
                  <a:lnTo>
                    <a:pt x="36" y="17"/>
                  </a:lnTo>
                  <a:lnTo>
                    <a:pt x="29" y="23"/>
                  </a:lnTo>
                  <a:lnTo>
                    <a:pt x="29" y="23"/>
                  </a:lnTo>
                  <a:lnTo>
                    <a:pt x="23" y="31"/>
                  </a:lnTo>
                  <a:lnTo>
                    <a:pt x="17" y="38"/>
                  </a:lnTo>
                  <a:lnTo>
                    <a:pt x="12" y="47"/>
                  </a:lnTo>
                  <a:lnTo>
                    <a:pt x="7" y="55"/>
                  </a:lnTo>
                  <a:lnTo>
                    <a:pt x="5" y="64"/>
                  </a:lnTo>
                  <a:lnTo>
                    <a:pt x="2" y="74"/>
                  </a:lnTo>
                  <a:lnTo>
                    <a:pt x="1" y="84"/>
                  </a:lnTo>
                  <a:lnTo>
                    <a:pt x="0" y="93"/>
                  </a:lnTo>
                  <a:lnTo>
                    <a:pt x="0" y="93"/>
                  </a:lnTo>
                  <a:lnTo>
                    <a:pt x="1" y="103"/>
                  </a:lnTo>
                  <a:lnTo>
                    <a:pt x="2" y="113"/>
                  </a:lnTo>
                  <a:lnTo>
                    <a:pt x="5" y="123"/>
                  </a:lnTo>
                  <a:lnTo>
                    <a:pt x="7" y="133"/>
                  </a:lnTo>
                  <a:lnTo>
                    <a:pt x="12" y="142"/>
                  </a:lnTo>
                  <a:lnTo>
                    <a:pt x="17" y="149"/>
                  </a:lnTo>
                  <a:lnTo>
                    <a:pt x="23" y="158"/>
                  </a:lnTo>
                  <a:lnTo>
                    <a:pt x="29" y="164"/>
                  </a:lnTo>
                  <a:lnTo>
                    <a:pt x="37" y="171"/>
                  </a:lnTo>
                  <a:lnTo>
                    <a:pt x="44" y="176"/>
                  </a:lnTo>
                  <a:lnTo>
                    <a:pt x="52" y="181"/>
                  </a:lnTo>
                  <a:lnTo>
                    <a:pt x="61" y="186"/>
                  </a:lnTo>
                  <a:lnTo>
                    <a:pt x="70" y="188"/>
                  </a:lnTo>
                  <a:lnTo>
                    <a:pt x="80" y="191"/>
                  </a:lnTo>
                  <a:lnTo>
                    <a:pt x="90" y="193"/>
                  </a:lnTo>
                  <a:lnTo>
                    <a:pt x="100" y="193"/>
                  </a:lnTo>
                  <a:lnTo>
                    <a:pt x="100" y="193"/>
                  </a:lnTo>
                  <a:lnTo>
                    <a:pt x="111" y="193"/>
                  </a:lnTo>
                  <a:lnTo>
                    <a:pt x="122" y="191"/>
                  </a:lnTo>
                  <a:lnTo>
                    <a:pt x="122" y="191"/>
                  </a:lnTo>
                  <a:lnTo>
                    <a:pt x="129" y="187"/>
                  </a:lnTo>
                  <a:lnTo>
                    <a:pt x="138" y="182"/>
                  </a:lnTo>
                  <a:lnTo>
                    <a:pt x="144" y="177"/>
                  </a:lnTo>
                  <a:lnTo>
                    <a:pt x="151" y="171"/>
                  </a:lnTo>
                  <a:lnTo>
                    <a:pt x="151" y="171"/>
                  </a:lnTo>
                  <a:lnTo>
                    <a:pt x="151" y="171"/>
                  </a:lnTo>
                  <a:lnTo>
                    <a:pt x="158" y="164"/>
                  </a:lnTo>
                  <a:lnTo>
                    <a:pt x="164" y="155"/>
                  </a:lnTo>
                  <a:lnTo>
                    <a:pt x="169" y="147"/>
                  </a:lnTo>
                  <a:lnTo>
                    <a:pt x="174" y="138"/>
                  </a:lnTo>
                  <a:lnTo>
                    <a:pt x="176" y="129"/>
                  </a:lnTo>
                  <a:lnTo>
                    <a:pt x="179" y="119"/>
                  </a:lnTo>
                  <a:lnTo>
                    <a:pt x="180" y="110"/>
                  </a:lnTo>
                  <a:lnTo>
                    <a:pt x="181" y="100"/>
                  </a:lnTo>
                  <a:lnTo>
                    <a:pt x="181" y="100"/>
                  </a:lnTo>
                  <a:lnTo>
                    <a:pt x="180" y="90"/>
                  </a:lnTo>
                  <a:lnTo>
                    <a:pt x="179" y="81"/>
                  </a:lnTo>
                  <a:lnTo>
                    <a:pt x="176" y="71"/>
                  </a:lnTo>
                  <a:lnTo>
                    <a:pt x="174" y="61"/>
                  </a:lnTo>
                  <a:lnTo>
                    <a:pt x="169" y="53"/>
                  </a:lnTo>
                  <a:lnTo>
                    <a:pt x="164" y="45"/>
                  </a:lnTo>
                  <a:lnTo>
                    <a:pt x="158" y="37"/>
                  </a:lnTo>
                  <a:lnTo>
                    <a:pt x="151" y="29"/>
                  </a:lnTo>
                  <a:lnTo>
                    <a:pt x="151"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13">
              <a:extLst>
                <a:ext uri="{FF2B5EF4-FFF2-40B4-BE49-F238E27FC236}">
                  <a16:creationId xmlns:a16="http://schemas.microsoft.com/office/drawing/2014/main" id="{FD53C9AF-5012-64A9-7B75-52C2FA2E35C0}"/>
                </a:ext>
              </a:extLst>
            </p:cNvPr>
            <p:cNvSpPr>
              <a:spLocks/>
            </p:cNvSpPr>
            <p:nvPr/>
          </p:nvSpPr>
          <p:spPr bwMode="auto">
            <a:xfrm>
              <a:off x="3719513" y="573088"/>
              <a:ext cx="87313" cy="90488"/>
            </a:xfrm>
            <a:custGeom>
              <a:avLst/>
              <a:gdLst>
                <a:gd name="T0" fmla="*/ 50 w 55"/>
                <a:gd name="T1" fmla="*/ 52 h 57"/>
                <a:gd name="T2" fmla="*/ 50 w 55"/>
                <a:gd name="T3" fmla="*/ 52 h 57"/>
                <a:gd name="T4" fmla="*/ 45 w 55"/>
                <a:gd name="T5" fmla="*/ 56 h 57"/>
                <a:gd name="T6" fmla="*/ 39 w 55"/>
                <a:gd name="T7" fmla="*/ 57 h 57"/>
                <a:gd name="T8" fmla="*/ 32 w 55"/>
                <a:gd name="T9" fmla="*/ 56 h 57"/>
                <a:gd name="T10" fmla="*/ 27 w 55"/>
                <a:gd name="T11" fmla="*/ 52 h 57"/>
                <a:gd name="T12" fmla="*/ 5 w 55"/>
                <a:gd name="T13" fmla="*/ 30 h 57"/>
                <a:gd name="T14" fmla="*/ 5 w 55"/>
                <a:gd name="T15" fmla="*/ 30 h 57"/>
                <a:gd name="T16" fmla="*/ 1 w 55"/>
                <a:gd name="T17" fmla="*/ 24 h 57"/>
                <a:gd name="T18" fmla="*/ 0 w 55"/>
                <a:gd name="T19" fmla="*/ 18 h 57"/>
                <a:gd name="T20" fmla="*/ 1 w 55"/>
                <a:gd name="T21" fmla="*/ 12 h 57"/>
                <a:gd name="T22" fmla="*/ 5 w 55"/>
                <a:gd name="T23" fmla="*/ 5 h 57"/>
                <a:gd name="T24" fmla="*/ 5 w 55"/>
                <a:gd name="T25" fmla="*/ 5 h 57"/>
                <a:gd name="T26" fmla="*/ 5 w 55"/>
                <a:gd name="T27" fmla="*/ 5 h 57"/>
                <a:gd name="T28" fmla="*/ 5 w 55"/>
                <a:gd name="T29" fmla="*/ 5 h 57"/>
                <a:gd name="T30" fmla="*/ 11 w 55"/>
                <a:gd name="T31" fmla="*/ 2 h 57"/>
                <a:gd name="T32" fmla="*/ 17 w 55"/>
                <a:gd name="T33" fmla="*/ 0 h 57"/>
                <a:gd name="T34" fmla="*/ 23 w 55"/>
                <a:gd name="T35" fmla="*/ 2 h 57"/>
                <a:gd name="T36" fmla="*/ 29 w 55"/>
                <a:gd name="T37" fmla="*/ 5 h 57"/>
                <a:gd name="T38" fmla="*/ 50 w 55"/>
                <a:gd name="T39" fmla="*/ 28 h 57"/>
                <a:gd name="T40" fmla="*/ 50 w 55"/>
                <a:gd name="T41" fmla="*/ 28 h 57"/>
                <a:gd name="T42" fmla="*/ 54 w 55"/>
                <a:gd name="T43" fmla="*/ 34 h 57"/>
                <a:gd name="T44" fmla="*/ 55 w 55"/>
                <a:gd name="T45" fmla="*/ 40 h 57"/>
                <a:gd name="T46" fmla="*/ 54 w 55"/>
                <a:gd name="T47" fmla="*/ 46 h 57"/>
                <a:gd name="T48" fmla="*/ 50 w 55"/>
                <a:gd name="T49" fmla="*/ 52 h 57"/>
                <a:gd name="T50" fmla="*/ 50 w 55"/>
                <a:gd name="T51" fmla="*/ 52 h 57"/>
                <a:gd name="T52" fmla="*/ 50 w 55"/>
                <a:gd name="T53" fmla="*/ 52 h 57"/>
                <a:gd name="T54" fmla="*/ 50 w 55"/>
                <a:gd name="T55" fmla="*/ 5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5" h="57">
                  <a:moveTo>
                    <a:pt x="50" y="52"/>
                  </a:moveTo>
                  <a:lnTo>
                    <a:pt x="50" y="52"/>
                  </a:lnTo>
                  <a:lnTo>
                    <a:pt x="45" y="56"/>
                  </a:lnTo>
                  <a:lnTo>
                    <a:pt x="39" y="57"/>
                  </a:lnTo>
                  <a:lnTo>
                    <a:pt x="32" y="56"/>
                  </a:lnTo>
                  <a:lnTo>
                    <a:pt x="27" y="52"/>
                  </a:lnTo>
                  <a:lnTo>
                    <a:pt x="5" y="30"/>
                  </a:lnTo>
                  <a:lnTo>
                    <a:pt x="5" y="30"/>
                  </a:lnTo>
                  <a:lnTo>
                    <a:pt x="1" y="24"/>
                  </a:lnTo>
                  <a:lnTo>
                    <a:pt x="0" y="18"/>
                  </a:lnTo>
                  <a:lnTo>
                    <a:pt x="1" y="12"/>
                  </a:lnTo>
                  <a:lnTo>
                    <a:pt x="5" y="5"/>
                  </a:lnTo>
                  <a:lnTo>
                    <a:pt x="5" y="5"/>
                  </a:lnTo>
                  <a:lnTo>
                    <a:pt x="5" y="5"/>
                  </a:lnTo>
                  <a:lnTo>
                    <a:pt x="5" y="5"/>
                  </a:lnTo>
                  <a:lnTo>
                    <a:pt x="11" y="2"/>
                  </a:lnTo>
                  <a:lnTo>
                    <a:pt x="17" y="0"/>
                  </a:lnTo>
                  <a:lnTo>
                    <a:pt x="23" y="2"/>
                  </a:lnTo>
                  <a:lnTo>
                    <a:pt x="29" y="5"/>
                  </a:lnTo>
                  <a:lnTo>
                    <a:pt x="50" y="28"/>
                  </a:lnTo>
                  <a:lnTo>
                    <a:pt x="50" y="28"/>
                  </a:lnTo>
                  <a:lnTo>
                    <a:pt x="54" y="34"/>
                  </a:lnTo>
                  <a:lnTo>
                    <a:pt x="55" y="40"/>
                  </a:lnTo>
                  <a:lnTo>
                    <a:pt x="54" y="46"/>
                  </a:lnTo>
                  <a:lnTo>
                    <a:pt x="50" y="52"/>
                  </a:lnTo>
                  <a:lnTo>
                    <a:pt x="50" y="52"/>
                  </a:lnTo>
                  <a:lnTo>
                    <a:pt x="50" y="52"/>
                  </a:lnTo>
                  <a:lnTo>
                    <a:pt x="50" y="52"/>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14">
              <a:extLst>
                <a:ext uri="{FF2B5EF4-FFF2-40B4-BE49-F238E27FC236}">
                  <a16:creationId xmlns:a16="http://schemas.microsoft.com/office/drawing/2014/main" id="{74236890-8A31-F50A-9E79-FA6E93F11628}"/>
                </a:ext>
              </a:extLst>
            </p:cNvPr>
            <p:cNvSpPr>
              <a:spLocks/>
            </p:cNvSpPr>
            <p:nvPr/>
          </p:nvSpPr>
          <p:spPr bwMode="auto">
            <a:xfrm>
              <a:off x="3603625" y="258763"/>
              <a:ext cx="201613" cy="401638"/>
            </a:xfrm>
            <a:custGeom>
              <a:avLst/>
              <a:gdLst>
                <a:gd name="T0" fmla="*/ 1 w 127"/>
                <a:gd name="T1" fmla="*/ 0 h 253"/>
                <a:gd name="T2" fmla="*/ 27 w 127"/>
                <a:gd name="T3" fmla="*/ 2 h 253"/>
                <a:gd name="T4" fmla="*/ 51 w 127"/>
                <a:gd name="T5" fmla="*/ 10 h 253"/>
                <a:gd name="T6" fmla="*/ 71 w 127"/>
                <a:gd name="T7" fmla="*/ 21 h 253"/>
                <a:gd name="T8" fmla="*/ 90 w 127"/>
                <a:gd name="T9" fmla="*/ 37 h 253"/>
                <a:gd name="T10" fmla="*/ 106 w 127"/>
                <a:gd name="T11" fmla="*/ 55 h 253"/>
                <a:gd name="T12" fmla="*/ 117 w 127"/>
                <a:gd name="T13" fmla="*/ 78 h 253"/>
                <a:gd name="T14" fmla="*/ 125 w 127"/>
                <a:gd name="T15" fmla="*/ 101 h 253"/>
                <a:gd name="T16" fmla="*/ 127 w 127"/>
                <a:gd name="T17" fmla="*/ 126 h 253"/>
                <a:gd name="T18" fmla="*/ 127 w 127"/>
                <a:gd name="T19" fmla="*/ 139 h 253"/>
                <a:gd name="T20" fmla="*/ 122 w 127"/>
                <a:gd name="T21" fmla="*/ 163 h 253"/>
                <a:gd name="T22" fmla="*/ 112 w 127"/>
                <a:gd name="T23" fmla="*/ 186 h 253"/>
                <a:gd name="T24" fmla="*/ 99 w 127"/>
                <a:gd name="T25" fmla="*/ 206 h 253"/>
                <a:gd name="T26" fmla="*/ 90 w 127"/>
                <a:gd name="T27" fmla="*/ 216 h 253"/>
                <a:gd name="T28" fmla="*/ 71 w 127"/>
                <a:gd name="T29" fmla="*/ 232 h 253"/>
                <a:gd name="T30" fmla="*/ 49 w 127"/>
                <a:gd name="T31" fmla="*/ 243 h 253"/>
                <a:gd name="T32" fmla="*/ 26 w 127"/>
                <a:gd name="T33" fmla="*/ 250 h 253"/>
                <a:gd name="T34" fmla="*/ 1 w 127"/>
                <a:gd name="T35" fmla="*/ 253 h 253"/>
                <a:gd name="T36" fmla="*/ 0 w 127"/>
                <a:gd name="T37" fmla="*/ 253 h 253"/>
                <a:gd name="T38" fmla="*/ 1 w 127"/>
                <a:gd name="T39" fmla="*/ 235 h 253"/>
                <a:gd name="T40" fmla="*/ 1 w 127"/>
                <a:gd name="T41" fmla="*/ 235 h 253"/>
                <a:gd name="T42" fmla="*/ 22 w 127"/>
                <a:gd name="T43" fmla="*/ 234 h 253"/>
                <a:gd name="T44" fmla="*/ 43 w 127"/>
                <a:gd name="T45" fmla="*/ 228 h 253"/>
                <a:gd name="T46" fmla="*/ 62 w 127"/>
                <a:gd name="T47" fmla="*/ 217 h 253"/>
                <a:gd name="T48" fmla="*/ 79 w 127"/>
                <a:gd name="T49" fmla="*/ 203 h 253"/>
                <a:gd name="T50" fmla="*/ 86 w 127"/>
                <a:gd name="T51" fmla="*/ 196 h 253"/>
                <a:gd name="T52" fmla="*/ 97 w 127"/>
                <a:gd name="T53" fmla="*/ 177 h 253"/>
                <a:gd name="T54" fmla="*/ 106 w 127"/>
                <a:gd name="T55" fmla="*/ 158 h 253"/>
                <a:gd name="T56" fmla="*/ 110 w 127"/>
                <a:gd name="T57" fmla="*/ 137 h 253"/>
                <a:gd name="T58" fmla="*/ 111 w 127"/>
                <a:gd name="T59" fmla="*/ 126 h 253"/>
                <a:gd name="T60" fmla="*/ 108 w 127"/>
                <a:gd name="T61" fmla="*/ 105 h 253"/>
                <a:gd name="T62" fmla="*/ 102 w 127"/>
                <a:gd name="T63" fmla="*/ 84 h 253"/>
                <a:gd name="T64" fmla="*/ 92 w 127"/>
                <a:gd name="T65" fmla="*/ 65 h 253"/>
                <a:gd name="T66" fmla="*/ 79 w 127"/>
                <a:gd name="T67" fmla="*/ 49 h 253"/>
                <a:gd name="T68" fmla="*/ 63 w 127"/>
                <a:gd name="T69" fmla="*/ 36 h 253"/>
                <a:gd name="T70" fmla="*/ 43 w 127"/>
                <a:gd name="T71" fmla="*/ 25 h 253"/>
                <a:gd name="T72" fmla="*/ 23 w 127"/>
                <a:gd name="T73" fmla="*/ 18 h 253"/>
                <a:gd name="T74" fmla="*/ 1 w 127"/>
                <a:gd name="T75" fmla="*/ 16 h 253"/>
                <a:gd name="T76" fmla="*/ 1 w 127"/>
                <a:gd name="T77"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7" h="253">
                  <a:moveTo>
                    <a:pt x="1" y="0"/>
                  </a:moveTo>
                  <a:lnTo>
                    <a:pt x="1" y="0"/>
                  </a:lnTo>
                  <a:lnTo>
                    <a:pt x="14" y="0"/>
                  </a:lnTo>
                  <a:lnTo>
                    <a:pt x="27" y="2"/>
                  </a:lnTo>
                  <a:lnTo>
                    <a:pt x="38" y="5"/>
                  </a:lnTo>
                  <a:lnTo>
                    <a:pt x="51" y="10"/>
                  </a:lnTo>
                  <a:lnTo>
                    <a:pt x="62" y="15"/>
                  </a:lnTo>
                  <a:lnTo>
                    <a:pt x="71" y="21"/>
                  </a:lnTo>
                  <a:lnTo>
                    <a:pt x="81" y="28"/>
                  </a:lnTo>
                  <a:lnTo>
                    <a:pt x="90" y="37"/>
                  </a:lnTo>
                  <a:lnTo>
                    <a:pt x="99" y="45"/>
                  </a:lnTo>
                  <a:lnTo>
                    <a:pt x="106" y="55"/>
                  </a:lnTo>
                  <a:lnTo>
                    <a:pt x="112" y="66"/>
                  </a:lnTo>
                  <a:lnTo>
                    <a:pt x="117" y="78"/>
                  </a:lnTo>
                  <a:lnTo>
                    <a:pt x="122" y="89"/>
                  </a:lnTo>
                  <a:lnTo>
                    <a:pt x="125" y="101"/>
                  </a:lnTo>
                  <a:lnTo>
                    <a:pt x="127" y="113"/>
                  </a:lnTo>
                  <a:lnTo>
                    <a:pt x="127" y="126"/>
                  </a:lnTo>
                  <a:lnTo>
                    <a:pt x="127" y="126"/>
                  </a:lnTo>
                  <a:lnTo>
                    <a:pt x="127" y="139"/>
                  </a:lnTo>
                  <a:lnTo>
                    <a:pt x="125" y="152"/>
                  </a:lnTo>
                  <a:lnTo>
                    <a:pt x="122" y="163"/>
                  </a:lnTo>
                  <a:lnTo>
                    <a:pt x="118" y="175"/>
                  </a:lnTo>
                  <a:lnTo>
                    <a:pt x="112" y="186"/>
                  </a:lnTo>
                  <a:lnTo>
                    <a:pt x="106" y="196"/>
                  </a:lnTo>
                  <a:lnTo>
                    <a:pt x="99" y="206"/>
                  </a:lnTo>
                  <a:lnTo>
                    <a:pt x="90" y="216"/>
                  </a:lnTo>
                  <a:lnTo>
                    <a:pt x="90" y="216"/>
                  </a:lnTo>
                  <a:lnTo>
                    <a:pt x="81" y="224"/>
                  </a:lnTo>
                  <a:lnTo>
                    <a:pt x="71" y="232"/>
                  </a:lnTo>
                  <a:lnTo>
                    <a:pt x="60" y="238"/>
                  </a:lnTo>
                  <a:lnTo>
                    <a:pt x="49" y="243"/>
                  </a:lnTo>
                  <a:lnTo>
                    <a:pt x="38" y="248"/>
                  </a:lnTo>
                  <a:lnTo>
                    <a:pt x="26" y="250"/>
                  </a:lnTo>
                  <a:lnTo>
                    <a:pt x="14" y="253"/>
                  </a:lnTo>
                  <a:lnTo>
                    <a:pt x="1" y="253"/>
                  </a:lnTo>
                  <a:lnTo>
                    <a:pt x="1" y="253"/>
                  </a:lnTo>
                  <a:lnTo>
                    <a:pt x="0" y="253"/>
                  </a:lnTo>
                  <a:lnTo>
                    <a:pt x="1" y="235"/>
                  </a:lnTo>
                  <a:lnTo>
                    <a:pt x="1" y="235"/>
                  </a:lnTo>
                  <a:lnTo>
                    <a:pt x="1" y="235"/>
                  </a:lnTo>
                  <a:lnTo>
                    <a:pt x="1" y="235"/>
                  </a:lnTo>
                  <a:lnTo>
                    <a:pt x="12" y="235"/>
                  </a:lnTo>
                  <a:lnTo>
                    <a:pt x="22" y="234"/>
                  </a:lnTo>
                  <a:lnTo>
                    <a:pt x="33" y="232"/>
                  </a:lnTo>
                  <a:lnTo>
                    <a:pt x="43" y="228"/>
                  </a:lnTo>
                  <a:lnTo>
                    <a:pt x="53" y="223"/>
                  </a:lnTo>
                  <a:lnTo>
                    <a:pt x="62" y="217"/>
                  </a:lnTo>
                  <a:lnTo>
                    <a:pt x="70" y="211"/>
                  </a:lnTo>
                  <a:lnTo>
                    <a:pt x="79" y="203"/>
                  </a:lnTo>
                  <a:lnTo>
                    <a:pt x="79" y="203"/>
                  </a:lnTo>
                  <a:lnTo>
                    <a:pt x="86" y="196"/>
                  </a:lnTo>
                  <a:lnTo>
                    <a:pt x="92" y="187"/>
                  </a:lnTo>
                  <a:lnTo>
                    <a:pt x="97" y="177"/>
                  </a:lnTo>
                  <a:lnTo>
                    <a:pt x="102" y="168"/>
                  </a:lnTo>
                  <a:lnTo>
                    <a:pt x="106" y="158"/>
                  </a:lnTo>
                  <a:lnTo>
                    <a:pt x="108" y="148"/>
                  </a:lnTo>
                  <a:lnTo>
                    <a:pt x="110" y="137"/>
                  </a:lnTo>
                  <a:lnTo>
                    <a:pt x="111" y="126"/>
                  </a:lnTo>
                  <a:lnTo>
                    <a:pt x="111" y="126"/>
                  </a:lnTo>
                  <a:lnTo>
                    <a:pt x="110" y="115"/>
                  </a:lnTo>
                  <a:lnTo>
                    <a:pt x="108" y="105"/>
                  </a:lnTo>
                  <a:lnTo>
                    <a:pt x="106" y="94"/>
                  </a:lnTo>
                  <a:lnTo>
                    <a:pt x="102" y="84"/>
                  </a:lnTo>
                  <a:lnTo>
                    <a:pt x="97" y="74"/>
                  </a:lnTo>
                  <a:lnTo>
                    <a:pt x="92" y="65"/>
                  </a:lnTo>
                  <a:lnTo>
                    <a:pt x="85" y="57"/>
                  </a:lnTo>
                  <a:lnTo>
                    <a:pt x="79" y="49"/>
                  </a:lnTo>
                  <a:lnTo>
                    <a:pt x="70" y="42"/>
                  </a:lnTo>
                  <a:lnTo>
                    <a:pt x="63" y="36"/>
                  </a:lnTo>
                  <a:lnTo>
                    <a:pt x="53" y="29"/>
                  </a:lnTo>
                  <a:lnTo>
                    <a:pt x="43" y="25"/>
                  </a:lnTo>
                  <a:lnTo>
                    <a:pt x="33" y="21"/>
                  </a:lnTo>
                  <a:lnTo>
                    <a:pt x="23" y="18"/>
                  </a:lnTo>
                  <a:lnTo>
                    <a:pt x="12" y="17"/>
                  </a:lnTo>
                  <a:lnTo>
                    <a:pt x="1" y="16"/>
                  </a:lnTo>
                  <a:lnTo>
                    <a:pt x="1" y="0"/>
                  </a:lnTo>
                  <a:lnTo>
                    <a:pt x="1" y="0"/>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15">
              <a:extLst>
                <a:ext uri="{FF2B5EF4-FFF2-40B4-BE49-F238E27FC236}">
                  <a16:creationId xmlns:a16="http://schemas.microsoft.com/office/drawing/2014/main" id="{10315B23-7978-349D-AAB0-4A21A6A16F0D}"/>
                </a:ext>
              </a:extLst>
            </p:cNvPr>
            <p:cNvSpPr>
              <a:spLocks/>
            </p:cNvSpPr>
            <p:nvPr/>
          </p:nvSpPr>
          <p:spPr bwMode="auto">
            <a:xfrm>
              <a:off x="3471863" y="323850"/>
              <a:ext cx="290513" cy="293688"/>
            </a:xfrm>
            <a:custGeom>
              <a:avLst/>
              <a:gdLst>
                <a:gd name="T0" fmla="*/ 72 w 183"/>
                <a:gd name="T1" fmla="*/ 162 h 185"/>
                <a:gd name="T2" fmla="*/ 74 w 183"/>
                <a:gd name="T3" fmla="*/ 144 h 185"/>
                <a:gd name="T4" fmla="*/ 79 w 183"/>
                <a:gd name="T5" fmla="*/ 128 h 185"/>
                <a:gd name="T6" fmla="*/ 88 w 183"/>
                <a:gd name="T7" fmla="*/ 113 h 185"/>
                <a:gd name="T8" fmla="*/ 98 w 183"/>
                <a:gd name="T9" fmla="*/ 99 h 185"/>
                <a:gd name="T10" fmla="*/ 111 w 183"/>
                <a:gd name="T11" fmla="*/ 88 h 185"/>
                <a:gd name="T12" fmla="*/ 126 w 183"/>
                <a:gd name="T13" fmla="*/ 81 h 185"/>
                <a:gd name="T14" fmla="*/ 143 w 183"/>
                <a:gd name="T15" fmla="*/ 75 h 185"/>
                <a:gd name="T16" fmla="*/ 161 w 183"/>
                <a:gd name="T17" fmla="*/ 74 h 185"/>
                <a:gd name="T18" fmla="*/ 172 w 183"/>
                <a:gd name="T19" fmla="*/ 75 h 185"/>
                <a:gd name="T20" fmla="*/ 183 w 183"/>
                <a:gd name="T21" fmla="*/ 76 h 185"/>
                <a:gd name="T22" fmla="*/ 180 w 183"/>
                <a:gd name="T23" fmla="*/ 59 h 185"/>
                <a:gd name="T24" fmla="*/ 174 w 183"/>
                <a:gd name="T25" fmla="*/ 43 h 185"/>
                <a:gd name="T26" fmla="*/ 166 w 183"/>
                <a:gd name="T27" fmla="*/ 28 h 185"/>
                <a:gd name="T28" fmla="*/ 154 w 183"/>
                <a:gd name="T29" fmla="*/ 14 h 185"/>
                <a:gd name="T30" fmla="*/ 145 w 183"/>
                <a:gd name="T31" fmla="*/ 7 h 185"/>
                <a:gd name="T32" fmla="*/ 135 w 183"/>
                <a:gd name="T33" fmla="*/ 0 h 185"/>
                <a:gd name="T34" fmla="*/ 134 w 183"/>
                <a:gd name="T35" fmla="*/ 4 h 185"/>
                <a:gd name="T36" fmla="*/ 134 w 183"/>
                <a:gd name="T37" fmla="*/ 25 h 185"/>
                <a:gd name="T38" fmla="*/ 113 w 183"/>
                <a:gd name="T39" fmla="*/ 30 h 185"/>
                <a:gd name="T40" fmla="*/ 103 w 183"/>
                <a:gd name="T41" fmla="*/ 14 h 185"/>
                <a:gd name="T42" fmla="*/ 98 w 183"/>
                <a:gd name="T43" fmla="*/ 9 h 185"/>
                <a:gd name="T44" fmla="*/ 90 w 183"/>
                <a:gd name="T45" fmla="*/ 11 h 185"/>
                <a:gd name="T46" fmla="*/ 61 w 183"/>
                <a:gd name="T47" fmla="*/ 28 h 185"/>
                <a:gd name="T48" fmla="*/ 57 w 183"/>
                <a:gd name="T49" fmla="*/ 33 h 185"/>
                <a:gd name="T50" fmla="*/ 58 w 183"/>
                <a:gd name="T51" fmla="*/ 39 h 185"/>
                <a:gd name="T52" fmla="*/ 68 w 183"/>
                <a:gd name="T53" fmla="*/ 58 h 185"/>
                <a:gd name="T54" fmla="*/ 53 w 183"/>
                <a:gd name="T55" fmla="*/ 72 h 185"/>
                <a:gd name="T56" fmla="*/ 36 w 183"/>
                <a:gd name="T57" fmla="*/ 62 h 185"/>
                <a:gd name="T58" fmla="*/ 30 w 183"/>
                <a:gd name="T59" fmla="*/ 62 h 185"/>
                <a:gd name="T60" fmla="*/ 25 w 183"/>
                <a:gd name="T61" fmla="*/ 66 h 185"/>
                <a:gd name="T62" fmla="*/ 8 w 183"/>
                <a:gd name="T63" fmla="*/ 96 h 185"/>
                <a:gd name="T64" fmla="*/ 6 w 183"/>
                <a:gd name="T65" fmla="*/ 102 h 185"/>
                <a:gd name="T66" fmla="*/ 10 w 183"/>
                <a:gd name="T67" fmla="*/ 107 h 185"/>
                <a:gd name="T68" fmla="*/ 29 w 183"/>
                <a:gd name="T69" fmla="*/ 118 h 185"/>
                <a:gd name="T70" fmla="*/ 23 w 183"/>
                <a:gd name="T71" fmla="*/ 139 h 185"/>
                <a:gd name="T72" fmla="*/ 3 w 183"/>
                <a:gd name="T73" fmla="*/ 139 h 185"/>
                <a:gd name="T74" fmla="*/ 0 w 183"/>
                <a:gd name="T75" fmla="*/ 139 h 185"/>
                <a:gd name="T76" fmla="*/ 14 w 183"/>
                <a:gd name="T77" fmla="*/ 156 h 185"/>
                <a:gd name="T78" fmla="*/ 32 w 183"/>
                <a:gd name="T79" fmla="*/ 170 h 185"/>
                <a:gd name="T80" fmla="*/ 52 w 183"/>
                <a:gd name="T81" fmla="*/ 180 h 185"/>
                <a:gd name="T82" fmla="*/ 76 w 183"/>
                <a:gd name="T83" fmla="*/ 185 h 185"/>
                <a:gd name="T84" fmla="*/ 73 w 183"/>
                <a:gd name="T85" fmla="*/ 173 h 185"/>
                <a:gd name="T86" fmla="*/ 72 w 183"/>
                <a:gd name="T87" fmla="*/ 16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3" h="185">
                  <a:moveTo>
                    <a:pt x="72" y="162"/>
                  </a:moveTo>
                  <a:lnTo>
                    <a:pt x="72" y="162"/>
                  </a:lnTo>
                  <a:lnTo>
                    <a:pt x="73" y="154"/>
                  </a:lnTo>
                  <a:lnTo>
                    <a:pt x="74" y="144"/>
                  </a:lnTo>
                  <a:lnTo>
                    <a:pt x="77" y="136"/>
                  </a:lnTo>
                  <a:lnTo>
                    <a:pt x="79" y="128"/>
                  </a:lnTo>
                  <a:lnTo>
                    <a:pt x="83" y="120"/>
                  </a:lnTo>
                  <a:lnTo>
                    <a:pt x="88" y="113"/>
                  </a:lnTo>
                  <a:lnTo>
                    <a:pt x="93" y="106"/>
                  </a:lnTo>
                  <a:lnTo>
                    <a:pt x="98" y="99"/>
                  </a:lnTo>
                  <a:lnTo>
                    <a:pt x="104" y="93"/>
                  </a:lnTo>
                  <a:lnTo>
                    <a:pt x="111" y="88"/>
                  </a:lnTo>
                  <a:lnTo>
                    <a:pt x="119" y="85"/>
                  </a:lnTo>
                  <a:lnTo>
                    <a:pt x="126" y="81"/>
                  </a:lnTo>
                  <a:lnTo>
                    <a:pt x="135" y="77"/>
                  </a:lnTo>
                  <a:lnTo>
                    <a:pt x="143" y="75"/>
                  </a:lnTo>
                  <a:lnTo>
                    <a:pt x="152" y="74"/>
                  </a:lnTo>
                  <a:lnTo>
                    <a:pt x="161" y="74"/>
                  </a:lnTo>
                  <a:lnTo>
                    <a:pt x="161" y="74"/>
                  </a:lnTo>
                  <a:lnTo>
                    <a:pt x="172" y="75"/>
                  </a:lnTo>
                  <a:lnTo>
                    <a:pt x="183" y="76"/>
                  </a:lnTo>
                  <a:lnTo>
                    <a:pt x="183" y="76"/>
                  </a:lnTo>
                  <a:lnTo>
                    <a:pt x="182" y="67"/>
                  </a:lnTo>
                  <a:lnTo>
                    <a:pt x="180" y="59"/>
                  </a:lnTo>
                  <a:lnTo>
                    <a:pt x="178" y="51"/>
                  </a:lnTo>
                  <a:lnTo>
                    <a:pt x="174" y="43"/>
                  </a:lnTo>
                  <a:lnTo>
                    <a:pt x="171" y="35"/>
                  </a:lnTo>
                  <a:lnTo>
                    <a:pt x="166" y="28"/>
                  </a:lnTo>
                  <a:lnTo>
                    <a:pt x="161" y="21"/>
                  </a:lnTo>
                  <a:lnTo>
                    <a:pt x="154" y="14"/>
                  </a:lnTo>
                  <a:lnTo>
                    <a:pt x="154" y="14"/>
                  </a:lnTo>
                  <a:lnTo>
                    <a:pt x="145" y="7"/>
                  </a:lnTo>
                  <a:lnTo>
                    <a:pt x="135" y="0"/>
                  </a:lnTo>
                  <a:lnTo>
                    <a:pt x="135" y="0"/>
                  </a:lnTo>
                  <a:lnTo>
                    <a:pt x="134" y="2"/>
                  </a:lnTo>
                  <a:lnTo>
                    <a:pt x="134" y="4"/>
                  </a:lnTo>
                  <a:lnTo>
                    <a:pt x="134" y="25"/>
                  </a:lnTo>
                  <a:lnTo>
                    <a:pt x="134" y="25"/>
                  </a:lnTo>
                  <a:lnTo>
                    <a:pt x="122" y="28"/>
                  </a:lnTo>
                  <a:lnTo>
                    <a:pt x="113" y="30"/>
                  </a:lnTo>
                  <a:lnTo>
                    <a:pt x="103" y="14"/>
                  </a:lnTo>
                  <a:lnTo>
                    <a:pt x="103" y="14"/>
                  </a:lnTo>
                  <a:lnTo>
                    <a:pt x="100" y="11"/>
                  </a:lnTo>
                  <a:lnTo>
                    <a:pt x="98" y="9"/>
                  </a:lnTo>
                  <a:lnTo>
                    <a:pt x="94" y="9"/>
                  </a:lnTo>
                  <a:lnTo>
                    <a:pt x="90" y="11"/>
                  </a:lnTo>
                  <a:lnTo>
                    <a:pt x="61" y="28"/>
                  </a:lnTo>
                  <a:lnTo>
                    <a:pt x="61" y="28"/>
                  </a:lnTo>
                  <a:lnTo>
                    <a:pt x="58" y="30"/>
                  </a:lnTo>
                  <a:lnTo>
                    <a:pt x="57" y="33"/>
                  </a:lnTo>
                  <a:lnTo>
                    <a:pt x="57" y="37"/>
                  </a:lnTo>
                  <a:lnTo>
                    <a:pt x="58" y="39"/>
                  </a:lnTo>
                  <a:lnTo>
                    <a:pt x="68" y="58"/>
                  </a:lnTo>
                  <a:lnTo>
                    <a:pt x="68" y="58"/>
                  </a:lnTo>
                  <a:lnTo>
                    <a:pt x="61" y="65"/>
                  </a:lnTo>
                  <a:lnTo>
                    <a:pt x="53" y="72"/>
                  </a:lnTo>
                  <a:lnTo>
                    <a:pt x="36" y="62"/>
                  </a:lnTo>
                  <a:lnTo>
                    <a:pt x="36" y="62"/>
                  </a:lnTo>
                  <a:lnTo>
                    <a:pt x="34" y="61"/>
                  </a:lnTo>
                  <a:lnTo>
                    <a:pt x="30" y="62"/>
                  </a:lnTo>
                  <a:lnTo>
                    <a:pt x="26" y="64"/>
                  </a:lnTo>
                  <a:lnTo>
                    <a:pt x="25" y="66"/>
                  </a:lnTo>
                  <a:lnTo>
                    <a:pt x="8" y="96"/>
                  </a:lnTo>
                  <a:lnTo>
                    <a:pt x="8" y="96"/>
                  </a:lnTo>
                  <a:lnTo>
                    <a:pt x="6" y="98"/>
                  </a:lnTo>
                  <a:lnTo>
                    <a:pt x="6" y="102"/>
                  </a:lnTo>
                  <a:lnTo>
                    <a:pt x="8" y="104"/>
                  </a:lnTo>
                  <a:lnTo>
                    <a:pt x="10" y="107"/>
                  </a:lnTo>
                  <a:lnTo>
                    <a:pt x="29" y="118"/>
                  </a:lnTo>
                  <a:lnTo>
                    <a:pt x="29" y="118"/>
                  </a:lnTo>
                  <a:lnTo>
                    <a:pt x="25" y="128"/>
                  </a:lnTo>
                  <a:lnTo>
                    <a:pt x="23" y="139"/>
                  </a:lnTo>
                  <a:lnTo>
                    <a:pt x="3" y="139"/>
                  </a:lnTo>
                  <a:lnTo>
                    <a:pt x="3" y="139"/>
                  </a:lnTo>
                  <a:lnTo>
                    <a:pt x="0" y="139"/>
                  </a:lnTo>
                  <a:lnTo>
                    <a:pt x="0" y="139"/>
                  </a:lnTo>
                  <a:lnTo>
                    <a:pt x="6" y="149"/>
                  </a:lnTo>
                  <a:lnTo>
                    <a:pt x="14" y="156"/>
                  </a:lnTo>
                  <a:lnTo>
                    <a:pt x="23" y="164"/>
                  </a:lnTo>
                  <a:lnTo>
                    <a:pt x="32" y="170"/>
                  </a:lnTo>
                  <a:lnTo>
                    <a:pt x="42" y="176"/>
                  </a:lnTo>
                  <a:lnTo>
                    <a:pt x="52" y="180"/>
                  </a:lnTo>
                  <a:lnTo>
                    <a:pt x="63" y="183"/>
                  </a:lnTo>
                  <a:lnTo>
                    <a:pt x="76" y="185"/>
                  </a:lnTo>
                  <a:lnTo>
                    <a:pt x="76" y="185"/>
                  </a:lnTo>
                  <a:lnTo>
                    <a:pt x="73" y="173"/>
                  </a:lnTo>
                  <a:lnTo>
                    <a:pt x="72" y="162"/>
                  </a:lnTo>
                  <a:lnTo>
                    <a:pt x="72" y="162"/>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9" name="Freeform 216">
              <a:extLst>
                <a:ext uri="{FF2B5EF4-FFF2-40B4-BE49-F238E27FC236}">
                  <a16:creationId xmlns:a16="http://schemas.microsoft.com/office/drawing/2014/main" id="{3B46204B-4EB3-4235-376A-969A109A7F3C}"/>
                </a:ext>
              </a:extLst>
            </p:cNvPr>
            <p:cNvSpPr>
              <a:spLocks/>
            </p:cNvSpPr>
            <p:nvPr/>
          </p:nvSpPr>
          <p:spPr bwMode="auto">
            <a:xfrm>
              <a:off x="3471863" y="544513"/>
              <a:ext cx="120650" cy="73025"/>
            </a:xfrm>
            <a:custGeom>
              <a:avLst/>
              <a:gdLst>
                <a:gd name="T0" fmla="*/ 23 w 76"/>
                <a:gd name="T1" fmla="*/ 0 h 46"/>
                <a:gd name="T2" fmla="*/ 23 w 76"/>
                <a:gd name="T3" fmla="*/ 0 h 46"/>
                <a:gd name="T4" fmla="*/ 23 w 76"/>
                <a:gd name="T5" fmla="*/ 0 h 46"/>
                <a:gd name="T6" fmla="*/ 3 w 76"/>
                <a:gd name="T7" fmla="*/ 0 h 46"/>
                <a:gd name="T8" fmla="*/ 3 w 76"/>
                <a:gd name="T9" fmla="*/ 0 h 46"/>
                <a:gd name="T10" fmla="*/ 0 w 76"/>
                <a:gd name="T11" fmla="*/ 0 h 46"/>
                <a:gd name="T12" fmla="*/ 0 w 76"/>
                <a:gd name="T13" fmla="*/ 0 h 46"/>
                <a:gd name="T14" fmla="*/ 3 w 76"/>
                <a:gd name="T15" fmla="*/ 4 h 46"/>
                <a:gd name="T16" fmla="*/ 3 w 76"/>
                <a:gd name="T17" fmla="*/ 4 h 46"/>
                <a:gd name="T18" fmla="*/ 4 w 76"/>
                <a:gd name="T19" fmla="*/ 6 h 46"/>
                <a:gd name="T20" fmla="*/ 4 w 76"/>
                <a:gd name="T21" fmla="*/ 6 h 46"/>
                <a:gd name="T22" fmla="*/ 9 w 76"/>
                <a:gd name="T23" fmla="*/ 12 h 46"/>
                <a:gd name="T24" fmla="*/ 9 w 76"/>
                <a:gd name="T25" fmla="*/ 12 h 46"/>
                <a:gd name="T26" fmla="*/ 11 w 76"/>
                <a:gd name="T27" fmla="*/ 15 h 46"/>
                <a:gd name="T28" fmla="*/ 11 w 76"/>
                <a:gd name="T29" fmla="*/ 15 h 46"/>
                <a:gd name="T30" fmla="*/ 15 w 76"/>
                <a:gd name="T31" fmla="*/ 18 h 46"/>
                <a:gd name="T32" fmla="*/ 15 w 76"/>
                <a:gd name="T33" fmla="*/ 18 h 46"/>
                <a:gd name="T34" fmla="*/ 19 w 76"/>
                <a:gd name="T35" fmla="*/ 22 h 46"/>
                <a:gd name="T36" fmla="*/ 19 w 76"/>
                <a:gd name="T37" fmla="*/ 22 h 46"/>
                <a:gd name="T38" fmla="*/ 23 w 76"/>
                <a:gd name="T39" fmla="*/ 25 h 46"/>
                <a:gd name="T40" fmla="*/ 23 w 76"/>
                <a:gd name="T41" fmla="*/ 25 h 46"/>
                <a:gd name="T42" fmla="*/ 25 w 76"/>
                <a:gd name="T43" fmla="*/ 27 h 46"/>
                <a:gd name="T44" fmla="*/ 25 w 76"/>
                <a:gd name="T45" fmla="*/ 27 h 46"/>
                <a:gd name="T46" fmla="*/ 30 w 76"/>
                <a:gd name="T47" fmla="*/ 31 h 46"/>
                <a:gd name="T48" fmla="*/ 30 w 76"/>
                <a:gd name="T49" fmla="*/ 31 h 46"/>
                <a:gd name="T50" fmla="*/ 34 w 76"/>
                <a:gd name="T51" fmla="*/ 32 h 46"/>
                <a:gd name="T52" fmla="*/ 34 w 76"/>
                <a:gd name="T53" fmla="*/ 32 h 46"/>
                <a:gd name="T54" fmla="*/ 40 w 76"/>
                <a:gd name="T55" fmla="*/ 36 h 46"/>
                <a:gd name="T56" fmla="*/ 40 w 76"/>
                <a:gd name="T57" fmla="*/ 36 h 46"/>
                <a:gd name="T58" fmla="*/ 42 w 76"/>
                <a:gd name="T59" fmla="*/ 37 h 46"/>
                <a:gd name="T60" fmla="*/ 42 w 76"/>
                <a:gd name="T61" fmla="*/ 37 h 46"/>
                <a:gd name="T62" fmla="*/ 47 w 76"/>
                <a:gd name="T63" fmla="*/ 39 h 46"/>
                <a:gd name="T64" fmla="*/ 47 w 76"/>
                <a:gd name="T65" fmla="*/ 39 h 46"/>
                <a:gd name="T66" fmla="*/ 51 w 76"/>
                <a:gd name="T67" fmla="*/ 41 h 46"/>
                <a:gd name="T68" fmla="*/ 51 w 76"/>
                <a:gd name="T69" fmla="*/ 41 h 46"/>
                <a:gd name="T70" fmla="*/ 57 w 76"/>
                <a:gd name="T71" fmla="*/ 42 h 46"/>
                <a:gd name="T72" fmla="*/ 57 w 76"/>
                <a:gd name="T73" fmla="*/ 42 h 46"/>
                <a:gd name="T74" fmla="*/ 60 w 76"/>
                <a:gd name="T75" fmla="*/ 43 h 46"/>
                <a:gd name="T76" fmla="*/ 60 w 76"/>
                <a:gd name="T77" fmla="*/ 43 h 46"/>
                <a:gd name="T78" fmla="*/ 67 w 76"/>
                <a:gd name="T79" fmla="*/ 44 h 46"/>
                <a:gd name="T80" fmla="*/ 67 w 76"/>
                <a:gd name="T81" fmla="*/ 44 h 46"/>
                <a:gd name="T82" fmla="*/ 71 w 76"/>
                <a:gd name="T83" fmla="*/ 46 h 46"/>
                <a:gd name="T84" fmla="*/ 71 w 76"/>
                <a:gd name="T85" fmla="*/ 46 h 46"/>
                <a:gd name="T86" fmla="*/ 76 w 76"/>
                <a:gd name="T87" fmla="*/ 46 h 46"/>
                <a:gd name="T88" fmla="*/ 76 w 76"/>
                <a:gd name="T89" fmla="*/ 46 h 46"/>
                <a:gd name="T90" fmla="*/ 73 w 76"/>
                <a:gd name="T91" fmla="*/ 34 h 46"/>
                <a:gd name="T92" fmla="*/ 73 w 76"/>
                <a:gd name="T93" fmla="*/ 34 h 46"/>
                <a:gd name="T94" fmla="*/ 58 w 76"/>
                <a:gd name="T95" fmla="*/ 30 h 46"/>
                <a:gd name="T96" fmla="*/ 45 w 76"/>
                <a:gd name="T97" fmla="*/ 21 h 46"/>
                <a:gd name="T98" fmla="*/ 34 w 76"/>
                <a:gd name="T99" fmla="*/ 11 h 46"/>
                <a:gd name="T100" fmla="*/ 23 w 76"/>
                <a:gd name="T101" fmla="*/ 0 h 46"/>
                <a:gd name="T102" fmla="*/ 23 w 76"/>
                <a:gd name="T10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 h="46">
                  <a:moveTo>
                    <a:pt x="23" y="0"/>
                  </a:moveTo>
                  <a:lnTo>
                    <a:pt x="23" y="0"/>
                  </a:lnTo>
                  <a:lnTo>
                    <a:pt x="23" y="0"/>
                  </a:lnTo>
                  <a:lnTo>
                    <a:pt x="3" y="0"/>
                  </a:lnTo>
                  <a:lnTo>
                    <a:pt x="3" y="0"/>
                  </a:lnTo>
                  <a:lnTo>
                    <a:pt x="0" y="0"/>
                  </a:lnTo>
                  <a:lnTo>
                    <a:pt x="0" y="0"/>
                  </a:lnTo>
                  <a:lnTo>
                    <a:pt x="3" y="4"/>
                  </a:lnTo>
                  <a:lnTo>
                    <a:pt x="3" y="4"/>
                  </a:lnTo>
                  <a:lnTo>
                    <a:pt x="4" y="6"/>
                  </a:lnTo>
                  <a:lnTo>
                    <a:pt x="4" y="6"/>
                  </a:lnTo>
                  <a:lnTo>
                    <a:pt x="9" y="12"/>
                  </a:lnTo>
                  <a:lnTo>
                    <a:pt x="9" y="12"/>
                  </a:lnTo>
                  <a:lnTo>
                    <a:pt x="11" y="15"/>
                  </a:lnTo>
                  <a:lnTo>
                    <a:pt x="11" y="15"/>
                  </a:lnTo>
                  <a:lnTo>
                    <a:pt x="15" y="18"/>
                  </a:lnTo>
                  <a:lnTo>
                    <a:pt x="15" y="18"/>
                  </a:lnTo>
                  <a:lnTo>
                    <a:pt x="19" y="22"/>
                  </a:lnTo>
                  <a:lnTo>
                    <a:pt x="19" y="22"/>
                  </a:lnTo>
                  <a:lnTo>
                    <a:pt x="23" y="25"/>
                  </a:lnTo>
                  <a:lnTo>
                    <a:pt x="23" y="25"/>
                  </a:lnTo>
                  <a:lnTo>
                    <a:pt x="25" y="27"/>
                  </a:lnTo>
                  <a:lnTo>
                    <a:pt x="25" y="27"/>
                  </a:lnTo>
                  <a:lnTo>
                    <a:pt x="30" y="31"/>
                  </a:lnTo>
                  <a:lnTo>
                    <a:pt x="30" y="31"/>
                  </a:lnTo>
                  <a:lnTo>
                    <a:pt x="34" y="32"/>
                  </a:lnTo>
                  <a:lnTo>
                    <a:pt x="34" y="32"/>
                  </a:lnTo>
                  <a:lnTo>
                    <a:pt x="40" y="36"/>
                  </a:lnTo>
                  <a:lnTo>
                    <a:pt x="40" y="36"/>
                  </a:lnTo>
                  <a:lnTo>
                    <a:pt x="42" y="37"/>
                  </a:lnTo>
                  <a:lnTo>
                    <a:pt x="42" y="37"/>
                  </a:lnTo>
                  <a:lnTo>
                    <a:pt x="47" y="39"/>
                  </a:lnTo>
                  <a:lnTo>
                    <a:pt x="47" y="39"/>
                  </a:lnTo>
                  <a:lnTo>
                    <a:pt x="51" y="41"/>
                  </a:lnTo>
                  <a:lnTo>
                    <a:pt x="51" y="41"/>
                  </a:lnTo>
                  <a:lnTo>
                    <a:pt x="57" y="42"/>
                  </a:lnTo>
                  <a:lnTo>
                    <a:pt x="57" y="42"/>
                  </a:lnTo>
                  <a:lnTo>
                    <a:pt x="60" y="43"/>
                  </a:lnTo>
                  <a:lnTo>
                    <a:pt x="60" y="43"/>
                  </a:lnTo>
                  <a:lnTo>
                    <a:pt x="67" y="44"/>
                  </a:lnTo>
                  <a:lnTo>
                    <a:pt x="67" y="44"/>
                  </a:lnTo>
                  <a:lnTo>
                    <a:pt x="71" y="46"/>
                  </a:lnTo>
                  <a:lnTo>
                    <a:pt x="71" y="46"/>
                  </a:lnTo>
                  <a:lnTo>
                    <a:pt x="76" y="46"/>
                  </a:lnTo>
                  <a:lnTo>
                    <a:pt x="76" y="46"/>
                  </a:lnTo>
                  <a:lnTo>
                    <a:pt x="73" y="34"/>
                  </a:lnTo>
                  <a:lnTo>
                    <a:pt x="73" y="34"/>
                  </a:lnTo>
                  <a:lnTo>
                    <a:pt x="58" y="30"/>
                  </a:lnTo>
                  <a:lnTo>
                    <a:pt x="45" y="21"/>
                  </a:lnTo>
                  <a:lnTo>
                    <a:pt x="34" y="11"/>
                  </a:lnTo>
                  <a:lnTo>
                    <a:pt x="23" y="0"/>
                  </a:lnTo>
                  <a:lnTo>
                    <a:pt x="23"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560191310"/>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46E2FDE-BF7B-883C-1214-B89AF8AC25EC}"/>
              </a:ext>
            </a:extLst>
          </p:cNvPr>
          <p:cNvSpPr txBox="1">
            <a:spLocks/>
          </p:cNvSpPr>
          <p:nvPr/>
        </p:nvSpPr>
        <p:spPr>
          <a:xfrm>
            <a:off x="228600" y="176586"/>
            <a:ext cx="11124959" cy="6596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200" b="1" dirty="0">
                <a:latin typeface="Open Sans"/>
                <a:ea typeface="Open Sans"/>
                <a:cs typeface="Open Sans"/>
              </a:rPr>
              <a:t>Principali richieste di chiarimento delle Scuole (3/9)</a:t>
            </a:r>
            <a:endParaRPr lang="it-IT" sz="2000" b="1" i="1" dirty="0"/>
          </a:p>
        </p:txBody>
      </p:sp>
      <p:sp>
        <p:nvSpPr>
          <p:cNvPr id="63" name="Rectangle 27">
            <a:extLst>
              <a:ext uri="{FF2B5EF4-FFF2-40B4-BE49-F238E27FC236}">
                <a16:creationId xmlns:a16="http://schemas.microsoft.com/office/drawing/2014/main" id="{76E926A8-9B60-98BC-71CD-4E9DC2AA9CDA}"/>
              </a:ext>
            </a:extLst>
          </p:cNvPr>
          <p:cNvSpPr/>
          <p:nvPr/>
        </p:nvSpPr>
        <p:spPr>
          <a:xfrm>
            <a:off x="1234200" y="1360800"/>
            <a:ext cx="9723600" cy="896727"/>
          </a:xfrm>
          <a:prstGeom prst="rect">
            <a:avLst/>
          </a:prstGeom>
          <a:solidFill>
            <a:schemeClr val="bg1"/>
          </a:solidFill>
          <a:ln w="19050">
            <a:solidFill>
              <a:srgbClr val="A6DAE9"/>
            </a:solidFill>
          </a:ln>
        </p:spPr>
        <p:style>
          <a:lnRef idx="2">
            <a:schemeClr val="accent1">
              <a:shade val="50000"/>
            </a:schemeClr>
          </a:lnRef>
          <a:fillRef idx="1">
            <a:schemeClr val="accent1"/>
          </a:fillRef>
          <a:effectRef idx="0">
            <a:schemeClr val="accent1"/>
          </a:effectRef>
          <a:fontRef idx="minor">
            <a:schemeClr val="lt1"/>
          </a:fontRef>
        </p:style>
        <p:txBody>
          <a:bodyPr lIns="216000" tIns="108000" rIns="216000" bIns="108000" rtlCol="0" anchor="ctr"/>
          <a:lstStyle/>
          <a:p>
            <a:pPr marL="0" marR="0" lvl="0" indent="0" algn="ctr" defTabSz="914400" rtl="0" eaLnBrk="1" fontAlgn="auto" latinLnBrk="0" hangingPunct="1">
              <a:lnSpc>
                <a:spcPct val="120000"/>
              </a:lnSpc>
              <a:spcBef>
                <a:spcPts val="300"/>
              </a:spcBef>
              <a:spcAft>
                <a:spcPts val="300"/>
              </a:spcAft>
              <a:buClrTx/>
              <a:buSzTx/>
              <a:buFontTx/>
              <a:buNone/>
              <a:tabLst/>
              <a:defRPr/>
            </a:pPr>
            <a:r>
              <a:rPr kumimoji="0" lang="it-IT" sz="1600" b="1"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sa fare se un gruppo di docenti sta ancora svolgendo la formazione?</a:t>
            </a:r>
          </a:p>
        </p:txBody>
      </p:sp>
      <p:sp>
        <p:nvSpPr>
          <p:cNvPr id="80" name="Triangolo isoscele 79">
            <a:extLst>
              <a:ext uri="{FF2B5EF4-FFF2-40B4-BE49-F238E27FC236}">
                <a16:creationId xmlns:a16="http://schemas.microsoft.com/office/drawing/2014/main" id="{E6550B41-BCCE-6997-D3E2-733B043F0847}"/>
              </a:ext>
            </a:extLst>
          </p:cNvPr>
          <p:cNvSpPr/>
          <p:nvPr/>
        </p:nvSpPr>
        <p:spPr>
          <a:xfrm rot="10800000">
            <a:off x="5167735" y="2410723"/>
            <a:ext cx="1856531" cy="517721"/>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1" name="Rectangle 27">
            <a:extLst>
              <a:ext uri="{FF2B5EF4-FFF2-40B4-BE49-F238E27FC236}">
                <a16:creationId xmlns:a16="http://schemas.microsoft.com/office/drawing/2014/main" id="{857BA48E-8023-9F58-DC20-7E6F63F21941}"/>
              </a:ext>
            </a:extLst>
          </p:cNvPr>
          <p:cNvSpPr/>
          <p:nvPr/>
        </p:nvSpPr>
        <p:spPr>
          <a:xfrm>
            <a:off x="1234200" y="3079876"/>
            <a:ext cx="9723600" cy="2916986"/>
          </a:xfrm>
          <a:prstGeom prst="rect">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lIns="216000" tIns="108000" rIns="216000" bIns="108000" rtlCol="0" anchor="ctr"/>
          <a:lstStyle/>
          <a:p>
            <a:pPr algn="just">
              <a:lnSpc>
                <a:spcPct val="120000"/>
              </a:lnSpc>
              <a:spcBef>
                <a:spcPts val="300"/>
              </a:spcBef>
              <a:spcAft>
                <a:spcPts val="300"/>
              </a:spcAft>
              <a:defRPr/>
            </a:pPr>
            <a:r>
              <a:rPr lang="it-IT" sz="14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E’ possibile procedere alla nomina </a:t>
            </a:r>
            <a:r>
              <a:rPr lang="it-IT" sz="1400" b="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soltanto dei docenti che hanno concluso la formazione</a:t>
            </a:r>
            <a:r>
              <a:rPr lang="it-IT" sz="14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t>
            </a:r>
          </a:p>
          <a:p>
            <a:pPr algn="just">
              <a:lnSpc>
                <a:spcPct val="120000"/>
              </a:lnSpc>
              <a:spcBef>
                <a:spcPts val="300"/>
              </a:spcBef>
              <a:spcAft>
                <a:spcPts val="300"/>
              </a:spcAft>
              <a:defRPr/>
            </a:pPr>
            <a:r>
              <a:rPr lang="it-IT" sz="14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La quota parte di docenti che sta ancora svolgendo la formazione potrà essere nominata solo a conclusione del percorso.</a:t>
            </a:r>
          </a:p>
        </p:txBody>
      </p:sp>
      <p:grpSp>
        <p:nvGrpSpPr>
          <p:cNvPr id="3" name="Group 966">
            <a:extLst>
              <a:ext uri="{FF2B5EF4-FFF2-40B4-BE49-F238E27FC236}">
                <a16:creationId xmlns:a16="http://schemas.microsoft.com/office/drawing/2014/main" id="{BF3AB63B-082E-D715-A96E-43A690FF8CC9}"/>
              </a:ext>
            </a:extLst>
          </p:cNvPr>
          <p:cNvGrpSpPr/>
          <p:nvPr/>
        </p:nvGrpSpPr>
        <p:grpSpPr>
          <a:xfrm>
            <a:off x="10749599" y="5497200"/>
            <a:ext cx="684000" cy="684000"/>
            <a:chOff x="4257676" y="2260600"/>
            <a:chExt cx="839788" cy="838200"/>
          </a:xfrm>
        </p:grpSpPr>
        <p:sp>
          <p:nvSpPr>
            <p:cNvPr id="4" name="Freeform 397">
              <a:extLst>
                <a:ext uri="{FF2B5EF4-FFF2-40B4-BE49-F238E27FC236}">
                  <a16:creationId xmlns:a16="http://schemas.microsoft.com/office/drawing/2014/main" id="{47C80260-5BCE-0F7C-B3E2-965DF51F732F}"/>
                </a:ext>
              </a:extLst>
            </p:cNvPr>
            <p:cNvSpPr>
              <a:spLocks/>
            </p:cNvSpPr>
            <p:nvPr/>
          </p:nvSpPr>
          <p:spPr bwMode="auto">
            <a:xfrm>
              <a:off x="4257676" y="2260600"/>
              <a:ext cx="839788" cy="838200"/>
            </a:xfrm>
            <a:custGeom>
              <a:avLst/>
              <a:gdLst/>
              <a:ahLst/>
              <a:cxnLst>
                <a:cxn ang="0">
                  <a:pos x="4223" y="2276"/>
                </a:cxn>
                <a:cxn ang="0">
                  <a:pos x="4186" y="2540"/>
                </a:cxn>
                <a:cxn ang="0">
                  <a:pos x="4118" y="2792"/>
                </a:cxn>
                <a:cxn ang="0">
                  <a:pos x="4021" y="3030"/>
                </a:cxn>
                <a:cxn ang="0">
                  <a:pos x="3896" y="3253"/>
                </a:cxn>
                <a:cxn ang="0">
                  <a:pos x="3747" y="3459"/>
                </a:cxn>
                <a:cxn ang="0">
                  <a:pos x="3574" y="3644"/>
                </a:cxn>
                <a:cxn ang="0">
                  <a:pos x="3380" y="3808"/>
                </a:cxn>
                <a:cxn ang="0">
                  <a:pos x="3168" y="3948"/>
                </a:cxn>
                <a:cxn ang="0">
                  <a:pos x="2938" y="4062"/>
                </a:cxn>
                <a:cxn ang="0">
                  <a:pos x="2694" y="4148"/>
                </a:cxn>
                <a:cxn ang="0">
                  <a:pos x="2437" y="4204"/>
                </a:cxn>
                <a:cxn ang="0">
                  <a:pos x="2169" y="4227"/>
                </a:cxn>
                <a:cxn ang="0">
                  <a:pos x="1952" y="4221"/>
                </a:cxn>
                <a:cxn ang="0">
                  <a:pos x="1689" y="4185"/>
                </a:cxn>
                <a:cxn ang="0">
                  <a:pos x="1437" y="4117"/>
                </a:cxn>
                <a:cxn ang="0">
                  <a:pos x="1197" y="4019"/>
                </a:cxn>
                <a:cxn ang="0">
                  <a:pos x="975" y="3895"/>
                </a:cxn>
                <a:cxn ang="0">
                  <a:pos x="770" y="3745"/>
                </a:cxn>
                <a:cxn ang="0">
                  <a:pos x="584" y="3572"/>
                </a:cxn>
                <a:cxn ang="0">
                  <a:pos x="420" y="3379"/>
                </a:cxn>
                <a:cxn ang="0">
                  <a:pos x="280" y="3166"/>
                </a:cxn>
                <a:cxn ang="0">
                  <a:pos x="166" y="2937"/>
                </a:cxn>
                <a:cxn ang="0">
                  <a:pos x="80" y="2692"/>
                </a:cxn>
                <a:cxn ang="0">
                  <a:pos x="25" y="2436"/>
                </a:cxn>
                <a:cxn ang="0">
                  <a:pos x="1" y="2168"/>
                </a:cxn>
                <a:cxn ang="0">
                  <a:pos x="6" y="1952"/>
                </a:cxn>
                <a:cxn ang="0">
                  <a:pos x="43" y="1688"/>
                </a:cxn>
                <a:cxn ang="0">
                  <a:pos x="111" y="1436"/>
                </a:cxn>
                <a:cxn ang="0">
                  <a:pos x="208" y="1198"/>
                </a:cxn>
                <a:cxn ang="0">
                  <a:pos x="333" y="974"/>
                </a:cxn>
                <a:cxn ang="0">
                  <a:pos x="483" y="769"/>
                </a:cxn>
                <a:cxn ang="0">
                  <a:pos x="655" y="584"/>
                </a:cxn>
                <a:cxn ang="0">
                  <a:pos x="849" y="420"/>
                </a:cxn>
                <a:cxn ang="0">
                  <a:pos x="1062" y="280"/>
                </a:cxn>
                <a:cxn ang="0">
                  <a:pos x="1291" y="167"/>
                </a:cxn>
                <a:cxn ang="0">
                  <a:pos x="1535" y="80"/>
                </a:cxn>
                <a:cxn ang="0">
                  <a:pos x="1793" y="24"/>
                </a:cxn>
                <a:cxn ang="0">
                  <a:pos x="2060" y="1"/>
                </a:cxn>
                <a:cxn ang="0">
                  <a:pos x="2277" y="6"/>
                </a:cxn>
                <a:cxn ang="0">
                  <a:pos x="2541" y="43"/>
                </a:cxn>
                <a:cxn ang="0">
                  <a:pos x="2793" y="111"/>
                </a:cxn>
                <a:cxn ang="0">
                  <a:pos x="3032" y="209"/>
                </a:cxn>
                <a:cxn ang="0">
                  <a:pos x="3254" y="333"/>
                </a:cxn>
                <a:cxn ang="0">
                  <a:pos x="3459" y="483"/>
                </a:cxn>
                <a:cxn ang="0">
                  <a:pos x="3645" y="656"/>
                </a:cxn>
                <a:cxn ang="0">
                  <a:pos x="3809" y="850"/>
                </a:cxn>
                <a:cxn ang="0">
                  <a:pos x="3949" y="1062"/>
                </a:cxn>
                <a:cxn ang="0">
                  <a:pos x="4063" y="1291"/>
                </a:cxn>
                <a:cxn ang="0">
                  <a:pos x="4149" y="1536"/>
                </a:cxn>
                <a:cxn ang="0">
                  <a:pos x="4204" y="1792"/>
                </a:cxn>
                <a:cxn ang="0">
                  <a:pos x="4228" y="2059"/>
                </a:cxn>
              </a:cxnLst>
              <a:rect l="0" t="0" r="r" b="b"/>
              <a:pathLst>
                <a:path w="4229" h="4227">
                  <a:moveTo>
                    <a:pt x="4229" y="2114"/>
                  </a:moveTo>
                  <a:lnTo>
                    <a:pt x="4229" y="2114"/>
                  </a:lnTo>
                  <a:lnTo>
                    <a:pt x="4228" y="2168"/>
                  </a:lnTo>
                  <a:lnTo>
                    <a:pt x="4226" y="2223"/>
                  </a:lnTo>
                  <a:lnTo>
                    <a:pt x="4223" y="2276"/>
                  </a:lnTo>
                  <a:lnTo>
                    <a:pt x="4219" y="2330"/>
                  </a:lnTo>
                  <a:lnTo>
                    <a:pt x="4213" y="2383"/>
                  </a:lnTo>
                  <a:lnTo>
                    <a:pt x="4204" y="2436"/>
                  </a:lnTo>
                  <a:lnTo>
                    <a:pt x="4196" y="2489"/>
                  </a:lnTo>
                  <a:lnTo>
                    <a:pt x="4186" y="2540"/>
                  </a:lnTo>
                  <a:lnTo>
                    <a:pt x="4175" y="2592"/>
                  </a:lnTo>
                  <a:lnTo>
                    <a:pt x="4163" y="2642"/>
                  </a:lnTo>
                  <a:lnTo>
                    <a:pt x="4149" y="2692"/>
                  </a:lnTo>
                  <a:lnTo>
                    <a:pt x="4134" y="2743"/>
                  </a:lnTo>
                  <a:lnTo>
                    <a:pt x="4118" y="2792"/>
                  </a:lnTo>
                  <a:lnTo>
                    <a:pt x="4101" y="2841"/>
                  </a:lnTo>
                  <a:lnTo>
                    <a:pt x="4083" y="2889"/>
                  </a:lnTo>
                  <a:lnTo>
                    <a:pt x="4063" y="2937"/>
                  </a:lnTo>
                  <a:lnTo>
                    <a:pt x="4042" y="2984"/>
                  </a:lnTo>
                  <a:lnTo>
                    <a:pt x="4021" y="3030"/>
                  </a:lnTo>
                  <a:lnTo>
                    <a:pt x="3998" y="3077"/>
                  </a:lnTo>
                  <a:lnTo>
                    <a:pt x="3973" y="3122"/>
                  </a:lnTo>
                  <a:lnTo>
                    <a:pt x="3949" y="3166"/>
                  </a:lnTo>
                  <a:lnTo>
                    <a:pt x="3923" y="3210"/>
                  </a:lnTo>
                  <a:lnTo>
                    <a:pt x="3896" y="3253"/>
                  </a:lnTo>
                  <a:lnTo>
                    <a:pt x="3868" y="3296"/>
                  </a:lnTo>
                  <a:lnTo>
                    <a:pt x="3839" y="3337"/>
                  </a:lnTo>
                  <a:lnTo>
                    <a:pt x="3809" y="3379"/>
                  </a:lnTo>
                  <a:lnTo>
                    <a:pt x="3778" y="3419"/>
                  </a:lnTo>
                  <a:lnTo>
                    <a:pt x="3747" y="3459"/>
                  </a:lnTo>
                  <a:lnTo>
                    <a:pt x="3714" y="3497"/>
                  </a:lnTo>
                  <a:lnTo>
                    <a:pt x="3680" y="3535"/>
                  </a:lnTo>
                  <a:lnTo>
                    <a:pt x="3645" y="3572"/>
                  </a:lnTo>
                  <a:lnTo>
                    <a:pt x="3610" y="3608"/>
                  </a:lnTo>
                  <a:lnTo>
                    <a:pt x="3574" y="3644"/>
                  </a:lnTo>
                  <a:lnTo>
                    <a:pt x="3537" y="3678"/>
                  </a:lnTo>
                  <a:lnTo>
                    <a:pt x="3498" y="3712"/>
                  </a:lnTo>
                  <a:lnTo>
                    <a:pt x="3459" y="3745"/>
                  </a:lnTo>
                  <a:lnTo>
                    <a:pt x="3420" y="3777"/>
                  </a:lnTo>
                  <a:lnTo>
                    <a:pt x="3380" y="3808"/>
                  </a:lnTo>
                  <a:lnTo>
                    <a:pt x="3339" y="3838"/>
                  </a:lnTo>
                  <a:lnTo>
                    <a:pt x="3296" y="3867"/>
                  </a:lnTo>
                  <a:lnTo>
                    <a:pt x="3254" y="3895"/>
                  </a:lnTo>
                  <a:lnTo>
                    <a:pt x="3211" y="3921"/>
                  </a:lnTo>
                  <a:lnTo>
                    <a:pt x="3168" y="3948"/>
                  </a:lnTo>
                  <a:lnTo>
                    <a:pt x="3122" y="3973"/>
                  </a:lnTo>
                  <a:lnTo>
                    <a:pt x="3077" y="3997"/>
                  </a:lnTo>
                  <a:lnTo>
                    <a:pt x="3032" y="4019"/>
                  </a:lnTo>
                  <a:lnTo>
                    <a:pt x="2985" y="4041"/>
                  </a:lnTo>
                  <a:lnTo>
                    <a:pt x="2938" y="4062"/>
                  </a:lnTo>
                  <a:lnTo>
                    <a:pt x="2890" y="4081"/>
                  </a:lnTo>
                  <a:lnTo>
                    <a:pt x="2842" y="4100"/>
                  </a:lnTo>
                  <a:lnTo>
                    <a:pt x="2793" y="4117"/>
                  </a:lnTo>
                  <a:lnTo>
                    <a:pt x="2743" y="4133"/>
                  </a:lnTo>
                  <a:lnTo>
                    <a:pt x="2694" y="4148"/>
                  </a:lnTo>
                  <a:lnTo>
                    <a:pt x="2643" y="4162"/>
                  </a:lnTo>
                  <a:lnTo>
                    <a:pt x="2593" y="4174"/>
                  </a:lnTo>
                  <a:lnTo>
                    <a:pt x="2541" y="4185"/>
                  </a:lnTo>
                  <a:lnTo>
                    <a:pt x="2489" y="4194"/>
                  </a:lnTo>
                  <a:lnTo>
                    <a:pt x="2437" y="4204"/>
                  </a:lnTo>
                  <a:lnTo>
                    <a:pt x="2383" y="4211"/>
                  </a:lnTo>
                  <a:lnTo>
                    <a:pt x="2331" y="4217"/>
                  </a:lnTo>
                  <a:lnTo>
                    <a:pt x="2277" y="4221"/>
                  </a:lnTo>
                  <a:lnTo>
                    <a:pt x="2224" y="4225"/>
                  </a:lnTo>
                  <a:lnTo>
                    <a:pt x="2169" y="4227"/>
                  </a:lnTo>
                  <a:lnTo>
                    <a:pt x="2115" y="4227"/>
                  </a:lnTo>
                  <a:lnTo>
                    <a:pt x="2115" y="4227"/>
                  </a:lnTo>
                  <a:lnTo>
                    <a:pt x="2060" y="4227"/>
                  </a:lnTo>
                  <a:lnTo>
                    <a:pt x="2006" y="4225"/>
                  </a:lnTo>
                  <a:lnTo>
                    <a:pt x="1952" y="4221"/>
                  </a:lnTo>
                  <a:lnTo>
                    <a:pt x="1898" y="4217"/>
                  </a:lnTo>
                  <a:lnTo>
                    <a:pt x="1846" y="4211"/>
                  </a:lnTo>
                  <a:lnTo>
                    <a:pt x="1793" y="4204"/>
                  </a:lnTo>
                  <a:lnTo>
                    <a:pt x="1740" y="4194"/>
                  </a:lnTo>
                  <a:lnTo>
                    <a:pt x="1689" y="4185"/>
                  </a:lnTo>
                  <a:lnTo>
                    <a:pt x="1637" y="4174"/>
                  </a:lnTo>
                  <a:lnTo>
                    <a:pt x="1586" y="4162"/>
                  </a:lnTo>
                  <a:lnTo>
                    <a:pt x="1535" y="4148"/>
                  </a:lnTo>
                  <a:lnTo>
                    <a:pt x="1486" y="4133"/>
                  </a:lnTo>
                  <a:lnTo>
                    <a:pt x="1437" y="4117"/>
                  </a:lnTo>
                  <a:lnTo>
                    <a:pt x="1388" y="4100"/>
                  </a:lnTo>
                  <a:lnTo>
                    <a:pt x="1340" y="4081"/>
                  </a:lnTo>
                  <a:lnTo>
                    <a:pt x="1291" y="4062"/>
                  </a:lnTo>
                  <a:lnTo>
                    <a:pt x="1245" y="4041"/>
                  </a:lnTo>
                  <a:lnTo>
                    <a:pt x="1197" y="4019"/>
                  </a:lnTo>
                  <a:lnTo>
                    <a:pt x="1152" y="3997"/>
                  </a:lnTo>
                  <a:lnTo>
                    <a:pt x="1107" y="3973"/>
                  </a:lnTo>
                  <a:lnTo>
                    <a:pt x="1062" y="3948"/>
                  </a:lnTo>
                  <a:lnTo>
                    <a:pt x="1018" y="3921"/>
                  </a:lnTo>
                  <a:lnTo>
                    <a:pt x="975" y="3895"/>
                  </a:lnTo>
                  <a:lnTo>
                    <a:pt x="933" y="3867"/>
                  </a:lnTo>
                  <a:lnTo>
                    <a:pt x="890" y="3838"/>
                  </a:lnTo>
                  <a:lnTo>
                    <a:pt x="849" y="3808"/>
                  </a:lnTo>
                  <a:lnTo>
                    <a:pt x="809" y="3777"/>
                  </a:lnTo>
                  <a:lnTo>
                    <a:pt x="770" y="3745"/>
                  </a:lnTo>
                  <a:lnTo>
                    <a:pt x="731" y="3712"/>
                  </a:lnTo>
                  <a:lnTo>
                    <a:pt x="693" y="3678"/>
                  </a:lnTo>
                  <a:lnTo>
                    <a:pt x="655" y="3644"/>
                  </a:lnTo>
                  <a:lnTo>
                    <a:pt x="619" y="3608"/>
                  </a:lnTo>
                  <a:lnTo>
                    <a:pt x="584" y="3572"/>
                  </a:lnTo>
                  <a:lnTo>
                    <a:pt x="549" y="3535"/>
                  </a:lnTo>
                  <a:lnTo>
                    <a:pt x="516" y="3497"/>
                  </a:lnTo>
                  <a:lnTo>
                    <a:pt x="483" y="3459"/>
                  </a:lnTo>
                  <a:lnTo>
                    <a:pt x="451" y="3419"/>
                  </a:lnTo>
                  <a:lnTo>
                    <a:pt x="420" y="3379"/>
                  </a:lnTo>
                  <a:lnTo>
                    <a:pt x="391" y="3337"/>
                  </a:lnTo>
                  <a:lnTo>
                    <a:pt x="362" y="3296"/>
                  </a:lnTo>
                  <a:lnTo>
                    <a:pt x="333" y="3253"/>
                  </a:lnTo>
                  <a:lnTo>
                    <a:pt x="306" y="3210"/>
                  </a:lnTo>
                  <a:lnTo>
                    <a:pt x="280" y="3166"/>
                  </a:lnTo>
                  <a:lnTo>
                    <a:pt x="256" y="3122"/>
                  </a:lnTo>
                  <a:lnTo>
                    <a:pt x="232" y="3077"/>
                  </a:lnTo>
                  <a:lnTo>
                    <a:pt x="208" y="3030"/>
                  </a:lnTo>
                  <a:lnTo>
                    <a:pt x="187" y="2984"/>
                  </a:lnTo>
                  <a:lnTo>
                    <a:pt x="166" y="2937"/>
                  </a:lnTo>
                  <a:lnTo>
                    <a:pt x="146" y="2889"/>
                  </a:lnTo>
                  <a:lnTo>
                    <a:pt x="129" y="2841"/>
                  </a:lnTo>
                  <a:lnTo>
                    <a:pt x="111" y="2792"/>
                  </a:lnTo>
                  <a:lnTo>
                    <a:pt x="95" y="2743"/>
                  </a:lnTo>
                  <a:lnTo>
                    <a:pt x="80" y="2692"/>
                  </a:lnTo>
                  <a:lnTo>
                    <a:pt x="67" y="2642"/>
                  </a:lnTo>
                  <a:lnTo>
                    <a:pt x="55" y="2592"/>
                  </a:lnTo>
                  <a:lnTo>
                    <a:pt x="43" y="2540"/>
                  </a:lnTo>
                  <a:lnTo>
                    <a:pt x="33" y="2489"/>
                  </a:lnTo>
                  <a:lnTo>
                    <a:pt x="25" y="2436"/>
                  </a:lnTo>
                  <a:lnTo>
                    <a:pt x="18" y="2383"/>
                  </a:lnTo>
                  <a:lnTo>
                    <a:pt x="11" y="2330"/>
                  </a:lnTo>
                  <a:lnTo>
                    <a:pt x="6" y="2276"/>
                  </a:lnTo>
                  <a:lnTo>
                    <a:pt x="3" y="2223"/>
                  </a:lnTo>
                  <a:lnTo>
                    <a:pt x="1" y="2168"/>
                  </a:lnTo>
                  <a:lnTo>
                    <a:pt x="0" y="2114"/>
                  </a:lnTo>
                  <a:lnTo>
                    <a:pt x="0" y="2114"/>
                  </a:lnTo>
                  <a:lnTo>
                    <a:pt x="1" y="2059"/>
                  </a:lnTo>
                  <a:lnTo>
                    <a:pt x="3" y="2005"/>
                  </a:lnTo>
                  <a:lnTo>
                    <a:pt x="6" y="1952"/>
                  </a:lnTo>
                  <a:lnTo>
                    <a:pt x="11" y="1898"/>
                  </a:lnTo>
                  <a:lnTo>
                    <a:pt x="18" y="1845"/>
                  </a:lnTo>
                  <a:lnTo>
                    <a:pt x="25" y="1792"/>
                  </a:lnTo>
                  <a:lnTo>
                    <a:pt x="33" y="1740"/>
                  </a:lnTo>
                  <a:lnTo>
                    <a:pt x="43" y="1688"/>
                  </a:lnTo>
                  <a:lnTo>
                    <a:pt x="55" y="1637"/>
                  </a:lnTo>
                  <a:lnTo>
                    <a:pt x="67" y="1586"/>
                  </a:lnTo>
                  <a:lnTo>
                    <a:pt x="80" y="1536"/>
                  </a:lnTo>
                  <a:lnTo>
                    <a:pt x="95" y="1485"/>
                  </a:lnTo>
                  <a:lnTo>
                    <a:pt x="111" y="1436"/>
                  </a:lnTo>
                  <a:lnTo>
                    <a:pt x="129" y="1387"/>
                  </a:lnTo>
                  <a:lnTo>
                    <a:pt x="146" y="1339"/>
                  </a:lnTo>
                  <a:lnTo>
                    <a:pt x="166" y="1291"/>
                  </a:lnTo>
                  <a:lnTo>
                    <a:pt x="187" y="1244"/>
                  </a:lnTo>
                  <a:lnTo>
                    <a:pt x="208" y="1198"/>
                  </a:lnTo>
                  <a:lnTo>
                    <a:pt x="232" y="1151"/>
                  </a:lnTo>
                  <a:lnTo>
                    <a:pt x="256" y="1106"/>
                  </a:lnTo>
                  <a:lnTo>
                    <a:pt x="280" y="1062"/>
                  </a:lnTo>
                  <a:lnTo>
                    <a:pt x="306" y="1017"/>
                  </a:lnTo>
                  <a:lnTo>
                    <a:pt x="333" y="974"/>
                  </a:lnTo>
                  <a:lnTo>
                    <a:pt x="362" y="932"/>
                  </a:lnTo>
                  <a:lnTo>
                    <a:pt x="391" y="891"/>
                  </a:lnTo>
                  <a:lnTo>
                    <a:pt x="420" y="850"/>
                  </a:lnTo>
                  <a:lnTo>
                    <a:pt x="451" y="809"/>
                  </a:lnTo>
                  <a:lnTo>
                    <a:pt x="483" y="769"/>
                  </a:lnTo>
                  <a:lnTo>
                    <a:pt x="516" y="731"/>
                  </a:lnTo>
                  <a:lnTo>
                    <a:pt x="549" y="693"/>
                  </a:lnTo>
                  <a:lnTo>
                    <a:pt x="584" y="656"/>
                  </a:lnTo>
                  <a:lnTo>
                    <a:pt x="619" y="619"/>
                  </a:lnTo>
                  <a:lnTo>
                    <a:pt x="655" y="584"/>
                  </a:lnTo>
                  <a:lnTo>
                    <a:pt x="693" y="549"/>
                  </a:lnTo>
                  <a:lnTo>
                    <a:pt x="731" y="516"/>
                  </a:lnTo>
                  <a:lnTo>
                    <a:pt x="770" y="483"/>
                  </a:lnTo>
                  <a:lnTo>
                    <a:pt x="809" y="451"/>
                  </a:lnTo>
                  <a:lnTo>
                    <a:pt x="849" y="420"/>
                  </a:lnTo>
                  <a:lnTo>
                    <a:pt x="890" y="390"/>
                  </a:lnTo>
                  <a:lnTo>
                    <a:pt x="933" y="361"/>
                  </a:lnTo>
                  <a:lnTo>
                    <a:pt x="975" y="333"/>
                  </a:lnTo>
                  <a:lnTo>
                    <a:pt x="1018" y="306"/>
                  </a:lnTo>
                  <a:lnTo>
                    <a:pt x="1062" y="280"/>
                  </a:lnTo>
                  <a:lnTo>
                    <a:pt x="1107" y="255"/>
                  </a:lnTo>
                  <a:lnTo>
                    <a:pt x="1152" y="231"/>
                  </a:lnTo>
                  <a:lnTo>
                    <a:pt x="1197" y="209"/>
                  </a:lnTo>
                  <a:lnTo>
                    <a:pt x="1245" y="187"/>
                  </a:lnTo>
                  <a:lnTo>
                    <a:pt x="1291" y="167"/>
                  </a:lnTo>
                  <a:lnTo>
                    <a:pt x="1340" y="147"/>
                  </a:lnTo>
                  <a:lnTo>
                    <a:pt x="1388" y="128"/>
                  </a:lnTo>
                  <a:lnTo>
                    <a:pt x="1437" y="111"/>
                  </a:lnTo>
                  <a:lnTo>
                    <a:pt x="1486" y="95"/>
                  </a:lnTo>
                  <a:lnTo>
                    <a:pt x="1535" y="80"/>
                  </a:lnTo>
                  <a:lnTo>
                    <a:pt x="1586" y="67"/>
                  </a:lnTo>
                  <a:lnTo>
                    <a:pt x="1637" y="54"/>
                  </a:lnTo>
                  <a:lnTo>
                    <a:pt x="1689" y="43"/>
                  </a:lnTo>
                  <a:lnTo>
                    <a:pt x="1740" y="33"/>
                  </a:lnTo>
                  <a:lnTo>
                    <a:pt x="1793" y="24"/>
                  </a:lnTo>
                  <a:lnTo>
                    <a:pt x="1846" y="17"/>
                  </a:lnTo>
                  <a:lnTo>
                    <a:pt x="1898" y="11"/>
                  </a:lnTo>
                  <a:lnTo>
                    <a:pt x="1952" y="6"/>
                  </a:lnTo>
                  <a:lnTo>
                    <a:pt x="2006" y="3"/>
                  </a:lnTo>
                  <a:lnTo>
                    <a:pt x="2060" y="1"/>
                  </a:lnTo>
                  <a:lnTo>
                    <a:pt x="2115" y="0"/>
                  </a:lnTo>
                  <a:lnTo>
                    <a:pt x="2115" y="0"/>
                  </a:lnTo>
                  <a:lnTo>
                    <a:pt x="2169" y="1"/>
                  </a:lnTo>
                  <a:lnTo>
                    <a:pt x="2224" y="3"/>
                  </a:lnTo>
                  <a:lnTo>
                    <a:pt x="2277" y="6"/>
                  </a:lnTo>
                  <a:lnTo>
                    <a:pt x="2331" y="11"/>
                  </a:lnTo>
                  <a:lnTo>
                    <a:pt x="2383" y="17"/>
                  </a:lnTo>
                  <a:lnTo>
                    <a:pt x="2437" y="24"/>
                  </a:lnTo>
                  <a:lnTo>
                    <a:pt x="2489" y="33"/>
                  </a:lnTo>
                  <a:lnTo>
                    <a:pt x="2541" y="43"/>
                  </a:lnTo>
                  <a:lnTo>
                    <a:pt x="2593" y="54"/>
                  </a:lnTo>
                  <a:lnTo>
                    <a:pt x="2643" y="67"/>
                  </a:lnTo>
                  <a:lnTo>
                    <a:pt x="2694" y="80"/>
                  </a:lnTo>
                  <a:lnTo>
                    <a:pt x="2743" y="95"/>
                  </a:lnTo>
                  <a:lnTo>
                    <a:pt x="2793" y="111"/>
                  </a:lnTo>
                  <a:lnTo>
                    <a:pt x="2842" y="128"/>
                  </a:lnTo>
                  <a:lnTo>
                    <a:pt x="2890" y="147"/>
                  </a:lnTo>
                  <a:lnTo>
                    <a:pt x="2938" y="167"/>
                  </a:lnTo>
                  <a:lnTo>
                    <a:pt x="2985" y="187"/>
                  </a:lnTo>
                  <a:lnTo>
                    <a:pt x="3032" y="209"/>
                  </a:lnTo>
                  <a:lnTo>
                    <a:pt x="3077" y="231"/>
                  </a:lnTo>
                  <a:lnTo>
                    <a:pt x="3122" y="255"/>
                  </a:lnTo>
                  <a:lnTo>
                    <a:pt x="3168" y="280"/>
                  </a:lnTo>
                  <a:lnTo>
                    <a:pt x="3211" y="306"/>
                  </a:lnTo>
                  <a:lnTo>
                    <a:pt x="3254" y="333"/>
                  </a:lnTo>
                  <a:lnTo>
                    <a:pt x="3296" y="361"/>
                  </a:lnTo>
                  <a:lnTo>
                    <a:pt x="3339" y="390"/>
                  </a:lnTo>
                  <a:lnTo>
                    <a:pt x="3380" y="420"/>
                  </a:lnTo>
                  <a:lnTo>
                    <a:pt x="3420" y="451"/>
                  </a:lnTo>
                  <a:lnTo>
                    <a:pt x="3459" y="483"/>
                  </a:lnTo>
                  <a:lnTo>
                    <a:pt x="3498" y="516"/>
                  </a:lnTo>
                  <a:lnTo>
                    <a:pt x="3537" y="549"/>
                  </a:lnTo>
                  <a:lnTo>
                    <a:pt x="3574" y="584"/>
                  </a:lnTo>
                  <a:lnTo>
                    <a:pt x="3610" y="619"/>
                  </a:lnTo>
                  <a:lnTo>
                    <a:pt x="3645" y="656"/>
                  </a:lnTo>
                  <a:lnTo>
                    <a:pt x="3680" y="693"/>
                  </a:lnTo>
                  <a:lnTo>
                    <a:pt x="3714" y="731"/>
                  </a:lnTo>
                  <a:lnTo>
                    <a:pt x="3747" y="769"/>
                  </a:lnTo>
                  <a:lnTo>
                    <a:pt x="3778" y="809"/>
                  </a:lnTo>
                  <a:lnTo>
                    <a:pt x="3809" y="850"/>
                  </a:lnTo>
                  <a:lnTo>
                    <a:pt x="3839" y="891"/>
                  </a:lnTo>
                  <a:lnTo>
                    <a:pt x="3868" y="932"/>
                  </a:lnTo>
                  <a:lnTo>
                    <a:pt x="3896" y="974"/>
                  </a:lnTo>
                  <a:lnTo>
                    <a:pt x="3923" y="1017"/>
                  </a:lnTo>
                  <a:lnTo>
                    <a:pt x="3949" y="1062"/>
                  </a:lnTo>
                  <a:lnTo>
                    <a:pt x="3973" y="1106"/>
                  </a:lnTo>
                  <a:lnTo>
                    <a:pt x="3998" y="1151"/>
                  </a:lnTo>
                  <a:lnTo>
                    <a:pt x="4021" y="1198"/>
                  </a:lnTo>
                  <a:lnTo>
                    <a:pt x="4042" y="1244"/>
                  </a:lnTo>
                  <a:lnTo>
                    <a:pt x="4063" y="1291"/>
                  </a:lnTo>
                  <a:lnTo>
                    <a:pt x="4083" y="1339"/>
                  </a:lnTo>
                  <a:lnTo>
                    <a:pt x="4101" y="1387"/>
                  </a:lnTo>
                  <a:lnTo>
                    <a:pt x="4118" y="1436"/>
                  </a:lnTo>
                  <a:lnTo>
                    <a:pt x="4134" y="1485"/>
                  </a:lnTo>
                  <a:lnTo>
                    <a:pt x="4149" y="1536"/>
                  </a:lnTo>
                  <a:lnTo>
                    <a:pt x="4163" y="1586"/>
                  </a:lnTo>
                  <a:lnTo>
                    <a:pt x="4175" y="1637"/>
                  </a:lnTo>
                  <a:lnTo>
                    <a:pt x="4186" y="1688"/>
                  </a:lnTo>
                  <a:lnTo>
                    <a:pt x="4196" y="1740"/>
                  </a:lnTo>
                  <a:lnTo>
                    <a:pt x="4204" y="1792"/>
                  </a:lnTo>
                  <a:lnTo>
                    <a:pt x="4213" y="1845"/>
                  </a:lnTo>
                  <a:lnTo>
                    <a:pt x="4219" y="1898"/>
                  </a:lnTo>
                  <a:lnTo>
                    <a:pt x="4223" y="1952"/>
                  </a:lnTo>
                  <a:lnTo>
                    <a:pt x="4226" y="2005"/>
                  </a:lnTo>
                  <a:lnTo>
                    <a:pt x="4228" y="2059"/>
                  </a:lnTo>
                  <a:lnTo>
                    <a:pt x="4229" y="2114"/>
                  </a:lnTo>
                  <a:close/>
                </a:path>
              </a:pathLst>
            </a:custGeom>
            <a:solidFill>
              <a:srgbClr val="4CC5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398">
              <a:extLst>
                <a:ext uri="{FF2B5EF4-FFF2-40B4-BE49-F238E27FC236}">
                  <a16:creationId xmlns:a16="http://schemas.microsoft.com/office/drawing/2014/main" id="{1B0250D6-B141-EEF4-51A3-69F963F7BDB5}"/>
                </a:ext>
              </a:extLst>
            </p:cNvPr>
            <p:cNvSpPr>
              <a:spLocks/>
            </p:cNvSpPr>
            <p:nvPr/>
          </p:nvSpPr>
          <p:spPr bwMode="auto">
            <a:xfrm>
              <a:off x="4257676" y="2260600"/>
              <a:ext cx="839788" cy="838200"/>
            </a:xfrm>
            <a:custGeom>
              <a:avLst/>
              <a:gdLst/>
              <a:ahLst/>
              <a:cxnLst>
                <a:cxn ang="0">
                  <a:pos x="4223" y="2276"/>
                </a:cxn>
                <a:cxn ang="0">
                  <a:pos x="4186" y="2540"/>
                </a:cxn>
                <a:cxn ang="0">
                  <a:pos x="4118" y="2792"/>
                </a:cxn>
                <a:cxn ang="0">
                  <a:pos x="4021" y="3030"/>
                </a:cxn>
                <a:cxn ang="0">
                  <a:pos x="3896" y="3253"/>
                </a:cxn>
                <a:cxn ang="0">
                  <a:pos x="3747" y="3459"/>
                </a:cxn>
                <a:cxn ang="0">
                  <a:pos x="3574" y="3644"/>
                </a:cxn>
                <a:cxn ang="0">
                  <a:pos x="3380" y="3808"/>
                </a:cxn>
                <a:cxn ang="0">
                  <a:pos x="3168" y="3948"/>
                </a:cxn>
                <a:cxn ang="0">
                  <a:pos x="2938" y="4062"/>
                </a:cxn>
                <a:cxn ang="0">
                  <a:pos x="2694" y="4148"/>
                </a:cxn>
                <a:cxn ang="0">
                  <a:pos x="2437" y="4204"/>
                </a:cxn>
                <a:cxn ang="0">
                  <a:pos x="2169" y="4227"/>
                </a:cxn>
                <a:cxn ang="0">
                  <a:pos x="1952" y="4221"/>
                </a:cxn>
                <a:cxn ang="0">
                  <a:pos x="1689" y="4185"/>
                </a:cxn>
                <a:cxn ang="0">
                  <a:pos x="1437" y="4117"/>
                </a:cxn>
                <a:cxn ang="0">
                  <a:pos x="1197" y="4019"/>
                </a:cxn>
                <a:cxn ang="0">
                  <a:pos x="975" y="3895"/>
                </a:cxn>
                <a:cxn ang="0">
                  <a:pos x="770" y="3745"/>
                </a:cxn>
                <a:cxn ang="0">
                  <a:pos x="584" y="3572"/>
                </a:cxn>
                <a:cxn ang="0">
                  <a:pos x="420" y="3379"/>
                </a:cxn>
                <a:cxn ang="0">
                  <a:pos x="280" y="3166"/>
                </a:cxn>
                <a:cxn ang="0">
                  <a:pos x="166" y="2937"/>
                </a:cxn>
                <a:cxn ang="0">
                  <a:pos x="80" y="2692"/>
                </a:cxn>
                <a:cxn ang="0">
                  <a:pos x="25" y="2436"/>
                </a:cxn>
                <a:cxn ang="0">
                  <a:pos x="1" y="2168"/>
                </a:cxn>
                <a:cxn ang="0">
                  <a:pos x="6" y="1952"/>
                </a:cxn>
                <a:cxn ang="0">
                  <a:pos x="43" y="1688"/>
                </a:cxn>
                <a:cxn ang="0">
                  <a:pos x="111" y="1436"/>
                </a:cxn>
                <a:cxn ang="0">
                  <a:pos x="208" y="1198"/>
                </a:cxn>
                <a:cxn ang="0">
                  <a:pos x="333" y="974"/>
                </a:cxn>
                <a:cxn ang="0">
                  <a:pos x="483" y="769"/>
                </a:cxn>
                <a:cxn ang="0">
                  <a:pos x="655" y="584"/>
                </a:cxn>
                <a:cxn ang="0">
                  <a:pos x="849" y="420"/>
                </a:cxn>
                <a:cxn ang="0">
                  <a:pos x="1062" y="280"/>
                </a:cxn>
                <a:cxn ang="0">
                  <a:pos x="1291" y="167"/>
                </a:cxn>
                <a:cxn ang="0">
                  <a:pos x="1535" y="80"/>
                </a:cxn>
                <a:cxn ang="0">
                  <a:pos x="1793" y="24"/>
                </a:cxn>
                <a:cxn ang="0">
                  <a:pos x="2060" y="1"/>
                </a:cxn>
                <a:cxn ang="0">
                  <a:pos x="2277" y="6"/>
                </a:cxn>
                <a:cxn ang="0">
                  <a:pos x="2541" y="43"/>
                </a:cxn>
                <a:cxn ang="0">
                  <a:pos x="2793" y="111"/>
                </a:cxn>
                <a:cxn ang="0">
                  <a:pos x="3032" y="209"/>
                </a:cxn>
                <a:cxn ang="0">
                  <a:pos x="3254" y="333"/>
                </a:cxn>
                <a:cxn ang="0">
                  <a:pos x="3459" y="483"/>
                </a:cxn>
                <a:cxn ang="0">
                  <a:pos x="3645" y="656"/>
                </a:cxn>
                <a:cxn ang="0">
                  <a:pos x="3809" y="850"/>
                </a:cxn>
                <a:cxn ang="0">
                  <a:pos x="3949" y="1062"/>
                </a:cxn>
                <a:cxn ang="0">
                  <a:pos x="4063" y="1291"/>
                </a:cxn>
                <a:cxn ang="0">
                  <a:pos x="4149" y="1536"/>
                </a:cxn>
                <a:cxn ang="0">
                  <a:pos x="4204" y="1792"/>
                </a:cxn>
                <a:cxn ang="0">
                  <a:pos x="4228" y="2059"/>
                </a:cxn>
              </a:cxnLst>
              <a:rect l="0" t="0" r="r" b="b"/>
              <a:pathLst>
                <a:path w="4229" h="4227">
                  <a:moveTo>
                    <a:pt x="4229" y="2114"/>
                  </a:moveTo>
                  <a:lnTo>
                    <a:pt x="4229" y="2114"/>
                  </a:lnTo>
                  <a:lnTo>
                    <a:pt x="4228" y="2168"/>
                  </a:lnTo>
                  <a:lnTo>
                    <a:pt x="4226" y="2223"/>
                  </a:lnTo>
                  <a:lnTo>
                    <a:pt x="4223" y="2276"/>
                  </a:lnTo>
                  <a:lnTo>
                    <a:pt x="4219" y="2330"/>
                  </a:lnTo>
                  <a:lnTo>
                    <a:pt x="4213" y="2383"/>
                  </a:lnTo>
                  <a:lnTo>
                    <a:pt x="4204" y="2436"/>
                  </a:lnTo>
                  <a:lnTo>
                    <a:pt x="4196" y="2489"/>
                  </a:lnTo>
                  <a:lnTo>
                    <a:pt x="4186" y="2540"/>
                  </a:lnTo>
                  <a:lnTo>
                    <a:pt x="4175" y="2592"/>
                  </a:lnTo>
                  <a:lnTo>
                    <a:pt x="4163" y="2642"/>
                  </a:lnTo>
                  <a:lnTo>
                    <a:pt x="4149" y="2692"/>
                  </a:lnTo>
                  <a:lnTo>
                    <a:pt x="4134" y="2743"/>
                  </a:lnTo>
                  <a:lnTo>
                    <a:pt x="4118" y="2792"/>
                  </a:lnTo>
                  <a:lnTo>
                    <a:pt x="4101" y="2841"/>
                  </a:lnTo>
                  <a:lnTo>
                    <a:pt x="4083" y="2889"/>
                  </a:lnTo>
                  <a:lnTo>
                    <a:pt x="4063" y="2937"/>
                  </a:lnTo>
                  <a:lnTo>
                    <a:pt x="4042" y="2984"/>
                  </a:lnTo>
                  <a:lnTo>
                    <a:pt x="4021" y="3030"/>
                  </a:lnTo>
                  <a:lnTo>
                    <a:pt x="3998" y="3077"/>
                  </a:lnTo>
                  <a:lnTo>
                    <a:pt x="3973" y="3122"/>
                  </a:lnTo>
                  <a:lnTo>
                    <a:pt x="3949" y="3166"/>
                  </a:lnTo>
                  <a:lnTo>
                    <a:pt x="3923" y="3210"/>
                  </a:lnTo>
                  <a:lnTo>
                    <a:pt x="3896" y="3253"/>
                  </a:lnTo>
                  <a:lnTo>
                    <a:pt x="3868" y="3296"/>
                  </a:lnTo>
                  <a:lnTo>
                    <a:pt x="3839" y="3337"/>
                  </a:lnTo>
                  <a:lnTo>
                    <a:pt x="3809" y="3379"/>
                  </a:lnTo>
                  <a:lnTo>
                    <a:pt x="3778" y="3419"/>
                  </a:lnTo>
                  <a:lnTo>
                    <a:pt x="3747" y="3459"/>
                  </a:lnTo>
                  <a:lnTo>
                    <a:pt x="3714" y="3497"/>
                  </a:lnTo>
                  <a:lnTo>
                    <a:pt x="3680" y="3535"/>
                  </a:lnTo>
                  <a:lnTo>
                    <a:pt x="3645" y="3572"/>
                  </a:lnTo>
                  <a:lnTo>
                    <a:pt x="3610" y="3608"/>
                  </a:lnTo>
                  <a:lnTo>
                    <a:pt x="3574" y="3644"/>
                  </a:lnTo>
                  <a:lnTo>
                    <a:pt x="3537" y="3678"/>
                  </a:lnTo>
                  <a:lnTo>
                    <a:pt x="3498" y="3712"/>
                  </a:lnTo>
                  <a:lnTo>
                    <a:pt x="3459" y="3745"/>
                  </a:lnTo>
                  <a:lnTo>
                    <a:pt x="3420" y="3777"/>
                  </a:lnTo>
                  <a:lnTo>
                    <a:pt x="3380" y="3808"/>
                  </a:lnTo>
                  <a:lnTo>
                    <a:pt x="3339" y="3838"/>
                  </a:lnTo>
                  <a:lnTo>
                    <a:pt x="3296" y="3867"/>
                  </a:lnTo>
                  <a:lnTo>
                    <a:pt x="3254" y="3895"/>
                  </a:lnTo>
                  <a:lnTo>
                    <a:pt x="3211" y="3921"/>
                  </a:lnTo>
                  <a:lnTo>
                    <a:pt x="3168" y="3948"/>
                  </a:lnTo>
                  <a:lnTo>
                    <a:pt x="3122" y="3973"/>
                  </a:lnTo>
                  <a:lnTo>
                    <a:pt x="3077" y="3997"/>
                  </a:lnTo>
                  <a:lnTo>
                    <a:pt x="3032" y="4019"/>
                  </a:lnTo>
                  <a:lnTo>
                    <a:pt x="2985" y="4041"/>
                  </a:lnTo>
                  <a:lnTo>
                    <a:pt x="2938" y="4062"/>
                  </a:lnTo>
                  <a:lnTo>
                    <a:pt x="2890" y="4081"/>
                  </a:lnTo>
                  <a:lnTo>
                    <a:pt x="2842" y="4100"/>
                  </a:lnTo>
                  <a:lnTo>
                    <a:pt x="2793" y="4117"/>
                  </a:lnTo>
                  <a:lnTo>
                    <a:pt x="2743" y="4133"/>
                  </a:lnTo>
                  <a:lnTo>
                    <a:pt x="2694" y="4148"/>
                  </a:lnTo>
                  <a:lnTo>
                    <a:pt x="2643" y="4162"/>
                  </a:lnTo>
                  <a:lnTo>
                    <a:pt x="2593" y="4174"/>
                  </a:lnTo>
                  <a:lnTo>
                    <a:pt x="2541" y="4185"/>
                  </a:lnTo>
                  <a:lnTo>
                    <a:pt x="2489" y="4194"/>
                  </a:lnTo>
                  <a:lnTo>
                    <a:pt x="2437" y="4204"/>
                  </a:lnTo>
                  <a:lnTo>
                    <a:pt x="2383" y="4211"/>
                  </a:lnTo>
                  <a:lnTo>
                    <a:pt x="2331" y="4217"/>
                  </a:lnTo>
                  <a:lnTo>
                    <a:pt x="2277" y="4221"/>
                  </a:lnTo>
                  <a:lnTo>
                    <a:pt x="2224" y="4225"/>
                  </a:lnTo>
                  <a:lnTo>
                    <a:pt x="2169" y="4227"/>
                  </a:lnTo>
                  <a:lnTo>
                    <a:pt x="2115" y="4227"/>
                  </a:lnTo>
                  <a:lnTo>
                    <a:pt x="2115" y="4227"/>
                  </a:lnTo>
                  <a:lnTo>
                    <a:pt x="2060" y="4227"/>
                  </a:lnTo>
                  <a:lnTo>
                    <a:pt x="2006" y="4225"/>
                  </a:lnTo>
                  <a:lnTo>
                    <a:pt x="1952" y="4221"/>
                  </a:lnTo>
                  <a:lnTo>
                    <a:pt x="1898" y="4217"/>
                  </a:lnTo>
                  <a:lnTo>
                    <a:pt x="1846" y="4211"/>
                  </a:lnTo>
                  <a:lnTo>
                    <a:pt x="1793" y="4204"/>
                  </a:lnTo>
                  <a:lnTo>
                    <a:pt x="1740" y="4194"/>
                  </a:lnTo>
                  <a:lnTo>
                    <a:pt x="1689" y="4185"/>
                  </a:lnTo>
                  <a:lnTo>
                    <a:pt x="1637" y="4174"/>
                  </a:lnTo>
                  <a:lnTo>
                    <a:pt x="1586" y="4162"/>
                  </a:lnTo>
                  <a:lnTo>
                    <a:pt x="1535" y="4148"/>
                  </a:lnTo>
                  <a:lnTo>
                    <a:pt x="1486" y="4133"/>
                  </a:lnTo>
                  <a:lnTo>
                    <a:pt x="1437" y="4117"/>
                  </a:lnTo>
                  <a:lnTo>
                    <a:pt x="1388" y="4100"/>
                  </a:lnTo>
                  <a:lnTo>
                    <a:pt x="1340" y="4081"/>
                  </a:lnTo>
                  <a:lnTo>
                    <a:pt x="1291" y="4062"/>
                  </a:lnTo>
                  <a:lnTo>
                    <a:pt x="1245" y="4041"/>
                  </a:lnTo>
                  <a:lnTo>
                    <a:pt x="1197" y="4019"/>
                  </a:lnTo>
                  <a:lnTo>
                    <a:pt x="1152" y="3997"/>
                  </a:lnTo>
                  <a:lnTo>
                    <a:pt x="1107" y="3973"/>
                  </a:lnTo>
                  <a:lnTo>
                    <a:pt x="1062" y="3948"/>
                  </a:lnTo>
                  <a:lnTo>
                    <a:pt x="1018" y="3921"/>
                  </a:lnTo>
                  <a:lnTo>
                    <a:pt x="975" y="3895"/>
                  </a:lnTo>
                  <a:lnTo>
                    <a:pt x="933" y="3867"/>
                  </a:lnTo>
                  <a:lnTo>
                    <a:pt x="890" y="3838"/>
                  </a:lnTo>
                  <a:lnTo>
                    <a:pt x="849" y="3808"/>
                  </a:lnTo>
                  <a:lnTo>
                    <a:pt x="809" y="3777"/>
                  </a:lnTo>
                  <a:lnTo>
                    <a:pt x="770" y="3745"/>
                  </a:lnTo>
                  <a:lnTo>
                    <a:pt x="731" y="3712"/>
                  </a:lnTo>
                  <a:lnTo>
                    <a:pt x="693" y="3678"/>
                  </a:lnTo>
                  <a:lnTo>
                    <a:pt x="655" y="3644"/>
                  </a:lnTo>
                  <a:lnTo>
                    <a:pt x="619" y="3608"/>
                  </a:lnTo>
                  <a:lnTo>
                    <a:pt x="584" y="3572"/>
                  </a:lnTo>
                  <a:lnTo>
                    <a:pt x="549" y="3535"/>
                  </a:lnTo>
                  <a:lnTo>
                    <a:pt x="516" y="3497"/>
                  </a:lnTo>
                  <a:lnTo>
                    <a:pt x="483" y="3459"/>
                  </a:lnTo>
                  <a:lnTo>
                    <a:pt x="451" y="3419"/>
                  </a:lnTo>
                  <a:lnTo>
                    <a:pt x="420" y="3379"/>
                  </a:lnTo>
                  <a:lnTo>
                    <a:pt x="391" y="3337"/>
                  </a:lnTo>
                  <a:lnTo>
                    <a:pt x="362" y="3296"/>
                  </a:lnTo>
                  <a:lnTo>
                    <a:pt x="333" y="3253"/>
                  </a:lnTo>
                  <a:lnTo>
                    <a:pt x="306" y="3210"/>
                  </a:lnTo>
                  <a:lnTo>
                    <a:pt x="280" y="3166"/>
                  </a:lnTo>
                  <a:lnTo>
                    <a:pt x="256" y="3122"/>
                  </a:lnTo>
                  <a:lnTo>
                    <a:pt x="232" y="3077"/>
                  </a:lnTo>
                  <a:lnTo>
                    <a:pt x="208" y="3030"/>
                  </a:lnTo>
                  <a:lnTo>
                    <a:pt x="187" y="2984"/>
                  </a:lnTo>
                  <a:lnTo>
                    <a:pt x="166" y="2937"/>
                  </a:lnTo>
                  <a:lnTo>
                    <a:pt x="146" y="2889"/>
                  </a:lnTo>
                  <a:lnTo>
                    <a:pt x="129" y="2841"/>
                  </a:lnTo>
                  <a:lnTo>
                    <a:pt x="111" y="2792"/>
                  </a:lnTo>
                  <a:lnTo>
                    <a:pt x="95" y="2743"/>
                  </a:lnTo>
                  <a:lnTo>
                    <a:pt x="80" y="2692"/>
                  </a:lnTo>
                  <a:lnTo>
                    <a:pt x="67" y="2642"/>
                  </a:lnTo>
                  <a:lnTo>
                    <a:pt x="55" y="2592"/>
                  </a:lnTo>
                  <a:lnTo>
                    <a:pt x="43" y="2540"/>
                  </a:lnTo>
                  <a:lnTo>
                    <a:pt x="33" y="2489"/>
                  </a:lnTo>
                  <a:lnTo>
                    <a:pt x="25" y="2436"/>
                  </a:lnTo>
                  <a:lnTo>
                    <a:pt x="18" y="2383"/>
                  </a:lnTo>
                  <a:lnTo>
                    <a:pt x="11" y="2330"/>
                  </a:lnTo>
                  <a:lnTo>
                    <a:pt x="6" y="2276"/>
                  </a:lnTo>
                  <a:lnTo>
                    <a:pt x="3" y="2223"/>
                  </a:lnTo>
                  <a:lnTo>
                    <a:pt x="1" y="2168"/>
                  </a:lnTo>
                  <a:lnTo>
                    <a:pt x="0" y="2114"/>
                  </a:lnTo>
                  <a:lnTo>
                    <a:pt x="0" y="2114"/>
                  </a:lnTo>
                  <a:lnTo>
                    <a:pt x="1" y="2059"/>
                  </a:lnTo>
                  <a:lnTo>
                    <a:pt x="3" y="2005"/>
                  </a:lnTo>
                  <a:lnTo>
                    <a:pt x="6" y="1952"/>
                  </a:lnTo>
                  <a:lnTo>
                    <a:pt x="11" y="1898"/>
                  </a:lnTo>
                  <a:lnTo>
                    <a:pt x="18" y="1845"/>
                  </a:lnTo>
                  <a:lnTo>
                    <a:pt x="25" y="1792"/>
                  </a:lnTo>
                  <a:lnTo>
                    <a:pt x="33" y="1740"/>
                  </a:lnTo>
                  <a:lnTo>
                    <a:pt x="43" y="1688"/>
                  </a:lnTo>
                  <a:lnTo>
                    <a:pt x="55" y="1637"/>
                  </a:lnTo>
                  <a:lnTo>
                    <a:pt x="67" y="1586"/>
                  </a:lnTo>
                  <a:lnTo>
                    <a:pt x="80" y="1536"/>
                  </a:lnTo>
                  <a:lnTo>
                    <a:pt x="95" y="1485"/>
                  </a:lnTo>
                  <a:lnTo>
                    <a:pt x="111" y="1436"/>
                  </a:lnTo>
                  <a:lnTo>
                    <a:pt x="129" y="1387"/>
                  </a:lnTo>
                  <a:lnTo>
                    <a:pt x="146" y="1339"/>
                  </a:lnTo>
                  <a:lnTo>
                    <a:pt x="166" y="1291"/>
                  </a:lnTo>
                  <a:lnTo>
                    <a:pt x="187" y="1244"/>
                  </a:lnTo>
                  <a:lnTo>
                    <a:pt x="208" y="1198"/>
                  </a:lnTo>
                  <a:lnTo>
                    <a:pt x="232" y="1151"/>
                  </a:lnTo>
                  <a:lnTo>
                    <a:pt x="256" y="1106"/>
                  </a:lnTo>
                  <a:lnTo>
                    <a:pt x="280" y="1062"/>
                  </a:lnTo>
                  <a:lnTo>
                    <a:pt x="306" y="1017"/>
                  </a:lnTo>
                  <a:lnTo>
                    <a:pt x="333" y="974"/>
                  </a:lnTo>
                  <a:lnTo>
                    <a:pt x="362" y="932"/>
                  </a:lnTo>
                  <a:lnTo>
                    <a:pt x="391" y="891"/>
                  </a:lnTo>
                  <a:lnTo>
                    <a:pt x="420" y="850"/>
                  </a:lnTo>
                  <a:lnTo>
                    <a:pt x="451" y="809"/>
                  </a:lnTo>
                  <a:lnTo>
                    <a:pt x="483" y="769"/>
                  </a:lnTo>
                  <a:lnTo>
                    <a:pt x="516" y="731"/>
                  </a:lnTo>
                  <a:lnTo>
                    <a:pt x="549" y="693"/>
                  </a:lnTo>
                  <a:lnTo>
                    <a:pt x="584" y="656"/>
                  </a:lnTo>
                  <a:lnTo>
                    <a:pt x="619" y="619"/>
                  </a:lnTo>
                  <a:lnTo>
                    <a:pt x="655" y="584"/>
                  </a:lnTo>
                  <a:lnTo>
                    <a:pt x="693" y="549"/>
                  </a:lnTo>
                  <a:lnTo>
                    <a:pt x="731" y="516"/>
                  </a:lnTo>
                  <a:lnTo>
                    <a:pt x="770" y="483"/>
                  </a:lnTo>
                  <a:lnTo>
                    <a:pt x="809" y="451"/>
                  </a:lnTo>
                  <a:lnTo>
                    <a:pt x="849" y="420"/>
                  </a:lnTo>
                  <a:lnTo>
                    <a:pt x="890" y="390"/>
                  </a:lnTo>
                  <a:lnTo>
                    <a:pt x="933" y="361"/>
                  </a:lnTo>
                  <a:lnTo>
                    <a:pt x="975" y="333"/>
                  </a:lnTo>
                  <a:lnTo>
                    <a:pt x="1018" y="306"/>
                  </a:lnTo>
                  <a:lnTo>
                    <a:pt x="1062" y="280"/>
                  </a:lnTo>
                  <a:lnTo>
                    <a:pt x="1107" y="255"/>
                  </a:lnTo>
                  <a:lnTo>
                    <a:pt x="1152" y="231"/>
                  </a:lnTo>
                  <a:lnTo>
                    <a:pt x="1197" y="209"/>
                  </a:lnTo>
                  <a:lnTo>
                    <a:pt x="1245" y="187"/>
                  </a:lnTo>
                  <a:lnTo>
                    <a:pt x="1291" y="167"/>
                  </a:lnTo>
                  <a:lnTo>
                    <a:pt x="1340" y="147"/>
                  </a:lnTo>
                  <a:lnTo>
                    <a:pt x="1388" y="128"/>
                  </a:lnTo>
                  <a:lnTo>
                    <a:pt x="1437" y="111"/>
                  </a:lnTo>
                  <a:lnTo>
                    <a:pt x="1486" y="95"/>
                  </a:lnTo>
                  <a:lnTo>
                    <a:pt x="1535" y="80"/>
                  </a:lnTo>
                  <a:lnTo>
                    <a:pt x="1586" y="67"/>
                  </a:lnTo>
                  <a:lnTo>
                    <a:pt x="1637" y="54"/>
                  </a:lnTo>
                  <a:lnTo>
                    <a:pt x="1689" y="43"/>
                  </a:lnTo>
                  <a:lnTo>
                    <a:pt x="1740" y="33"/>
                  </a:lnTo>
                  <a:lnTo>
                    <a:pt x="1793" y="24"/>
                  </a:lnTo>
                  <a:lnTo>
                    <a:pt x="1846" y="17"/>
                  </a:lnTo>
                  <a:lnTo>
                    <a:pt x="1898" y="11"/>
                  </a:lnTo>
                  <a:lnTo>
                    <a:pt x="1952" y="6"/>
                  </a:lnTo>
                  <a:lnTo>
                    <a:pt x="2006" y="3"/>
                  </a:lnTo>
                  <a:lnTo>
                    <a:pt x="2060" y="1"/>
                  </a:lnTo>
                  <a:lnTo>
                    <a:pt x="2115" y="0"/>
                  </a:lnTo>
                  <a:lnTo>
                    <a:pt x="2115" y="0"/>
                  </a:lnTo>
                  <a:lnTo>
                    <a:pt x="2169" y="1"/>
                  </a:lnTo>
                  <a:lnTo>
                    <a:pt x="2224" y="3"/>
                  </a:lnTo>
                  <a:lnTo>
                    <a:pt x="2277" y="6"/>
                  </a:lnTo>
                  <a:lnTo>
                    <a:pt x="2331" y="11"/>
                  </a:lnTo>
                  <a:lnTo>
                    <a:pt x="2383" y="17"/>
                  </a:lnTo>
                  <a:lnTo>
                    <a:pt x="2437" y="24"/>
                  </a:lnTo>
                  <a:lnTo>
                    <a:pt x="2489" y="33"/>
                  </a:lnTo>
                  <a:lnTo>
                    <a:pt x="2541" y="43"/>
                  </a:lnTo>
                  <a:lnTo>
                    <a:pt x="2593" y="54"/>
                  </a:lnTo>
                  <a:lnTo>
                    <a:pt x="2643" y="67"/>
                  </a:lnTo>
                  <a:lnTo>
                    <a:pt x="2694" y="80"/>
                  </a:lnTo>
                  <a:lnTo>
                    <a:pt x="2743" y="95"/>
                  </a:lnTo>
                  <a:lnTo>
                    <a:pt x="2793" y="111"/>
                  </a:lnTo>
                  <a:lnTo>
                    <a:pt x="2842" y="128"/>
                  </a:lnTo>
                  <a:lnTo>
                    <a:pt x="2890" y="147"/>
                  </a:lnTo>
                  <a:lnTo>
                    <a:pt x="2938" y="167"/>
                  </a:lnTo>
                  <a:lnTo>
                    <a:pt x="2985" y="187"/>
                  </a:lnTo>
                  <a:lnTo>
                    <a:pt x="3032" y="209"/>
                  </a:lnTo>
                  <a:lnTo>
                    <a:pt x="3077" y="231"/>
                  </a:lnTo>
                  <a:lnTo>
                    <a:pt x="3122" y="255"/>
                  </a:lnTo>
                  <a:lnTo>
                    <a:pt x="3168" y="280"/>
                  </a:lnTo>
                  <a:lnTo>
                    <a:pt x="3211" y="306"/>
                  </a:lnTo>
                  <a:lnTo>
                    <a:pt x="3254" y="333"/>
                  </a:lnTo>
                  <a:lnTo>
                    <a:pt x="3296" y="361"/>
                  </a:lnTo>
                  <a:lnTo>
                    <a:pt x="3339" y="390"/>
                  </a:lnTo>
                  <a:lnTo>
                    <a:pt x="3380" y="420"/>
                  </a:lnTo>
                  <a:lnTo>
                    <a:pt x="3420" y="451"/>
                  </a:lnTo>
                  <a:lnTo>
                    <a:pt x="3459" y="483"/>
                  </a:lnTo>
                  <a:lnTo>
                    <a:pt x="3498" y="516"/>
                  </a:lnTo>
                  <a:lnTo>
                    <a:pt x="3537" y="549"/>
                  </a:lnTo>
                  <a:lnTo>
                    <a:pt x="3574" y="584"/>
                  </a:lnTo>
                  <a:lnTo>
                    <a:pt x="3610" y="619"/>
                  </a:lnTo>
                  <a:lnTo>
                    <a:pt x="3645" y="656"/>
                  </a:lnTo>
                  <a:lnTo>
                    <a:pt x="3680" y="693"/>
                  </a:lnTo>
                  <a:lnTo>
                    <a:pt x="3714" y="731"/>
                  </a:lnTo>
                  <a:lnTo>
                    <a:pt x="3747" y="769"/>
                  </a:lnTo>
                  <a:lnTo>
                    <a:pt x="3778" y="809"/>
                  </a:lnTo>
                  <a:lnTo>
                    <a:pt x="3809" y="850"/>
                  </a:lnTo>
                  <a:lnTo>
                    <a:pt x="3839" y="891"/>
                  </a:lnTo>
                  <a:lnTo>
                    <a:pt x="3868" y="932"/>
                  </a:lnTo>
                  <a:lnTo>
                    <a:pt x="3896" y="974"/>
                  </a:lnTo>
                  <a:lnTo>
                    <a:pt x="3923" y="1017"/>
                  </a:lnTo>
                  <a:lnTo>
                    <a:pt x="3949" y="1062"/>
                  </a:lnTo>
                  <a:lnTo>
                    <a:pt x="3973" y="1106"/>
                  </a:lnTo>
                  <a:lnTo>
                    <a:pt x="3998" y="1151"/>
                  </a:lnTo>
                  <a:lnTo>
                    <a:pt x="4021" y="1198"/>
                  </a:lnTo>
                  <a:lnTo>
                    <a:pt x="4042" y="1244"/>
                  </a:lnTo>
                  <a:lnTo>
                    <a:pt x="4063" y="1291"/>
                  </a:lnTo>
                  <a:lnTo>
                    <a:pt x="4083" y="1339"/>
                  </a:lnTo>
                  <a:lnTo>
                    <a:pt x="4101" y="1387"/>
                  </a:lnTo>
                  <a:lnTo>
                    <a:pt x="4118" y="1436"/>
                  </a:lnTo>
                  <a:lnTo>
                    <a:pt x="4134" y="1485"/>
                  </a:lnTo>
                  <a:lnTo>
                    <a:pt x="4149" y="1536"/>
                  </a:lnTo>
                  <a:lnTo>
                    <a:pt x="4163" y="1586"/>
                  </a:lnTo>
                  <a:lnTo>
                    <a:pt x="4175" y="1637"/>
                  </a:lnTo>
                  <a:lnTo>
                    <a:pt x="4186" y="1688"/>
                  </a:lnTo>
                  <a:lnTo>
                    <a:pt x="4196" y="1740"/>
                  </a:lnTo>
                  <a:lnTo>
                    <a:pt x="4204" y="1792"/>
                  </a:lnTo>
                  <a:lnTo>
                    <a:pt x="4213" y="1845"/>
                  </a:lnTo>
                  <a:lnTo>
                    <a:pt x="4219" y="1898"/>
                  </a:lnTo>
                  <a:lnTo>
                    <a:pt x="4223" y="1952"/>
                  </a:lnTo>
                  <a:lnTo>
                    <a:pt x="4226" y="2005"/>
                  </a:lnTo>
                  <a:lnTo>
                    <a:pt x="4228" y="2059"/>
                  </a:lnTo>
                  <a:lnTo>
                    <a:pt x="4229" y="211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 name="Freeform 399">
              <a:extLst>
                <a:ext uri="{FF2B5EF4-FFF2-40B4-BE49-F238E27FC236}">
                  <a16:creationId xmlns:a16="http://schemas.microsoft.com/office/drawing/2014/main" id="{9328D246-FC06-D4A2-A828-6605CDCF6D5F}"/>
                </a:ext>
              </a:extLst>
            </p:cNvPr>
            <p:cNvSpPr>
              <a:spLocks/>
            </p:cNvSpPr>
            <p:nvPr/>
          </p:nvSpPr>
          <p:spPr bwMode="auto">
            <a:xfrm>
              <a:off x="4468813" y="2589213"/>
              <a:ext cx="615950" cy="509587"/>
            </a:xfrm>
            <a:custGeom>
              <a:avLst/>
              <a:gdLst/>
              <a:ahLst/>
              <a:cxnLst>
                <a:cxn ang="0">
                  <a:pos x="2111" y="0"/>
                </a:cxn>
                <a:cxn ang="0">
                  <a:pos x="132" y="0"/>
                </a:cxn>
                <a:cxn ang="0">
                  <a:pos x="0" y="264"/>
                </a:cxn>
                <a:cxn ang="0">
                  <a:pos x="132" y="396"/>
                </a:cxn>
                <a:cxn ang="0">
                  <a:pos x="0" y="1356"/>
                </a:cxn>
                <a:cxn ang="0">
                  <a:pos x="246" y="1865"/>
                </a:cxn>
                <a:cxn ang="0">
                  <a:pos x="955" y="2573"/>
                </a:cxn>
                <a:cxn ang="0">
                  <a:pos x="1056" y="2575"/>
                </a:cxn>
                <a:cxn ang="0">
                  <a:pos x="1124" y="2574"/>
                </a:cxn>
                <a:cxn ang="0">
                  <a:pos x="1258" y="2566"/>
                </a:cxn>
                <a:cxn ang="0">
                  <a:pos x="1389" y="2550"/>
                </a:cxn>
                <a:cxn ang="0">
                  <a:pos x="1518" y="2525"/>
                </a:cxn>
                <a:cxn ang="0">
                  <a:pos x="1645" y="2493"/>
                </a:cxn>
                <a:cxn ang="0">
                  <a:pos x="1768" y="2453"/>
                </a:cxn>
                <a:cxn ang="0">
                  <a:pos x="1887" y="2407"/>
                </a:cxn>
                <a:cxn ang="0">
                  <a:pos x="2004" y="2352"/>
                </a:cxn>
                <a:cxn ang="0">
                  <a:pos x="2059" y="2323"/>
                </a:cxn>
                <a:cxn ang="0">
                  <a:pos x="2154" y="2268"/>
                </a:cxn>
                <a:cxn ang="0">
                  <a:pos x="2245" y="2210"/>
                </a:cxn>
                <a:cxn ang="0">
                  <a:pos x="2333" y="2147"/>
                </a:cxn>
                <a:cxn ang="0">
                  <a:pos x="2417" y="2079"/>
                </a:cxn>
                <a:cxn ang="0">
                  <a:pos x="2498" y="2008"/>
                </a:cxn>
                <a:cxn ang="0">
                  <a:pos x="2575" y="1933"/>
                </a:cxn>
                <a:cxn ang="0">
                  <a:pos x="2649" y="1852"/>
                </a:cxn>
                <a:cxn ang="0">
                  <a:pos x="2717" y="1770"/>
                </a:cxn>
                <a:cxn ang="0">
                  <a:pos x="2782" y="1683"/>
                </a:cxn>
                <a:cxn ang="0">
                  <a:pos x="2842" y="1593"/>
                </a:cxn>
                <a:cxn ang="0">
                  <a:pos x="2898" y="1500"/>
                </a:cxn>
                <a:cxn ang="0">
                  <a:pos x="2949" y="1404"/>
                </a:cxn>
                <a:cxn ang="0">
                  <a:pos x="2995" y="1305"/>
                </a:cxn>
                <a:cxn ang="0">
                  <a:pos x="3036" y="1203"/>
                </a:cxn>
                <a:cxn ang="0">
                  <a:pos x="3072" y="1099"/>
                </a:cxn>
                <a:cxn ang="0">
                  <a:pos x="3103" y="992"/>
                </a:cxn>
              </a:cxnLst>
              <a:rect l="0" t="0" r="r" b="b"/>
              <a:pathLst>
                <a:path w="3103" h="2575">
                  <a:moveTo>
                    <a:pt x="2111" y="0"/>
                  </a:moveTo>
                  <a:lnTo>
                    <a:pt x="2111" y="0"/>
                  </a:lnTo>
                  <a:lnTo>
                    <a:pt x="1979" y="0"/>
                  </a:lnTo>
                  <a:lnTo>
                    <a:pt x="132" y="0"/>
                  </a:lnTo>
                  <a:lnTo>
                    <a:pt x="0" y="0"/>
                  </a:lnTo>
                  <a:lnTo>
                    <a:pt x="0" y="264"/>
                  </a:lnTo>
                  <a:lnTo>
                    <a:pt x="0" y="264"/>
                  </a:lnTo>
                  <a:lnTo>
                    <a:pt x="132" y="396"/>
                  </a:lnTo>
                  <a:lnTo>
                    <a:pt x="132" y="1356"/>
                  </a:lnTo>
                  <a:lnTo>
                    <a:pt x="0" y="1356"/>
                  </a:lnTo>
                  <a:lnTo>
                    <a:pt x="0" y="1619"/>
                  </a:lnTo>
                  <a:lnTo>
                    <a:pt x="246" y="1865"/>
                  </a:lnTo>
                  <a:lnTo>
                    <a:pt x="955" y="2573"/>
                  </a:lnTo>
                  <a:lnTo>
                    <a:pt x="955" y="2573"/>
                  </a:lnTo>
                  <a:lnTo>
                    <a:pt x="1005" y="2575"/>
                  </a:lnTo>
                  <a:lnTo>
                    <a:pt x="1056" y="2575"/>
                  </a:lnTo>
                  <a:lnTo>
                    <a:pt x="1056" y="2575"/>
                  </a:lnTo>
                  <a:lnTo>
                    <a:pt x="1124" y="2574"/>
                  </a:lnTo>
                  <a:lnTo>
                    <a:pt x="1191" y="2571"/>
                  </a:lnTo>
                  <a:lnTo>
                    <a:pt x="1258" y="2566"/>
                  </a:lnTo>
                  <a:lnTo>
                    <a:pt x="1323" y="2559"/>
                  </a:lnTo>
                  <a:lnTo>
                    <a:pt x="1389" y="2550"/>
                  </a:lnTo>
                  <a:lnTo>
                    <a:pt x="1454" y="2538"/>
                  </a:lnTo>
                  <a:lnTo>
                    <a:pt x="1518" y="2525"/>
                  </a:lnTo>
                  <a:lnTo>
                    <a:pt x="1582" y="2510"/>
                  </a:lnTo>
                  <a:lnTo>
                    <a:pt x="1645" y="2493"/>
                  </a:lnTo>
                  <a:lnTo>
                    <a:pt x="1707" y="2473"/>
                  </a:lnTo>
                  <a:lnTo>
                    <a:pt x="1768" y="2453"/>
                  </a:lnTo>
                  <a:lnTo>
                    <a:pt x="1828" y="2430"/>
                  </a:lnTo>
                  <a:lnTo>
                    <a:pt x="1887" y="2407"/>
                  </a:lnTo>
                  <a:lnTo>
                    <a:pt x="1946" y="2380"/>
                  </a:lnTo>
                  <a:lnTo>
                    <a:pt x="2004" y="2352"/>
                  </a:lnTo>
                  <a:lnTo>
                    <a:pt x="2059" y="2323"/>
                  </a:lnTo>
                  <a:lnTo>
                    <a:pt x="2059" y="2323"/>
                  </a:lnTo>
                  <a:lnTo>
                    <a:pt x="2108" y="2296"/>
                  </a:lnTo>
                  <a:lnTo>
                    <a:pt x="2154" y="2268"/>
                  </a:lnTo>
                  <a:lnTo>
                    <a:pt x="2200" y="2240"/>
                  </a:lnTo>
                  <a:lnTo>
                    <a:pt x="2245" y="2210"/>
                  </a:lnTo>
                  <a:lnTo>
                    <a:pt x="2289" y="2179"/>
                  </a:lnTo>
                  <a:lnTo>
                    <a:pt x="2333" y="2147"/>
                  </a:lnTo>
                  <a:lnTo>
                    <a:pt x="2376" y="2114"/>
                  </a:lnTo>
                  <a:lnTo>
                    <a:pt x="2417" y="2079"/>
                  </a:lnTo>
                  <a:lnTo>
                    <a:pt x="2458" y="2044"/>
                  </a:lnTo>
                  <a:lnTo>
                    <a:pt x="2498" y="2008"/>
                  </a:lnTo>
                  <a:lnTo>
                    <a:pt x="2537" y="1971"/>
                  </a:lnTo>
                  <a:lnTo>
                    <a:pt x="2575" y="1933"/>
                  </a:lnTo>
                  <a:lnTo>
                    <a:pt x="2613" y="1892"/>
                  </a:lnTo>
                  <a:lnTo>
                    <a:pt x="2649" y="1852"/>
                  </a:lnTo>
                  <a:lnTo>
                    <a:pt x="2684" y="1812"/>
                  </a:lnTo>
                  <a:lnTo>
                    <a:pt x="2717" y="1770"/>
                  </a:lnTo>
                  <a:lnTo>
                    <a:pt x="2750" y="1727"/>
                  </a:lnTo>
                  <a:lnTo>
                    <a:pt x="2782" y="1683"/>
                  </a:lnTo>
                  <a:lnTo>
                    <a:pt x="2812" y="1638"/>
                  </a:lnTo>
                  <a:lnTo>
                    <a:pt x="2842" y="1593"/>
                  </a:lnTo>
                  <a:lnTo>
                    <a:pt x="2871" y="1547"/>
                  </a:lnTo>
                  <a:lnTo>
                    <a:pt x="2898" y="1500"/>
                  </a:lnTo>
                  <a:lnTo>
                    <a:pt x="2924" y="1453"/>
                  </a:lnTo>
                  <a:lnTo>
                    <a:pt x="2949" y="1404"/>
                  </a:lnTo>
                  <a:lnTo>
                    <a:pt x="2973" y="1355"/>
                  </a:lnTo>
                  <a:lnTo>
                    <a:pt x="2995" y="1305"/>
                  </a:lnTo>
                  <a:lnTo>
                    <a:pt x="3016" y="1255"/>
                  </a:lnTo>
                  <a:lnTo>
                    <a:pt x="3036" y="1203"/>
                  </a:lnTo>
                  <a:lnTo>
                    <a:pt x="3055" y="1152"/>
                  </a:lnTo>
                  <a:lnTo>
                    <a:pt x="3072" y="1099"/>
                  </a:lnTo>
                  <a:lnTo>
                    <a:pt x="3089" y="1046"/>
                  </a:lnTo>
                  <a:lnTo>
                    <a:pt x="3103" y="992"/>
                  </a:lnTo>
                  <a:lnTo>
                    <a:pt x="2111" y="0"/>
                  </a:lnTo>
                  <a:close/>
                </a:path>
              </a:pathLst>
            </a:custGeom>
            <a:solidFill>
              <a:srgbClr val="3C9987"/>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Freeform 400">
              <a:extLst>
                <a:ext uri="{FF2B5EF4-FFF2-40B4-BE49-F238E27FC236}">
                  <a16:creationId xmlns:a16="http://schemas.microsoft.com/office/drawing/2014/main" id="{49EBAD64-C9FF-C24C-7DD7-4A116BE2AAB7}"/>
                </a:ext>
              </a:extLst>
            </p:cNvPr>
            <p:cNvSpPr>
              <a:spLocks/>
            </p:cNvSpPr>
            <p:nvPr/>
          </p:nvSpPr>
          <p:spPr bwMode="auto">
            <a:xfrm>
              <a:off x="4468813" y="2589213"/>
              <a:ext cx="615950" cy="509587"/>
            </a:xfrm>
            <a:custGeom>
              <a:avLst/>
              <a:gdLst/>
              <a:ahLst/>
              <a:cxnLst>
                <a:cxn ang="0">
                  <a:pos x="2111" y="0"/>
                </a:cxn>
                <a:cxn ang="0">
                  <a:pos x="132" y="0"/>
                </a:cxn>
                <a:cxn ang="0">
                  <a:pos x="0" y="264"/>
                </a:cxn>
                <a:cxn ang="0">
                  <a:pos x="132" y="396"/>
                </a:cxn>
                <a:cxn ang="0">
                  <a:pos x="0" y="1356"/>
                </a:cxn>
                <a:cxn ang="0">
                  <a:pos x="246" y="1865"/>
                </a:cxn>
                <a:cxn ang="0">
                  <a:pos x="955" y="2573"/>
                </a:cxn>
                <a:cxn ang="0">
                  <a:pos x="1056" y="2575"/>
                </a:cxn>
                <a:cxn ang="0">
                  <a:pos x="1124" y="2574"/>
                </a:cxn>
                <a:cxn ang="0">
                  <a:pos x="1258" y="2566"/>
                </a:cxn>
                <a:cxn ang="0">
                  <a:pos x="1389" y="2550"/>
                </a:cxn>
                <a:cxn ang="0">
                  <a:pos x="1518" y="2525"/>
                </a:cxn>
                <a:cxn ang="0">
                  <a:pos x="1645" y="2493"/>
                </a:cxn>
                <a:cxn ang="0">
                  <a:pos x="1768" y="2453"/>
                </a:cxn>
                <a:cxn ang="0">
                  <a:pos x="1887" y="2407"/>
                </a:cxn>
                <a:cxn ang="0">
                  <a:pos x="2004" y="2352"/>
                </a:cxn>
                <a:cxn ang="0">
                  <a:pos x="2059" y="2323"/>
                </a:cxn>
                <a:cxn ang="0">
                  <a:pos x="2154" y="2268"/>
                </a:cxn>
                <a:cxn ang="0">
                  <a:pos x="2245" y="2210"/>
                </a:cxn>
                <a:cxn ang="0">
                  <a:pos x="2333" y="2147"/>
                </a:cxn>
                <a:cxn ang="0">
                  <a:pos x="2417" y="2079"/>
                </a:cxn>
                <a:cxn ang="0">
                  <a:pos x="2498" y="2008"/>
                </a:cxn>
                <a:cxn ang="0">
                  <a:pos x="2575" y="1933"/>
                </a:cxn>
                <a:cxn ang="0">
                  <a:pos x="2649" y="1852"/>
                </a:cxn>
                <a:cxn ang="0">
                  <a:pos x="2717" y="1770"/>
                </a:cxn>
                <a:cxn ang="0">
                  <a:pos x="2782" y="1683"/>
                </a:cxn>
                <a:cxn ang="0">
                  <a:pos x="2842" y="1593"/>
                </a:cxn>
                <a:cxn ang="0">
                  <a:pos x="2898" y="1500"/>
                </a:cxn>
                <a:cxn ang="0">
                  <a:pos x="2949" y="1404"/>
                </a:cxn>
                <a:cxn ang="0">
                  <a:pos x="2995" y="1305"/>
                </a:cxn>
                <a:cxn ang="0">
                  <a:pos x="3036" y="1203"/>
                </a:cxn>
                <a:cxn ang="0">
                  <a:pos x="3072" y="1099"/>
                </a:cxn>
                <a:cxn ang="0">
                  <a:pos x="3103" y="992"/>
                </a:cxn>
              </a:cxnLst>
              <a:rect l="0" t="0" r="r" b="b"/>
              <a:pathLst>
                <a:path w="3103" h="2575">
                  <a:moveTo>
                    <a:pt x="2111" y="0"/>
                  </a:moveTo>
                  <a:lnTo>
                    <a:pt x="2111" y="0"/>
                  </a:lnTo>
                  <a:lnTo>
                    <a:pt x="1979" y="0"/>
                  </a:lnTo>
                  <a:lnTo>
                    <a:pt x="132" y="0"/>
                  </a:lnTo>
                  <a:lnTo>
                    <a:pt x="0" y="0"/>
                  </a:lnTo>
                  <a:lnTo>
                    <a:pt x="0" y="264"/>
                  </a:lnTo>
                  <a:lnTo>
                    <a:pt x="0" y="264"/>
                  </a:lnTo>
                  <a:lnTo>
                    <a:pt x="132" y="396"/>
                  </a:lnTo>
                  <a:lnTo>
                    <a:pt x="132" y="1356"/>
                  </a:lnTo>
                  <a:lnTo>
                    <a:pt x="0" y="1356"/>
                  </a:lnTo>
                  <a:lnTo>
                    <a:pt x="0" y="1619"/>
                  </a:lnTo>
                  <a:lnTo>
                    <a:pt x="246" y="1865"/>
                  </a:lnTo>
                  <a:lnTo>
                    <a:pt x="955" y="2573"/>
                  </a:lnTo>
                  <a:lnTo>
                    <a:pt x="955" y="2573"/>
                  </a:lnTo>
                  <a:lnTo>
                    <a:pt x="1005" y="2575"/>
                  </a:lnTo>
                  <a:lnTo>
                    <a:pt x="1056" y="2575"/>
                  </a:lnTo>
                  <a:lnTo>
                    <a:pt x="1056" y="2575"/>
                  </a:lnTo>
                  <a:lnTo>
                    <a:pt x="1124" y="2574"/>
                  </a:lnTo>
                  <a:lnTo>
                    <a:pt x="1191" y="2571"/>
                  </a:lnTo>
                  <a:lnTo>
                    <a:pt x="1258" y="2566"/>
                  </a:lnTo>
                  <a:lnTo>
                    <a:pt x="1323" y="2559"/>
                  </a:lnTo>
                  <a:lnTo>
                    <a:pt x="1389" y="2550"/>
                  </a:lnTo>
                  <a:lnTo>
                    <a:pt x="1454" y="2538"/>
                  </a:lnTo>
                  <a:lnTo>
                    <a:pt x="1518" y="2525"/>
                  </a:lnTo>
                  <a:lnTo>
                    <a:pt x="1582" y="2510"/>
                  </a:lnTo>
                  <a:lnTo>
                    <a:pt x="1645" y="2493"/>
                  </a:lnTo>
                  <a:lnTo>
                    <a:pt x="1707" y="2473"/>
                  </a:lnTo>
                  <a:lnTo>
                    <a:pt x="1768" y="2453"/>
                  </a:lnTo>
                  <a:lnTo>
                    <a:pt x="1828" y="2430"/>
                  </a:lnTo>
                  <a:lnTo>
                    <a:pt x="1887" y="2407"/>
                  </a:lnTo>
                  <a:lnTo>
                    <a:pt x="1946" y="2380"/>
                  </a:lnTo>
                  <a:lnTo>
                    <a:pt x="2004" y="2352"/>
                  </a:lnTo>
                  <a:lnTo>
                    <a:pt x="2059" y="2323"/>
                  </a:lnTo>
                  <a:lnTo>
                    <a:pt x="2059" y="2323"/>
                  </a:lnTo>
                  <a:lnTo>
                    <a:pt x="2108" y="2296"/>
                  </a:lnTo>
                  <a:lnTo>
                    <a:pt x="2154" y="2268"/>
                  </a:lnTo>
                  <a:lnTo>
                    <a:pt x="2200" y="2240"/>
                  </a:lnTo>
                  <a:lnTo>
                    <a:pt x="2245" y="2210"/>
                  </a:lnTo>
                  <a:lnTo>
                    <a:pt x="2289" y="2179"/>
                  </a:lnTo>
                  <a:lnTo>
                    <a:pt x="2333" y="2147"/>
                  </a:lnTo>
                  <a:lnTo>
                    <a:pt x="2376" y="2114"/>
                  </a:lnTo>
                  <a:lnTo>
                    <a:pt x="2417" y="2079"/>
                  </a:lnTo>
                  <a:lnTo>
                    <a:pt x="2458" y="2044"/>
                  </a:lnTo>
                  <a:lnTo>
                    <a:pt x="2498" y="2008"/>
                  </a:lnTo>
                  <a:lnTo>
                    <a:pt x="2537" y="1971"/>
                  </a:lnTo>
                  <a:lnTo>
                    <a:pt x="2575" y="1933"/>
                  </a:lnTo>
                  <a:lnTo>
                    <a:pt x="2613" y="1892"/>
                  </a:lnTo>
                  <a:lnTo>
                    <a:pt x="2649" y="1852"/>
                  </a:lnTo>
                  <a:lnTo>
                    <a:pt x="2684" y="1812"/>
                  </a:lnTo>
                  <a:lnTo>
                    <a:pt x="2717" y="1770"/>
                  </a:lnTo>
                  <a:lnTo>
                    <a:pt x="2750" y="1727"/>
                  </a:lnTo>
                  <a:lnTo>
                    <a:pt x="2782" y="1683"/>
                  </a:lnTo>
                  <a:lnTo>
                    <a:pt x="2812" y="1638"/>
                  </a:lnTo>
                  <a:lnTo>
                    <a:pt x="2842" y="1593"/>
                  </a:lnTo>
                  <a:lnTo>
                    <a:pt x="2871" y="1547"/>
                  </a:lnTo>
                  <a:lnTo>
                    <a:pt x="2898" y="1500"/>
                  </a:lnTo>
                  <a:lnTo>
                    <a:pt x="2924" y="1453"/>
                  </a:lnTo>
                  <a:lnTo>
                    <a:pt x="2949" y="1404"/>
                  </a:lnTo>
                  <a:lnTo>
                    <a:pt x="2973" y="1355"/>
                  </a:lnTo>
                  <a:lnTo>
                    <a:pt x="2995" y="1305"/>
                  </a:lnTo>
                  <a:lnTo>
                    <a:pt x="3016" y="1255"/>
                  </a:lnTo>
                  <a:lnTo>
                    <a:pt x="3036" y="1203"/>
                  </a:lnTo>
                  <a:lnTo>
                    <a:pt x="3055" y="1152"/>
                  </a:lnTo>
                  <a:lnTo>
                    <a:pt x="3072" y="1099"/>
                  </a:lnTo>
                  <a:lnTo>
                    <a:pt x="3089" y="1046"/>
                  </a:lnTo>
                  <a:lnTo>
                    <a:pt x="3103" y="992"/>
                  </a:lnTo>
                  <a:lnTo>
                    <a:pt x="2111"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Rectangle 401">
              <a:extLst>
                <a:ext uri="{FF2B5EF4-FFF2-40B4-BE49-F238E27FC236}">
                  <a16:creationId xmlns:a16="http://schemas.microsoft.com/office/drawing/2014/main" id="{27249386-E685-9589-2A99-056FD1A58D34}"/>
                </a:ext>
              </a:extLst>
            </p:cNvPr>
            <p:cNvSpPr>
              <a:spLocks noChangeArrowheads="1"/>
            </p:cNvSpPr>
            <p:nvPr/>
          </p:nvSpPr>
          <p:spPr bwMode="auto">
            <a:xfrm>
              <a:off x="4598988" y="2640013"/>
              <a:ext cx="52388" cy="261937"/>
            </a:xfrm>
            <a:prstGeom prst="rect">
              <a:avLst/>
            </a:prstGeom>
            <a:solidFill>
              <a:srgbClr val="FFEED2"/>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 name="Rectangle 402">
              <a:extLst>
                <a:ext uri="{FF2B5EF4-FFF2-40B4-BE49-F238E27FC236}">
                  <a16:creationId xmlns:a16="http://schemas.microsoft.com/office/drawing/2014/main" id="{AB6C17DE-E025-98E5-679E-8928655A5469}"/>
                </a:ext>
              </a:extLst>
            </p:cNvPr>
            <p:cNvSpPr>
              <a:spLocks noChangeArrowheads="1"/>
            </p:cNvSpPr>
            <p:nvPr/>
          </p:nvSpPr>
          <p:spPr bwMode="auto">
            <a:xfrm>
              <a:off x="4598988" y="2640013"/>
              <a:ext cx="52388" cy="2619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 name="Rectangle 403">
              <a:extLst>
                <a:ext uri="{FF2B5EF4-FFF2-40B4-BE49-F238E27FC236}">
                  <a16:creationId xmlns:a16="http://schemas.microsoft.com/office/drawing/2014/main" id="{B14AF5BD-E5A6-1FEC-45F3-069791DDBCBE}"/>
                </a:ext>
              </a:extLst>
            </p:cNvPr>
            <p:cNvSpPr>
              <a:spLocks noChangeArrowheads="1"/>
            </p:cNvSpPr>
            <p:nvPr/>
          </p:nvSpPr>
          <p:spPr bwMode="auto">
            <a:xfrm>
              <a:off x="4703763" y="2640013"/>
              <a:ext cx="52388" cy="261937"/>
            </a:xfrm>
            <a:prstGeom prst="rect">
              <a:avLst/>
            </a:prstGeom>
            <a:solidFill>
              <a:srgbClr val="FFEED2"/>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1" name="Rectangle 404">
              <a:extLst>
                <a:ext uri="{FF2B5EF4-FFF2-40B4-BE49-F238E27FC236}">
                  <a16:creationId xmlns:a16="http://schemas.microsoft.com/office/drawing/2014/main" id="{69658FA6-FDC4-1730-58B3-1299741EF606}"/>
                </a:ext>
              </a:extLst>
            </p:cNvPr>
            <p:cNvSpPr>
              <a:spLocks noChangeArrowheads="1"/>
            </p:cNvSpPr>
            <p:nvPr/>
          </p:nvSpPr>
          <p:spPr bwMode="auto">
            <a:xfrm>
              <a:off x="4494213" y="2640013"/>
              <a:ext cx="52388" cy="261937"/>
            </a:xfrm>
            <a:prstGeom prst="rect">
              <a:avLst/>
            </a:prstGeom>
            <a:solidFill>
              <a:srgbClr val="FFEED2"/>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2" name="Rectangle 405">
              <a:extLst>
                <a:ext uri="{FF2B5EF4-FFF2-40B4-BE49-F238E27FC236}">
                  <a16:creationId xmlns:a16="http://schemas.microsoft.com/office/drawing/2014/main" id="{982B0808-1C4C-619D-B28F-4F071C07C512}"/>
                </a:ext>
              </a:extLst>
            </p:cNvPr>
            <p:cNvSpPr>
              <a:spLocks noChangeArrowheads="1"/>
            </p:cNvSpPr>
            <p:nvPr/>
          </p:nvSpPr>
          <p:spPr bwMode="auto">
            <a:xfrm>
              <a:off x="4494213" y="2640013"/>
              <a:ext cx="52388" cy="26193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3" name="Rectangle 406">
              <a:extLst>
                <a:ext uri="{FF2B5EF4-FFF2-40B4-BE49-F238E27FC236}">
                  <a16:creationId xmlns:a16="http://schemas.microsoft.com/office/drawing/2014/main" id="{BE775FC0-DC6F-81F6-3A10-BDC9BBD9BD6B}"/>
                </a:ext>
              </a:extLst>
            </p:cNvPr>
            <p:cNvSpPr>
              <a:spLocks noChangeArrowheads="1"/>
            </p:cNvSpPr>
            <p:nvPr/>
          </p:nvSpPr>
          <p:spPr bwMode="auto">
            <a:xfrm>
              <a:off x="4808538" y="2640013"/>
              <a:ext cx="52388" cy="261937"/>
            </a:xfrm>
            <a:prstGeom prst="rect">
              <a:avLst/>
            </a:prstGeom>
            <a:solidFill>
              <a:srgbClr val="FFEED2"/>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408">
              <a:extLst>
                <a:ext uri="{FF2B5EF4-FFF2-40B4-BE49-F238E27FC236}">
                  <a16:creationId xmlns:a16="http://schemas.microsoft.com/office/drawing/2014/main" id="{DF4C628C-73D3-6720-130E-8AD4F2A64450}"/>
                </a:ext>
              </a:extLst>
            </p:cNvPr>
            <p:cNvSpPr>
              <a:spLocks/>
            </p:cNvSpPr>
            <p:nvPr/>
          </p:nvSpPr>
          <p:spPr bwMode="auto">
            <a:xfrm>
              <a:off x="4541838" y="2479675"/>
              <a:ext cx="271463" cy="134937"/>
            </a:xfrm>
            <a:custGeom>
              <a:avLst/>
              <a:gdLst/>
              <a:ahLst/>
              <a:cxnLst>
                <a:cxn ang="0">
                  <a:pos x="683" y="0"/>
                </a:cxn>
                <a:cxn ang="0">
                  <a:pos x="0" y="682"/>
                </a:cxn>
                <a:cxn ang="0">
                  <a:pos x="1365" y="682"/>
                </a:cxn>
                <a:cxn ang="0">
                  <a:pos x="683" y="0"/>
                </a:cxn>
              </a:cxnLst>
              <a:rect l="0" t="0" r="r" b="b"/>
              <a:pathLst>
                <a:path w="1365" h="682">
                  <a:moveTo>
                    <a:pt x="683" y="0"/>
                  </a:moveTo>
                  <a:lnTo>
                    <a:pt x="0" y="682"/>
                  </a:lnTo>
                  <a:lnTo>
                    <a:pt x="1365" y="682"/>
                  </a:lnTo>
                  <a:lnTo>
                    <a:pt x="683" y="0"/>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409">
              <a:extLst>
                <a:ext uri="{FF2B5EF4-FFF2-40B4-BE49-F238E27FC236}">
                  <a16:creationId xmlns:a16="http://schemas.microsoft.com/office/drawing/2014/main" id="{DF48C45D-84D0-709D-2421-B182AF956C1D}"/>
                </a:ext>
              </a:extLst>
            </p:cNvPr>
            <p:cNvSpPr>
              <a:spLocks/>
            </p:cNvSpPr>
            <p:nvPr/>
          </p:nvSpPr>
          <p:spPr bwMode="auto">
            <a:xfrm>
              <a:off x="4541838" y="2479675"/>
              <a:ext cx="271463" cy="134937"/>
            </a:xfrm>
            <a:custGeom>
              <a:avLst/>
              <a:gdLst/>
              <a:ahLst/>
              <a:cxnLst>
                <a:cxn ang="0">
                  <a:pos x="683" y="0"/>
                </a:cxn>
                <a:cxn ang="0">
                  <a:pos x="0" y="682"/>
                </a:cxn>
                <a:cxn ang="0">
                  <a:pos x="1365" y="682"/>
                </a:cxn>
                <a:cxn ang="0">
                  <a:pos x="683" y="0"/>
                </a:cxn>
              </a:cxnLst>
              <a:rect l="0" t="0" r="r" b="b"/>
              <a:pathLst>
                <a:path w="1365" h="682">
                  <a:moveTo>
                    <a:pt x="683" y="0"/>
                  </a:moveTo>
                  <a:lnTo>
                    <a:pt x="0" y="682"/>
                  </a:lnTo>
                  <a:lnTo>
                    <a:pt x="1365" y="682"/>
                  </a:lnTo>
                  <a:lnTo>
                    <a:pt x="68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Rectangle 410">
              <a:extLst>
                <a:ext uri="{FF2B5EF4-FFF2-40B4-BE49-F238E27FC236}">
                  <a16:creationId xmlns:a16="http://schemas.microsoft.com/office/drawing/2014/main" id="{EE13D15B-7F21-13B3-2225-697FC11099EE}"/>
                </a:ext>
              </a:extLst>
            </p:cNvPr>
            <p:cNvSpPr>
              <a:spLocks noChangeArrowheads="1"/>
            </p:cNvSpPr>
            <p:nvPr/>
          </p:nvSpPr>
          <p:spPr bwMode="auto">
            <a:xfrm>
              <a:off x="4468813" y="2857500"/>
              <a:ext cx="419100" cy="52387"/>
            </a:xfrm>
            <a:prstGeom prst="rect">
              <a:avLst/>
            </a:prstGeom>
            <a:solidFill>
              <a:srgbClr val="CCBEAC"/>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7" name="Rectangle 411">
              <a:extLst>
                <a:ext uri="{FF2B5EF4-FFF2-40B4-BE49-F238E27FC236}">
                  <a16:creationId xmlns:a16="http://schemas.microsoft.com/office/drawing/2014/main" id="{6D9D9C0B-9A00-C70A-F921-28F87CD8442A}"/>
                </a:ext>
              </a:extLst>
            </p:cNvPr>
            <p:cNvSpPr>
              <a:spLocks noChangeArrowheads="1"/>
            </p:cNvSpPr>
            <p:nvPr/>
          </p:nvSpPr>
          <p:spPr bwMode="auto">
            <a:xfrm>
              <a:off x="4468813" y="2857500"/>
              <a:ext cx="419100" cy="523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412">
              <a:extLst>
                <a:ext uri="{FF2B5EF4-FFF2-40B4-BE49-F238E27FC236}">
                  <a16:creationId xmlns:a16="http://schemas.microsoft.com/office/drawing/2014/main" id="{4E25836C-4D91-623D-A388-1C354804F85C}"/>
                </a:ext>
              </a:extLst>
            </p:cNvPr>
            <p:cNvSpPr>
              <a:spLocks noEditPoints="1"/>
            </p:cNvSpPr>
            <p:nvPr/>
          </p:nvSpPr>
          <p:spPr bwMode="auto">
            <a:xfrm>
              <a:off x="4468813" y="2405062"/>
              <a:ext cx="419100" cy="234950"/>
            </a:xfrm>
            <a:custGeom>
              <a:avLst/>
              <a:gdLst/>
              <a:ahLst/>
              <a:cxnLst>
                <a:cxn ang="0">
                  <a:pos x="1979" y="923"/>
                </a:cxn>
                <a:cxn ang="0">
                  <a:pos x="1056" y="0"/>
                </a:cxn>
                <a:cxn ang="0">
                  <a:pos x="132" y="923"/>
                </a:cxn>
                <a:cxn ang="0">
                  <a:pos x="0" y="923"/>
                </a:cxn>
                <a:cxn ang="0">
                  <a:pos x="0" y="1187"/>
                </a:cxn>
                <a:cxn ang="0">
                  <a:pos x="2111" y="1187"/>
                </a:cxn>
                <a:cxn ang="0">
                  <a:pos x="2111" y="923"/>
                </a:cxn>
                <a:cxn ang="0">
                  <a:pos x="1979" y="923"/>
                </a:cxn>
                <a:cxn ang="0">
                  <a:pos x="505" y="923"/>
                </a:cxn>
                <a:cxn ang="0">
                  <a:pos x="1056" y="373"/>
                </a:cxn>
                <a:cxn ang="0">
                  <a:pos x="1606" y="923"/>
                </a:cxn>
                <a:cxn ang="0">
                  <a:pos x="505" y="923"/>
                </a:cxn>
              </a:cxnLst>
              <a:rect l="0" t="0" r="r" b="b"/>
              <a:pathLst>
                <a:path w="2111" h="1187">
                  <a:moveTo>
                    <a:pt x="1979" y="923"/>
                  </a:moveTo>
                  <a:lnTo>
                    <a:pt x="1056" y="0"/>
                  </a:lnTo>
                  <a:lnTo>
                    <a:pt x="132" y="923"/>
                  </a:lnTo>
                  <a:lnTo>
                    <a:pt x="0" y="923"/>
                  </a:lnTo>
                  <a:lnTo>
                    <a:pt x="0" y="1187"/>
                  </a:lnTo>
                  <a:lnTo>
                    <a:pt x="2111" y="1187"/>
                  </a:lnTo>
                  <a:lnTo>
                    <a:pt x="2111" y="923"/>
                  </a:lnTo>
                  <a:lnTo>
                    <a:pt x="1979" y="923"/>
                  </a:lnTo>
                  <a:close/>
                  <a:moveTo>
                    <a:pt x="505" y="923"/>
                  </a:moveTo>
                  <a:lnTo>
                    <a:pt x="1056" y="373"/>
                  </a:lnTo>
                  <a:lnTo>
                    <a:pt x="1606" y="923"/>
                  </a:lnTo>
                  <a:lnTo>
                    <a:pt x="505" y="923"/>
                  </a:lnTo>
                  <a:close/>
                </a:path>
              </a:pathLst>
            </a:custGeom>
            <a:solidFill>
              <a:srgbClr val="CCBEA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413">
              <a:extLst>
                <a:ext uri="{FF2B5EF4-FFF2-40B4-BE49-F238E27FC236}">
                  <a16:creationId xmlns:a16="http://schemas.microsoft.com/office/drawing/2014/main" id="{EDBB513C-6425-685F-E518-476EA0492EF4}"/>
                </a:ext>
              </a:extLst>
            </p:cNvPr>
            <p:cNvSpPr>
              <a:spLocks/>
            </p:cNvSpPr>
            <p:nvPr/>
          </p:nvSpPr>
          <p:spPr bwMode="auto">
            <a:xfrm>
              <a:off x="4468813" y="2405062"/>
              <a:ext cx="419100" cy="234950"/>
            </a:xfrm>
            <a:custGeom>
              <a:avLst/>
              <a:gdLst/>
              <a:ahLst/>
              <a:cxnLst>
                <a:cxn ang="0">
                  <a:pos x="1979" y="923"/>
                </a:cxn>
                <a:cxn ang="0">
                  <a:pos x="1056" y="0"/>
                </a:cxn>
                <a:cxn ang="0">
                  <a:pos x="132" y="923"/>
                </a:cxn>
                <a:cxn ang="0">
                  <a:pos x="0" y="923"/>
                </a:cxn>
                <a:cxn ang="0">
                  <a:pos x="0" y="1187"/>
                </a:cxn>
                <a:cxn ang="0">
                  <a:pos x="2111" y="1187"/>
                </a:cxn>
                <a:cxn ang="0">
                  <a:pos x="2111" y="923"/>
                </a:cxn>
                <a:cxn ang="0">
                  <a:pos x="1979" y="923"/>
                </a:cxn>
              </a:cxnLst>
              <a:rect l="0" t="0" r="r" b="b"/>
              <a:pathLst>
                <a:path w="2111" h="1187">
                  <a:moveTo>
                    <a:pt x="1979" y="923"/>
                  </a:moveTo>
                  <a:lnTo>
                    <a:pt x="1056" y="0"/>
                  </a:lnTo>
                  <a:lnTo>
                    <a:pt x="132" y="923"/>
                  </a:lnTo>
                  <a:lnTo>
                    <a:pt x="0" y="923"/>
                  </a:lnTo>
                  <a:lnTo>
                    <a:pt x="0" y="1187"/>
                  </a:lnTo>
                  <a:lnTo>
                    <a:pt x="2111" y="1187"/>
                  </a:lnTo>
                  <a:lnTo>
                    <a:pt x="2111" y="923"/>
                  </a:lnTo>
                  <a:lnTo>
                    <a:pt x="1979" y="923"/>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414">
              <a:extLst>
                <a:ext uri="{FF2B5EF4-FFF2-40B4-BE49-F238E27FC236}">
                  <a16:creationId xmlns:a16="http://schemas.microsoft.com/office/drawing/2014/main" id="{BC6DEF0E-22A8-CE01-29BF-D0B74BC8AD40}"/>
                </a:ext>
              </a:extLst>
            </p:cNvPr>
            <p:cNvSpPr>
              <a:spLocks/>
            </p:cNvSpPr>
            <p:nvPr/>
          </p:nvSpPr>
          <p:spPr bwMode="auto">
            <a:xfrm>
              <a:off x="4568826" y="2479675"/>
              <a:ext cx="217488" cy="109537"/>
            </a:xfrm>
            <a:custGeom>
              <a:avLst/>
              <a:gdLst/>
              <a:ahLst/>
              <a:cxnLst>
                <a:cxn ang="0">
                  <a:pos x="0" y="550"/>
                </a:cxn>
                <a:cxn ang="0">
                  <a:pos x="551" y="0"/>
                </a:cxn>
                <a:cxn ang="0">
                  <a:pos x="1101" y="550"/>
                </a:cxn>
                <a:cxn ang="0">
                  <a:pos x="0" y="550"/>
                </a:cxn>
              </a:cxnLst>
              <a:rect l="0" t="0" r="r" b="b"/>
              <a:pathLst>
                <a:path w="1101" h="550">
                  <a:moveTo>
                    <a:pt x="0" y="550"/>
                  </a:moveTo>
                  <a:lnTo>
                    <a:pt x="551" y="0"/>
                  </a:lnTo>
                  <a:lnTo>
                    <a:pt x="1101" y="550"/>
                  </a:lnTo>
                  <a:lnTo>
                    <a:pt x="0" y="55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Rectangle 415">
              <a:extLst>
                <a:ext uri="{FF2B5EF4-FFF2-40B4-BE49-F238E27FC236}">
                  <a16:creationId xmlns:a16="http://schemas.microsoft.com/office/drawing/2014/main" id="{EE93FC2A-D50A-76C2-FB71-58CF17645966}"/>
                </a:ext>
              </a:extLst>
            </p:cNvPr>
            <p:cNvSpPr>
              <a:spLocks noChangeArrowheads="1"/>
            </p:cNvSpPr>
            <p:nvPr/>
          </p:nvSpPr>
          <p:spPr bwMode="auto">
            <a:xfrm>
              <a:off x="4598988" y="2640012"/>
              <a:ext cx="52388" cy="217487"/>
            </a:xfrm>
            <a:prstGeom prst="rect">
              <a:avLst/>
            </a:prstGeom>
            <a:solidFill>
              <a:srgbClr val="FFEED2"/>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2" name="Rectangle 416">
              <a:extLst>
                <a:ext uri="{FF2B5EF4-FFF2-40B4-BE49-F238E27FC236}">
                  <a16:creationId xmlns:a16="http://schemas.microsoft.com/office/drawing/2014/main" id="{808579E1-EB68-00FE-31AF-90A75C5A89F8}"/>
                </a:ext>
              </a:extLst>
            </p:cNvPr>
            <p:cNvSpPr>
              <a:spLocks noChangeArrowheads="1"/>
            </p:cNvSpPr>
            <p:nvPr/>
          </p:nvSpPr>
          <p:spPr bwMode="auto">
            <a:xfrm>
              <a:off x="4598988" y="2640012"/>
              <a:ext cx="52388" cy="217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3" name="Rectangle 417">
              <a:extLst>
                <a:ext uri="{FF2B5EF4-FFF2-40B4-BE49-F238E27FC236}">
                  <a16:creationId xmlns:a16="http://schemas.microsoft.com/office/drawing/2014/main" id="{0AD4AF11-FA52-8ACB-ED6B-F58032668BCC}"/>
                </a:ext>
              </a:extLst>
            </p:cNvPr>
            <p:cNvSpPr>
              <a:spLocks noChangeArrowheads="1"/>
            </p:cNvSpPr>
            <p:nvPr/>
          </p:nvSpPr>
          <p:spPr bwMode="auto">
            <a:xfrm>
              <a:off x="4494213" y="2640012"/>
              <a:ext cx="52388" cy="217487"/>
            </a:xfrm>
            <a:prstGeom prst="rect">
              <a:avLst/>
            </a:prstGeom>
            <a:solidFill>
              <a:srgbClr val="FFEED2"/>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4" name="Rectangle 418">
              <a:extLst>
                <a:ext uri="{FF2B5EF4-FFF2-40B4-BE49-F238E27FC236}">
                  <a16:creationId xmlns:a16="http://schemas.microsoft.com/office/drawing/2014/main" id="{DED9ED58-BA48-DB61-F4C1-E0E78178E428}"/>
                </a:ext>
              </a:extLst>
            </p:cNvPr>
            <p:cNvSpPr>
              <a:spLocks noChangeArrowheads="1"/>
            </p:cNvSpPr>
            <p:nvPr/>
          </p:nvSpPr>
          <p:spPr bwMode="auto">
            <a:xfrm>
              <a:off x="4494213" y="2640012"/>
              <a:ext cx="52388" cy="2174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419">
              <a:extLst>
                <a:ext uri="{FF2B5EF4-FFF2-40B4-BE49-F238E27FC236}">
                  <a16:creationId xmlns:a16="http://schemas.microsoft.com/office/drawing/2014/main" id="{586B8258-543A-650E-D67B-D23F053F9DB5}"/>
                </a:ext>
              </a:extLst>
            </p:cNvPr>
            <p:cNvSpPr>
              <a:spLocks/>
            </p:cNvSpPr>
            <p:nvPr/>
          </p:nvSpPr>
          <p:spPr bwMode="auto">
            <a:xfrm>
              <a:off x="4568826" y="2479675"/>
              <a:ext cx="109538" cy="109537"/>
            </a:xfrm>
            <a:custGeom>
              <a:avLst/>
              <a:gdLst/>
              <a:ahLst/>
              <a:cxnLst>
                <a:cxn ang="0">
                  <a:pos x="551" y="0"/>
                </a:cxn>
                <a:cxn ang="0">
                  <a:pos x="0" y="550"/>
                </a:cxn>
                <a:cxn ang="0">
                  <a:pos x="551" y="550"/>
                </a:cxn>
                <a:cxn ang="0">
                  <a:pos x="551" y="0"/>
                </a:cxn>
              </a:cxnLst>
              <a:rect l="0" t="0" r="r" b="b"/>
              <a:pathLst>
                <a:path w="551" h="550">
                  <a:moveTo>
                    <a:pt x="551" y="0"/>
                  </a:moveTo>
                  <a:lnTo>
                    <a:pt x="0" y="550"/>
                  </a:lnTo>
                  <a:lnTo>
                    <a:pt x="551" y="550"/>
                  </a:lnTo>
                  <a:lnTo>
                    <a:pt x="551" y="0"/>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420">
              <a:extLst>
                <a:ext uri="{FF2B5EF4-FFF2-40B4-BE49-F238E27FC236}">
                  <a16:creationId xmlns:a16="http://schemas.microsoft.com/office/drawing/2014/main" id="{0C1A108D-956F-6BE9-5D5B-19EA9B059E41}"/>
                </a:ext>
              </a:extLst>
            </p:cNvPr>
            <p:cNvSpPr>
              <a:spLocks/>
            </p:cNvSpPr>
            <p:nvPr/>
          </p:nvSpPr>
          <p:spPr bwMode="auto">
            <a:xfrm>
              <a:off x="4568826" y="2479675"/>
              <a:ext cx="109538" cy="109537"/>
            </a:xfrm>
            <a:custGeom>
              <a:avLst/>
              <a:gdLst/>
              <a:ahLst/>
              <a:cxnLst>
                <a:cxn ang="0">
                  <a:pos x="551" y="0"/>
                </a:cxn>
                <a:cxn ang="0">
                  <a:pos x="0" y="550"/>
                </a:cxn>
                <a:cxn ang="0">
                  <a:pos x="551" y="550"/>
                </a:cxn>
                <a:cxn ang="0">
                  <a:pos x="551" y="0"/>
                </a:cxn>
              </a:cxnLst>
              <a:rect l="0" t="0" r="r" b="b"/>
              <a:pathLst>
                <a:path w="551" h="550">
                  <a:moveTo>
                    <a:pt x="551" y="0"/>
                  </a:moveTo>
                  <a:lnTo>
                    <a:pt x="0" y="550"/>
                  </a:lnTo>
                  <a:lnTo>
                    <a:pt x="551" y="550"/>
                  </a:lnTo>
                  <a:lnTo>
                    <a:pt x="551"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421">
              <a:extLst>
                <a:ext uri="{FF2B5EF4-FFF2-40B4-BE49-F238E27FC236}">
                  <a16:creationId xmlns:a16="http://schemas.microsoft.com/office/drawing/2014/main" id="{3A75922A-F0B9-87A8-06CC-FE99996D482F}"/>
                </a:ext>
              </a:extLst>
            </p:cNvPr>
            <p:cNvSpPr>
              <a:spLocks/>
            </p:cNvSpPr>
            <p:nvPr/>
          </p:nvSpPr>
          <p:spPr bwMode="auto">
            <a:xfrm>
              <a:off x="4468813" y="2857500"/>
              <a:ext cx="209550" cy="52387"/>
            </a:xfrm>
            <a:custGeom>
              <a:avLst/>
              <a:gdLst/>
              <a:ahLst/>
              <a:cxnLst>
                <a:cxn ang="0">
                  <a:pos x="1056" y="0"/>
                </a:cxn>
                <a:cxn ang="0">
                  <a:pos x="924" y="0"/>
                </a:cxn>
                <a:cxn ang="0">
                  <a:pos x="660" y="0"/>
                </a:cxn>
                <a:cxn ang="0">
                  <a:pos x="396" y="0"/>
                </a:cxn>
                <a:cxn ang="0">
                  <a:pos x="132" y="0"/>
                </a:cxn>
                <a:cxn ang="0">
                  <a:pos x="0" y="0"/>
                </a:cxn>
                <a:cxn ang="0">
                  <a:pos x="0" y="263"/>
                </a:cxn>
                <a:cxn ang="0">
                  <a:pos x="1056" y="263"/>
                </a:cxn>
                <a:cxn ang="0">
                  <a:pos x="1056" y="0"/>
                </a:cxn>
              </a:cxnLst>
              <a:rect l="0" t="0" r="r" b="b"/>
              <a:pathLst>
                <a:path w="1056" h="263">
                  <a:moveTo>
                    <a:pt x="1056" y="0"/>
                  </a:moveTo>
                  <a:lnTo>
                    <a:pt x="924" y="0"/>
                  </a:lnTo>
                  <a:lnTo>
                    <a:pt x="660" y="0"/>
                  </a:lnTo>
                  <a:lnTo>
                    <a:pt x="396" y="0"/>
                  </a:lnTo>
                  <a:lnTo>
                    <a:pt x="132" y="0"/>
                  </a:lnTo>
                  <a:lnTo>
                    <a:pt x="0" y="0"/>
                  </a:lnTo>
                  <a:lnTo>
                    <a:pt x="0" y="263"/>
                  </a:lnTo>
                  <a:lnTo>
                    <a:pt x="1056" y="263"/>
                  </a:lnTo>
                  <a:lnTo>
                    <a:pt x="1056" y="0"/>
                  </a:lnTo>
                  <a:close/>
                </a:path>
              </a:pathLst>
            </a:custGeom>
            <a:solidFill>
              <a:srgbClr val="DBCCB7"/>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422">
              <a:extLst>
                <a:ext uri="{FF2B5EF4-FFF2-40B4-BE49-F238E27FC236}">
                  <a16:creationId xmlns:a16="http://schemas.microsoft.com/office/drawing/2014/main" id="{725DE01C-8E8F-F7CA-04BE-0469EDE78639}"/>
                </a:ext>
              </a:extLst>
            </p:cNvPr>
            <p:cNvSpPr>
              <a:spLocks/>
            </p:cNvSpPr>
            <p:nvPr/>
          </p:nvSpPr>
          <p:spPr bwMode="auto">
            <a:xfrm>
              <a:off x="4468813" y="2857500"/>
              <a:ext cx="209550" cy="52387"/>
            </a:xfrm>
            <a:custGeom>
              <a:avLst/>
              <a:gdLst/>
              <a:ahLst/>
              <a:cxnLst>
                <a:cxn ang="0">
                  <a:pos x="1056" y="0"/>
                </a:cxn>
                <a:cxn ang="0">
                  <a:pos x="924" y="0"/>
                </a:cxn>
                <a:cxn ang="0">
                  <a:pos x="660" y="0"/>
                </a:cxn>
                <a:cxn ang="0">
                  <a:pos x="396" y="0"/>
                </a:cxn>
                <a:cxn ang="0">
                  <a:pos x="132" y="0"/>
                </a:cxn>
                <a:cxn ang="0">
                  <a:pos x="0" y="0"/>
                </a:cxn>
                <a:cxn ang="0">
                  <a:pos x="0" y="263"/>
                </a:cxn>
                <a:cxn ang="0">
                  <a:pos x="1056" y="263"/>
                </a:cxn>
                <a:cxn ang="0">
                  <a:pos x="1056" y="0"/>
                </a:cxn>
              </a:cxnLst>
              <a:rect l="0" t="0" r="r" b="b"/>
              <a:pathLst>
                <a:path w="1056" h="263">
                  <a:moveTo>
                    <a:pt x="1056" y="0"/>
                  </a:moveTo>
                  <a:lnTo>
                    <a:pt x="924" y="0"/>
                  </a:lnTo>
                  <a:lnTo>
                    <a:pt x="660" y="0"/>
                  </a:lnTo>
                  <a:lnTo>
                    <a:pt x="396" y="0"/>
                  </a:lnTo>
                  <a:lnTo>
                    <a:pt x="132" y="0"/>
                  </a:lnTo>
                  <a:lnTo>
                    <a:pt x="0" y="0"/>
                  </a:lnTo>
                  <a:lnTo>
                    <a:pt x="0" y="263"/>
                  </a:lnTo>
                  <a:lnTo>
                    <a:pt x="1056" y="263"/>
                  </a:lnTo>
                  <a:lnTo>
                    <a:pt x="1056"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423">
              <a:extLst>
                <a:ext uri="{FF2B5EF4-FFF2-40B4-BE49-F238E27FC236}">
                  <a16:creationId xmlns:a16="http://schemas.microsoft.com/office/drawing/2014/main" id="{01BE7BF2-A421-487F-F0BB-9A07333586CE}"/>
                </a:ext>
              </a:extLst>
            </p:cNvPr>
            <p:cNvSpPr>
              <a:spLocks/>
            </p:cNvSpPr>
            <p:nvPr/>
          </p:nvSpPr>
          <p:spPr bwMode="auto">
            <a:xfrm>
              <a:off x="4468813" y="2405062"/>
              <a:ext cx="209550" cy="234950"/>
            </a:xfrm>
            <a:custGeom>
              <a:avLst/>
              <a:gdLst/>
              <a:ahLst/>
              <a:cxnLst>
                <a:cxn ang="0">
                  <a:pos x="1056" y="0"/>
                </a:cxn>
                <a:cxn ang="0">
                  <a:pos x="132" y="923"/>
                </a:cxn>
                <a:cxn ang="0">
                  <a:pos x="0" y="923"/>
                </a:cxn>
                <a:cxn ang="0">
                  <a:pos x="0" y="1187"/>
                </a:cxn>
                <a:cxn ang="0">
                  <a:pos x="132" y="1187"/>
                </a:cxn>
                <a:cxn ang="0">
                  <a:pos x="396" y="1187"/>
                </a:cxn>
                <a:cxn ang="0">
                  <a:pos x="660" y="1187"/>
                </a:cxn>
                <a:cxn ang="0">
                  <a:pos x="924" y="1187"/>
                </a:cxn>
                <a:cxn ang="0">
                  <a:pos x="1056" y="1187"/>
                </a:cxn>
                <a:cxn ang="0">
                  <a:pos x="1056" y="923"/>
                </a:cxn>
                <a:cxn ang="0">
                  <a:pos x="505" y="923"/>
                </a:cxn>
                <a:cxn ang="0">
                  <a:pos x="1056" y="373"/>
                </a:cxn>
                <a:cxn ang="0">
                  <a:pos x="1056" y="0"/>
                </a:cxn>
              </a:cxnLst>
              <a:rect l="0" t="0" r="r" b="b"/>
              <a:pathLst>
                <a:path w="1056" h="1187">
                  <a:moveTo>
                    <a:pt x="1056" y="0"/>
                  </a:moveTo>
                  <a:lnTo>
                    <a:pt x="132" y="923"/>
                  </a:lnTo>
                  <a:lnTo>
                    <a:pt x="0" y="923"/>
                  </a:lnTo>
                  <a:lnTo>
                    <a:pt x="0" y="1187"/>
                  </a:lnTo>
                  <a:lnTo>
                    <a:pt x="132" y="1187"/>
                  </a:lnTo>
                  <a:lnTo>
                    <a:pt x="396" y="1187"/>
                  </a:lnTo>
                  <a:lnTo>
                    <a:pt x="660" y="1187"/>
                  </a:lnTo>
                  <a:lnTo>
                    <a:pt x="924" y="1187"/>
                  </a:lnTo>
                  <a:lnTo>
                    <a:pt x="1056" y="1187"/>
                  </a:lnTo>
                  <a:lnTo>
                    <a:pt x="1056" y="923"/>
                  </a:lnTo>
                  <a:lnTo>
                    <a:pt x="505" y="923"/>
                  </a:lnTo>
                  <a:lnTo>
                    <a:pt x="1056" y="373"/>
                  </a:lnTo>
                  <a:lnTo>
                    <a:pt x="1056" y="0"/>
                  </a:lnTo>
                  <a:close/>
                </a:path>
              </a:pathLst>
            </a:custGeom>
            <a:solidFill>
              <a:srgbClr val="DBCCB7"/>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424">
              <a:extLst>
                <a:ext uri="{FF2B5EF4-FFF2-40B4-BE49-F238E27FC236}">
                  <a16:creationId xmlns:a16="http://schemas.microsoft.com/office/drawing/2014/main" id="{A9FF6161-A253-E9FA-0E15-8F9BB3CCA6FE}"/>
                </a:ext>
              </a:extLst>
            </p:cNvPr>
            <p:cNvSpPr>
              <a:spLocks/>
            </p:cNvSpPr>
            <p:nvPr/>
          </p:nvSpPr>
          <p:spPr bwMode="auto">
            <a:xfrm>
              <a:off x="4468813" y="2405062"/>
              <a:ext cx="209550" cy="234950"/>
            </a:xfrm>
            <a:custGeom>
              <a:avLst/>
              <a:gdLst/>
              <a:ahLst/>
              <a:cxnLst>
                <a:cxn ang="0">
                  <a:pos x="1056" y="0"/>
                </a:cxn>
                <a:cxn ang="0">
                  <a:pos x="132" y="923"/>
                </a:cxn>
                <a:cxn ang="0">
                  <a:pos x="0" y="923"/>
                </a:cxn>
                <a:cxn ang="0">
                  <a:pos x="0" y="1187"/>
                </a:cxn>
                <a:cxn ang="0">
                  <a:pos x="132" y="1187"/>
                </a:cxn>
                <a:cxn ang="0">
                  <a:pos x="396" y="1187"/>
                </a:cxn>
                <a:cxn ang="0">
                  <a:pos x="660" y="1187"/>
                </a:cxn>
                <a:cxn ang="0">
                  <a:pos x="924" y="1187"/>
                </a:cxn>
                <a:cxn ang="0">
                  <a:pos x="1056" y="1187"/>
                </a:cxn>
                <a:cxn ang="0">
                  <a:pos x="1056" y="923"/>
                </a:cxn>
                <a:cxn ang="0">
                  <a:pos x="505" y="923"/>
                </a:cxn>
                <a:cxn ang="0">
                  <a:pos x="1056" y="373"/>
                </a:cxn>
                <a:cxn ang="0">
                  <a:pos x="1056" y="0"/>
                </a:cxn>
              </a:cxnLst>
              <a:rect l="0" t="0" r="r" b="b"/>
              <a:pathLst>
                <a:path w="1056" h="1187">
                  <a:moveTo>
                    <a:pt x="1056" y="0"/>
                  </a:moveTo>
                  <a:lnTo>
                    <a:pt x="132" y="923"/>
                  </a:lnTo>
                  <a:lnTo>
                    <a:pt x="0" y="923"/>
                  </a:lnTo>
                  <a:lnTo>
                    <a:pt x="0" y="1187"/>
                  </a:lnTo>
                  <a:lnTo>
                    <a:pt x="132" y="1187"/>
                  </a:lnTo>
                  <a:lnTo>
                    <a:pt x="396" y="1187"/>
                  </a:lnTo>
                  <a:lnTo>
                    <a:pt x="660" y="1187"/>
                  </a:lnTo>
                  <a:lnTo>
                    <a:pt x="924" y="1187"/>
                  </a:lnTo>
                  <a:lnTo>
                    <a:pt x="1056" y="1187"/>
                  </a:lnTo>
                  <a:lnTo>
                    <a:pt x="1056" y="923"/>
                  </a:lnTo>
                  <a:lnTo>
                    <a:pt x="505" y="923"/>
                  </a:lnTo>
                  <a:lnTo>
                    <a:pt x="1056" y="373"/>
                  </a:lnTo>
                  <a:lnTo>
                    <a:pt x="1056"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31" name="Segnaposto numero diapositiva 30">
            <a:extLst>
              <a:ext uri="{FF2B5EF4-FFF2-40B4-BE49-F238E27FC236}">
                <a16:creationId xmlns:a16="http://schemas.microsoft.com/office/drawing/2014/main" id="{19C436B9-CED7-EE41-77EA-D64FADE05723}"/>
              </a:ext>
            </a:extLst>
          </p:cNvPr>
          <p:cNvSpPr>
            <a:spLocks noGrp="1"/>
          </p:cNvSpPr>
          <p:nvPr>
            <p:ph type="sldNum" sz="quarter" idx="12"/>
          </p:nvPr>
        </p:nvSpPr>
        <p:spPr/>
        <p:txBody>
          <a:bodyPr/>
          <a:lstStyle/>
          <a:p>
            <a:fld id="{00F0C1FD-41C3-4D85-8E51-9C56B45C685D}" type="slidenum">
              <a:rPr lang="it-IT" smtClean="0">
                <a:latin typeface="Open Sans Light" panose="020B0306030504020204" pitchFamily="34" charset="0"/>
                <a:ea typeface="Open Sans Light" panose="020B0306030504020204" pitchFamily="34" charset="0"/>
                <a:cs typeface="Open Sans Light" panose="020B0306030504020204" pitchFamily="34" charset="0"/>
              </a:rPr>
              <a:t>11</a:t>
            </a:fld>
            <a:endParaRPr lang="it-IT">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32" name="Group 406">
            <a:extLst>
              <a:ext uri="{FF2B5EF4-FFF2-40B4-BE49-F238E27FC236}">
                <a16:creationId xmlns:a16="http://schemas.microsoft.com/office/drawing/2014/main" id="{7B20530E-76E5-1438-FE1B-5A93AA39975F}"/>
              </a:ext>
            </a:extLst>
          </p:cNvPr>
          <p:cNvGrpSpPr/>
          <p:nvPr/>
        </p:nvGrpSpPr>
        <p:grpSpPr>
          <a:xfrm>
            <a:off x="910387" y="1467163"/>
            <a:ext cx="684000" cy="684000"/>
            <a:chOff x="3144838" y="0"/>
            <a:chExt cx="1112838" cy="1114425"/>
          </a:xfrm>
        </p:grpSpPr>
        <p:sp>
          <p:nvSpPr>
            <p:cNvPr id="33" name="Freeform 7">
              <a:extLst>
                <a:ext uri="{FF2B5EF4-FFF2-40B4-BE49-F238E27FC236}">
                  <a16:creationId xmlns:a16="http://schemas.microsoft.com/office/drawing/2014/main" id="{DAE2C8BF-9BF0-F127-DF9B-C42CC45A291C}"/>
                </a:ext>
              </a:extLst>
            </p:cNvPr>
            <p:cNvSpPr>
              <a:spLocks/>
            </p:cNvSpPr>
            <p:nvPr/>
          </p:nvSpPr>
          <p:spPr bwMode="auto">
            <a:xfrm>
              <a:off x="3144838" y="0"/>
              <a:ext cx="1112838" cy="1114425"/>
            </a:xfrm>
            <a:custGeom>
              <a:avLst/>
              <a:gdLst>
                <a:gd name="T0" fmla="*/ 332 w 701"/>
                <a:gd name="T1" fmla="*/ 701 h 702"/>
                <a:gd name="T2" fmla="*/ 280 w 701"/>
                <a:gd name="T3" fmla="*/ 695 h 702"/>
                <a:gd name="T4" fmla="*/ 230 w 701"/>
                <a:gd name="T5" fmla="*/ 680 h 702"/>
                <a:gd name="T6" fmla="*/ 183 w 701"/>
                <a:gd name="T7" fmla="*/ 659 h 702"/>
                <a:gd name="T8" fmla="*/ 141 w 701"/>
                <a:gd name="T9" fmla="*/ 632 h 702"/>
                <a:gd name="T10" fmla="*/ 103 w 701"/>
                <a:gd name="T11" fmla="*/ 598 h 702"/>
                <a:gd name="T12" fmla="*/ 69 w 701"/>
                <a:gd name="T13" fmla="*/ 561 h 702"/>
                <a:gd name="T14" fmla="*/ 42 w 701"/>
                <a:gd name="T15" fmla="*/ 518 h 702"/>
                <a:gd name="T16" fmla="*/ 21 w 701"/>
                <a:gd name="T17" fmla="*/ 471 h 702"/>
                <a:gd name="T18" fmla="*/ 7 w 701"/>
                <a:gd name="T19" fmla="*/ 422 h 702"/>
                <a:gd name="T20" fmla="*/ 0 w 701"/>
                <a:gd name="T21" fmla="*/ 369 h 702"/>
                <a:gd name="T22" fmla="*/ 0 w 701"/>
                <a:gd name="T23" fmla="*/ 333 h 702"/>
                <a:gd name="T24" fmla="*/ 7 w 701"/>
                <a:gd name="T25" fmla="*/ 280 h 702"/>
                <a:gd name="T26" fmla="*/ 21 w 701"/>
                <a:gd name="T27" fmla="*/ 231 h 702"/>
                <a:gd name="T28" fmla="*/ 42 w 701"/>
                <a:gd name="T29" fmla="*/ 184 h 702"/>
                <a:gd name="T30" fmla="*/ 69 w 701"/>
                <a:gd name="T31" fmla="*/ 142 h 702"/>
                <a:gd name="T32" fmla="*/ 103 w 701"/>
                <a:gd name="T33" fmla="*/ 104 h 702"/>
                <a:gd name="T34" fmla="*/ 141 w 701"/>
                <a:gd name="T35" fmla="*/ 70 h 702"/>
                <a:gd name="T36" fmla="*/ 183 w 701"/>
                <a:gd name="T37" fmla="*/ 43 h 702"/>
                <a:gd name="T38" fmla="*/ 230 w 701"/>
                <a:gd name="T39" fmla="*/ 22 h 702"/>
                <a:gd name="T40" fmla="*/ 280 w 701"/>
                <a:gd name="T41" fmla="*/ 7 h 702"/>
                <a:gd name="T42" fmla="*/ 332 w 701"/>
                <a:gd name="T43" fmla="*/ 1 h 702"/>
                <a:gd name="T44" fmla="*/ 368 w 701"/>
                <a:gd name="T45" fmla="*/ 1 h 702"/>
                <a:gd name="T46" fmla="*/ 421 w 701"/>
                <a:gd name="T47" fmla="*/ 7 h 702"/>
                <a:gd name="T48" fmla="*/ 470 w 701"/>
                <a:gd name="T49" fmla="*/ 22 h 702"/>
                <a:gd name="T50" fmla="*/ 517 w 701"/>
                <a:gd name="T51" fmla="*/ 43 h 702"/>
                <a:gd name="T52" fmla="*/ 560 w 701"/>
                <a:gd name="T53" fmla="*/ 70 h 702"/>
                <a:gd name="T54" fmla="*/ 599 w 701"/>
                <a:gd name="T55" fmla="*/ 104 h 702"/>
                <a:gd name="T56" fmla="*/ 631 w 701"/>
                <a:gd name="T57" fmla="*/ 142 h 702"/>
                <a:gd name="T58" fmla="*/ 659 w 701"/>
                <a:gd name="T59" fmla="*/ 184 h 702"/>
                <a:gd name="T60" fmla="*/ 680 w 701"/>
                <a:gd name="T61" fmla="*/ 231 h 702"/>
                <a:gd name="T62" fmla="*/ 693 w 701"/>
                <a:gd name="T63" fmla="*/ 280 h 702"/>
                <a:gd name="T64" fmla="*/ 701 w 701"/>
                <a:gd name="T65" fmla="*/ 333 h 702"/>
                <a:gd name="T66" fmla="*/ 701 w 701"/>
                <a:gd name="T67" fmla="*/ 369 h 702"/>
                <a:gd name="T68" fmla="*/ 693 w 701"/>
                <a:gd name="T69" fmla="*/ 422 h 702"/>
                <a:gd name="T70" fmla="*/ 680 w 701"/>
                <a:gd name="T71" fmla="*/ 471 h 702"/>
                <a:gd name="T72" fmla="*/ 659 w 701"/>
                <a:gd name="T73" fmla="*/ 518 h 702"/>
                <a:gd name="T74" fmla="*/ 631 w 701"/>
                <a:gd name="T75" fmla="*/ 561 h 702"/>
                <a:gd name="T76" fmla="*/ 599 w 701"/>
                <a:gd name="T77" fmla="*/ 598 h 702"/>
                <a:gd name="T78" fmla="*/ 560 w 701"/>
                <a:gd name="T79" fmla="*/ 632 h 702"/>
                <a:gd name="T80" fmla="*/ 517 w 701"/>
                <a:gd name="T81" fmla="*/ 659 h 702"/>
                <a:gd name="T82" fmla="*/ 470 w 701"/>
                <a:gd name="T83" fmla="*/ 680 h 702"/>
                <a:gd name="T84" fmla="*/ 421 w 701"/>
                <a:gd name="T85" fmla="*/ 695 h 702"/>
                <a:gd name="T86" fmla="*/ 368 w 701"/>
                <a:gd name="T8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1" y="702"/>
                  </a:moveTo>
                  <a:lnTo>
                    <a:pt x="351" y="702"/>
                  </a:lnTo>
                  <a:lnTo>
                    <a:pt x="332" y="701"/>
                  </a:lnTo>
                  <a:lnTo>
                    <a:pt x="315" y="699"/>
                  </a:lnTo>
                  <a:lnTo>
                    <a:pt x="298" y="697"/>
                  </a:lnTo>
                  <a:lnTo>
                    <a:pt x="280" y="695"/>
                  </a:lnTo>
                  <a:lnTo>
                    <a:pt x="263" y="691"/>
                  </a:lnTo>
                  <a:lnTo>
                    <a:pt x="246" y="686"/>
                  </a:lnTo>
                  <a:lnTo>
                    <a:pt x="230" y="680"/>
                  </a:lnTo>
                  <a:lnTo>
                    <a:pt x="214" y="674"/>
                  </a:lnTo>
                  <a:lnTo>
                    <a:pt x="199" y="667"/>
                  </a:lnTo>
                  <a:lnTo>
                    <a:pt x="183" y="659"/>
                  </a:lnTo>
                  <a:lnTo>
                    <a:pt x="168" y="651"/>
                  </a:lnTo>
                  <a:lnTo>
                    <a:pt x="155" y="641"/>
                  </a:lnTo>
                  <a:lnTo>
                    <a:pt x="141" y="632"/>
                  </a:lnTo>
                  <a:lnTo>
                    <a:pt x="127" y="622"/>
                  </a:lnTo>
                  <a:lnTo>
                    <a:pt x="115" y="611"/>
                  </a:lnTo>
                  <a:lnTo>
                    <a:pt x="103" y="598"/>
                  </a:lnTo>
                  <a:lnTo>
                    <a:pt x="90" y="587"/>
                  </a:lnTo>
                  <a:lnTo>
                    <a:pt x="81" y="574"/>
                  </a:lnTo>
                  <a:lnTo>
                    <a:pt x="69" y="561"/>
                  </a:lnTo>
                  <a:lnTo>
                    <a:pt x="60" y="546"/>
                  </a:lnTo>
                  <a:lnTo>
                    <a:pt x="51" y="533"/>
                  </a:lnTo>
                  <a:lnTo>
                    <a:pt x="42" y="518"/>
                  </a:lnTo>
                  <a:lnTo>
                    <a:pt x="35" y="503"/>
                  </a:lnTo>
                  <a:lnTo>
                    <a:pt x="27" y="487"/>
                  </a:lnTo>
                  <a:lnTo>
                    <a:pt x="21" y="471"/>
                  </a:lnTo>
                  <a:lnTo>
                    <a:pt x="15" y="455"/>
                  </a:lnTo>
                  <a:lnTo>
                    <a:pt x="11" y="439"/>
                  </a:lnTo>
                  <a:lnTo>
                    <a:pt x="7" y="422"/>
                  </a:lnTo>
                  <a:lnTo>
                    <a:pt x="4" y="405"/>
                  </a:lnTo>
                  <a:lnTo>
                    <a:pt x="2" y="387"/>
                  </a:lnTo>
                  <a:lnTo>
                    <a:pt x="0" y="369"/>
                  </a:lnTo>
                  <a:lnTo>
                    <a:pt x="0" y="352"/>
                  </a:lnTo>
                  <a:lnTo>
                    <a:pt x="0" y="352"/>
                  </a:lnTo>
                  <a:lnTo>
                    <a:pt x="0" y="333"/>
                  </a:lnTo>
                  <a:lnTo>
                    <a:pt x="2" y="316"/>
                  </a:lnTo>
                  <a:lnTo>
                    <a:pt x="4" y="297"/>
                  </a:lnTo>
                  <a:lnTo>
                    <a:pt x="7" y="280"/>
                  </a:lnTo>
                  <a:lnTo>
                    <a:pt x="11" y="264"/>
                  </a:lnTo>
                  <a:lnTo>
                    <a:pt x="15" y="247"/>
                  </a:lnTo>
                  <a:lnTo>
                    <a:pt x="21" y="231"/>
                  </a:lnTo>
                  <a:lnTo>
                    <a:pt x="27" y="215"/>
                  </a:lnTo>
                  <a:lnTo>
                    <a:pt x="35" y="199"/>
                  </a:lnTo>
                  <a:lnTo>
                    <a:pt x="42" y="184"/>
                  </a:lnTo>
                  <a:lnTo>
                    <a:pt x="51" y="169"/>
                  </a:lnTo>
                  <a:lnTo>
                    <a:pt x="60" y="155"/>
                  </a:lnTo>
                  <a:lnTo>
                    <a:pt x="69" y="142"/>
                  </a:lnTo>
                  <a:lnTo>
                    <a:pt x="81" y="128"/>
                  </a:lnTo>
                  <a:lnTo>
                    <a:pt x="90" y="116"/>
                  </a:lnTo>
                  <a:lnTo>
                    <a:pt x="103" y="104"/>
                  </a:lnTo>
                  <a:lnTo>
                    <a:pt x="115" y="91"/>
                  </a:lnTo>
                  <a:lnTo>
                    <a:pt x="127" y="80"/>
                  </a:lnTo>
                  <a:lnTo>
                    <a:pt x="141" y="70"/>
                  </a:lnTo>
                  <a:lnTo>
                    <a:pt x="155" y="60"/>
                  </a:lnTo>
                  <a:lnTo>
                    <a:pt x="168" y="52"/>
                  </a:lnTo>
                  <a:lnTo>
                    <a:pt x="183" y="43"/>
                  </a:lnTo>
                  <a:lnTo>
                    <a:pt x="199" y="35"/>
                  </a:lnTo>
                  <a:lnTo>
                    <a:pt x="214" y="28"/>
                  </a:lnTo>
                  <a:lnTo>
                    <a:pt x="230" y="22"/>
                  </a:lnTo>
                  <a:lnTo>
                    <a:pt x="246" y="16"/>
                  </a:lnTo>
                  <a:lnTo>
                    <a:pt x="263" y="11"/>
                  </a:lnTo>
                  <a:lnTo>
                    <a:pt x="280" y="7"/>
                  </a:lnTo>
                  <a:lnTo>
                    <a:pt x="298" y="5"/>
                  </a:lnTo>
                  <a:lnTo>
                    <a:pt x="315" y="2"/>
                  </a:lnTo>
                  <a:lnTo>
                    <a:pt x="332" y="1"/>
                  </a:lnTo>
                  <a:lnTo>
                    <a:pt x="351" y="0"/>
                  </a:lnTo>
                  <a:lnTo>
                    <a:pt x="351" y="0"/>
                  </a:lnTo>
                  <a:lnTo>
                    <a:pt x="368" y="1"/>
                  </a:lnTo>
                  <a:lnTo>
                    <a:pt x="386" y="2"/>
                  </a:lnTo>
                  <a:lnTo>
                    <a:pt x="404" y="5"/>
                  </a:lnTo>
                  <a:lnTo>
                    <a:pt x="421" y="7"/>
                  </a:lnTo>
                  <a:lnTo>
                    <a:pt x="438" y="11"/>
                  </a:lnTo>
                  <a:lnTo>
                    <a:pt x="454" y="16"/>
                  </a:lnTo>
                  <a:lnTo>
                    <a:pt x="470" y="22"/>
                  </a:lnTo>
                  <a:lnTo>
                    <a:pt x="486" y="28"/>
                  </a:lnTo>
                  <a:lnTo>
                    <a:pt x="502" y="35"/>
                  </a:lnTo>
                  <a:lnTo>
                    <a:pt x="517" y="43"/>
                  </a:lnTo>
                  <a:lnTo>
                    <a:pt x="532" y="52"/>
                  </a:lnTo>
                  <a:lnTo>
                    <a:pt x="547" y="60"/>
                  </a:lnTo>
                  <a:lnTo>
                    <a:pt x="560" y="70"/>
                  </a:lnTo>
                  <a:lnTo>
                    <a:pt x="574" y="80"/>
                  </a:lnTo>
                  <a:lnTo>
                    <a:pt x="586" y="91"/>
                  </a:lnTo>
                  <a:lnTo>
                    <a:pt x="599" y="104"/>
                  </a:lnTo>
                  <a:lnTo>
                    <a:pt x="610" y="116"/>
                  </a:lnTo>
                  <a:lnTo>
                    <a:pt x="621" y="128"/>
                  </a:lnTo>
                  <a:lnTo>
                    <a:pt x="631" y="142"/>
                  </a:lnTo>
                  <a:lnTo>
                    <a:pt x="640" y="155"/>
                  </a:lnTo>
                  <a:lnTo>
                    <a:pt x="650" y="169"/>
                  </a:lnTo>
                  <a:lnTo>
                    <a:pt x="659" y="184"/>
                  </a:lnTo>
                  <a:lnTo>
                    <a:pt x="666" y="199"/>
                  </a:lnTo>
                  <a:lnTo>
                    <a:pt x="674" y="215"/>
                  </a:lnTo>
                  <a:lnTo>
                    <a:pt x="680" y="231"/>
                  </a:lnTo>
                  <a:lnTo>
                    <a:pt x="685" y="247"/>
                  </a:lnTo>
                  <a:lnTo>
                    <a:pt x="690" y="264"/>
                  </a:lnTo>
                  <a:lnTo>
                    <a:pt x="693" y="280"/>
                  </a:lnTo>
                  <a:lnTo>
                    <a:pt x="697" y="297"/>
                  </a:lnTo>
                  <a:lnTo>
                    <a:pt x="698" y="316"/>
                  </a:lnTo>
                  <a:lnTo>
                    <a:pt x="701" y="333"/>
                  </a:lnTo>
                  <a:lnTo>
                    <a:pt x="701" y="352"/>
                  </a:lnTo>
                  <a:lnTo>
                    <a:pt x="701" y="352"/>
                  </a:lnTo>
                  <a:lnTo>
                    <a:pt x="701" y="369"/>
                  </a:lnTo>
                  <a:lnTo>
                    <a:pt x="698" y="387"/>
                  </a:lnTo>
                  <a:lnTo>
                    <a:pt x="697" y="405"/>
                  </a:lnTo>
                  <a:lnTo>
                    <a:pt x="693" y="422"/>
                  </a:lnTo>
                  <a:lnTo>
                    <a:pt x="690" y="439"/>
                  </a:lnTo>
                  <a:lnTo>
                    <a:pt x="685" y="455"/>
                  </a:lnTo>
                  <a:lnTo>
                    <a:pt x="680" y="471"/>
                  </a:lnTo>
                  <a:lnTo>
                    <a:pt x="674" y="487"/>
                  </a:lnTo>
                  <a:lnTo>
                    <a:pt x="666" y="503"/>
                  </a:lnTo>
                  <a:lnTo>
                    <a:pt x="659" y="518"/>
                  </a:lnTo>
                  <a:lnTo>
                    <a:pt x="650" y="533"/>
                  </a:lnTo>
                  <a:lnTo>
                    <a:pt x="640" y="546"/>
                  </a:lnTo>
                  <a:lnTo>
                    <a:pt x="631" y="561"/>
                  </a:lnTo>
                  <a:lnTo>
                    <a:pt x="621" y="574"/>
                  </a:lnTo>
                  <a:lnTo>
                    <a:pt x="610" y="587"/>
                  </a:lnTo>
                  <a:lnTo>
                    <a:pt x="599" y="598"/>
                  </a:lnTo>
                  <a:lnTo>
                    <a:pt x="586" y="611"/>
                  </a:lnTo>
                  <a:lnTo>
                    <a:pt x="574" y="622"/>
                  </a:lnTo>
                  <a:lnTo>
                    <a:pt x="560" y="632"/>
                  </a:lnTo>
                  <a:lnTo>
                    <a:pt x="547" y="641"/>
                  </a:lnTo>
                  <a:lnTo>
                    <a:pt x="532" y="651"/>
                  </a:lnTo>
                  <a:lnTo>
                    <a:pt x="517" y="659"/>
                  </a:lnTo>
                  <a:lnTo>
                    <a:pt x="502" y="667"/>
                  </a:lnTo>
                  <a:lnTo>
                    <a:pt x="486" y="674"/>
                  </a:lnTo>
                  <a:lnTo>
                    <a:pt x="470" y="680"/>
                  </a:lnTo>
                  <a:lnTo>
                    <a:pt x="454" y="686"/>
                  </a:lnTo>
                  <a:lnTo>
                    <a:pt x="438" y="691"/>
                  </a:lnTo>
                  <a:lnTo>
                    <a:pt x="421" y="695"/>
                  </a:lnTo>
                  <a:lnTo>
                    <a:pt x="404" y="697"/>
                  </a:lnTo>
                  <a:lnTo>
                    <a:pt x="386" y="699"/>
                  </a:lnTo>
                  <a:lnTo>
                    <a:pt x="368" y="701"/>
                  </a:lnTo>
                  <a:lnTo>
                    <a:pt x="351" y="702"/>
                  </a:lnTo>
                  <a:lnTo>
                    <a:pt x="351" y="702"/>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202">
              <a:extLst>
                <a:ext uri="{FF2B5EF4-FFF2-40B4-BE49-F238E27FC236}">
                  <a16:creationId xmlns:a16="http://schemas.microsoft.com/office/drawing/2014/main" id="{DD941D2A-C4BF-B036-BB9D-35529C2AED21}"/>
                </a:ext>
              </a:extLst>
            </p:cNvPr>
            <p:cNvSpPr>
              <a:spLocks/>
            </p:cNvSpPr>
            <p:nvPr/>
          </p:nvSpPr>
          <p:spPr bwMode="auto">
            <a:xfrm>
              <a:off x="3392488" y="244475"/>
              <a:ext cx="841375" cy="844550"/>
            </a:xfrm>
            <a:custGeom>
              <a:avLst/>
              <a:gdLst>
                <a:gd name="T0" fmla="*/ 343 w 530"/>
                <a:gd name="T1" fmla="*/ 110 h 532"/>
                <a:gd name="T2" fmla="*/ 340 w 530"/>
                <a:gd name="T3" fmla="*/ 109 h 532"/>
                <a:gd name="T4" fmla="*/ 311 w 530"/>
                <a:gd name="T5" fmla="*/ 79 h 532"/>
                <a:gd name="T6" fmla="*/ 277 w 530"/>
                <a:gd name="T7" fmla="*/ 58 h 532"/>
                <a:gd name="T8" fmla="*/ 275 w 530"/>
                <a:gd name="T9" fmla="*/ 58 h 532"/>
                <a:gd name="T10" fmla="*/ 269 w 530"/>
                <a:gd name="T11" fmla="*/ 59 h 532"/>
                <a:gd name="T12" fmla="*/ 260 w 530"/>
                <a:gd name="T13" fmla="*/ 72 h 532"/>
                <a:gd name="T14" fmla="*/ 234 w 530"/>
                <a:gd name="T15" fmla="*/ 46 h 532"/>
                <a:gd name="T16" fmla="*/ 229 w 530"/>
                <a:gd name="T17" fmla="*/ 40 h 532"/>
                <a:gd name="T18" fmla="*/ 208 w 530"/>
                <a:gd name="T19" fmla="*/ 24 h 532"/>
                <a:gd name="T20" fmla="*/ 185 w 530"/>
                <a:gd name="T21" fmla="*/ 11 h 532"/>
                <a:gd name="T22" fmla="*/ 160 w 530"/>
                <a:gd name="T23" fmla="*/ 4 h 532"/>
                <a:gd name="T24" fmla="*/ 134 w 530"/>
                <a:gd name="T25" fmla="*/ 0 h 532"/>
                <a:gd name="T26" fmla="*/ 121 w 530"/>
                <a:gd name="T27" fmla="*/ 1 h 532"/>
                <a:gd name="T28" fmla="*/ 95 w 530"/>
                <a:gd name="T29" fmla="*/ 6 h 532"/>
                <a:gd name="T30" fmla="*/ 70 w 530"/>
                <a:gd name="T31" fmla="*/ 16 h 532"/>
                <a:gd name="T32" fmla="*/ 49 w 530"/>
                <a:gd name="T33" fmla="*/ 31 h 532"/>
                <a:gd name="T34" fmla="*/ 39 w 530"/>
                <a:gd name="T35" fmla="*/ 40 h 532"/>
                <a:gd name="T36" fmla="*/ 22 w 530"/>
                <a:gd name="T37" fmla="*/ 61 h 532"/>
                <a:gd name="T38" fmla="*/ 10 w 530"/>
                <a:gd name="T39" fmla="*/ 84 h 532"/>
                <a:gd name="T40" fmla="*/ 2 w 530"/>
                <a:gd name="T41" fmla="*/ 109 h 532"/>
                <a:gd name="T42" fmla="*/ 0 w 530"/>
                <a:gd name="T43" fmla="*/ 135 h 532"/>
                <a:gd name="T44" fmla="*/ 0 w 530"/>
                <a:gd name="T45" fmla="*/ 149 h 532"/>
                <a:gd name="T46" fmla="*/ 6 w 530"/>
                <a:gd name="T47" fmla="*/ 177 h 532"/>
                <a:gd name="T48" fmla="*/ 17 w 530"/>
                <a:gd name="T49" fmla="*/ 201 h 532"/>
                <a:gd name="T50" fmla="*/ 33 w 530"/>
                <a:gd name="T51" fmla="*/ 223 h 532"/>
                <a:gd name="T52" fmla="*/ 74 w 530"/>
                <a:gd name="T53" fmla="*/ 264 h 532"/>
                <a:gd name="T54" fmla="*/ 63 w 530"/>
                <a:gd name="T55" fmla="*/ 270 h 532"/>
                <a:gd name="T56" fmla="*/ 59 w 530"/>
                <a:gd name="T57" fmla="*/ 275 h 532"/>
                <a:gd name="T58" fmla="*/ 59 w 530"/>
                <a:gd name="T59" fmla="*/ 283 h 532"/>
                <a:gd name="T60" fmla="*/ 76 w 530"/>
                <a:gd name="T61" fmla="*/ 312 h 532"/>
                <a:gd name="T62" fmla="*/ 79 w 530"/>
                <a:gd name="T63" fmla="*/ 315 h 532"/>
                <a:gd name="T64" fmla="*/ 296 w 530"/>
                <a:gd name="T65" fmla="*/ 532 h 532"/>
                <a:gd name="T66" fmla="*/ 336 w 530"/>
                <a:gd name="T67" fmla="*/ 517 h 532"/>
                <a:gd name="T68" fmla="*/ 375 w 530"/>
                <a:gd name="T69" fmla="*/ 496 h 532"/>
                <a:gd name="T70" fmla="*/ 410 w 530"/>
                <a:gd name="T71" fmla="*/ 473 h 532"/>
                <a:gd name="T72" fmla="*/ 443 w 530"/>
                <a:gd name="T73" fmla="*/ 443 h 532"/>
                <a:gd name="T74" fmla="*/ 471 w 530"/>
                <a:gd name="T75" fmla="*/ 411 h 532"/>
                <a:gd name="T76" fmla="*/ 494 w 530"/>
                <a:gd name="T77" fmla="*/ 375 h 532"/>
                <a:gd name="T78" fmla="*/ 514 w 530"/>
                <a:gd name="T79" fmla="*/ 337 h 532"/>
                <a:gd name="T80" fmla="*/ 530 w 530"/>
                <a:gd name="T81" fmla="*/ 296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0" h="532">
                  <a:moveTo>
                    <a:pt x="343" y="110"/>
                  </a:moveTo>
                  <a:lnTo>
                    <a:pt x="343" y="110"/>
                  </a:lnTo>
                  <a:lnTo>
                    <a:pt x="343" y="110"/>
                  </a:lnTo>
                  <a:lnTo>
                    <a:pt x="340" y="109"/>
                  </a:lnTo>
                  <a:lnTo>
                    <a:pt x="311" y="79"/>
                  </a:lnTo>
                  <a:lnTo>
                    <a:pt x="311" y="79"/>
                  </a:lnTo>
                  <a:lnTo>
                    <a:pt x="307" y="75"/>
                  </a:lnTo>
                  <a:lnTo>
                    <a:pt x="277" y="58"/>
                  </a:lnTo>
                  <a:lnTo>
                    <a:pt x="277" y="58"/>
                  </a:lnTo>
                  <a:lnTo>
                    <a:pt x="275" y="58"/>
                  </a:lnTo>
                  <a:lnTo>
                    <a:pt x="271" y="58"/>
                  </a:lnTo>
                  <a:lnTo>
                    <a:pt x="269" y="59"/>
                  </a:lnTo>
                  <a:lnTo>
                    <a:pt x="266" y="62"/>
                  </a:lnTo>
                  <a:lnTo>
                    <a:pt x="260" y="72"/>
                  </a:lnTo>
                  <a:lnTo>
                    <a:pt x="234" y="46"/>
                  </a:lnTo>
                  <a:lnTo>
                    <a:pt x="234" y="46"/>
                  </a:lnTo>
                  <a:lnTo>
                    <a:pt x="229" y="40"/>
                  </a:lnTo>
                  <a:lnTo>
                    <a:pt x="229" y="40"/>
                  </a:lnTo>
                  <a:lnTo>
                    <a:pt x="219" y="31"/>
                  </a:lnTo>
                  <a:lnTo>
                    <a:pt x="208" y="24"/>
                  </a:lnTo>
                  <a:lnTo>
                    <a:pt x="197" y="16"/>
                  </a:lnTo>
                  <a:lnTo>
                    <a:pt x="185" y="11"/>
                  </a:lnTo>
                  <a:lnTo>
                    <a:pt x="174" y="6"/>
                  </a:lnTo>
                  <a:lnTo>
                    <a:pt x="160" y="4"/>
                  </a:lnTo>
                  <a:lnTo>
                    <a:pt x="148" y="1"/>
                  </a:lnTo>
                  <a:lnTo>
                    <a:pt x="134" y="0"/>
                  </a:lnTo>
                  <a:lnTo>
                    <a:pt x="134" y="0"/>
                  </a:lnTo>
                  <a:lnTo>
                    <a:pt x="121" y="1"/>
                  </a:lnTo>
                  <a:lnTo>
                    <a:pt x="107" y="4"/>
                  </a:lnTo>
                  <a:lnTo>
                    <a:pt x="95" y="6"/>
                  </a:lnTo>
                  <a:lnTo>
                    <a:pt x="82" y="11"/>
                  </a:lnTo>
                  <a:lnTo>
                    <a:pt x="70" y="16"/>
                  </a:lnTo>
                  <a:lnTo>
                    <a:pt x="59" y="24"/>
                  </a:lnTo>
                  <a:lnTo>
                    <a:pt x="49" y="31"/>
                  </a:lnTo>
                  <a:lnTo>
                    <a:pt x="39" y="40"/>
                  </a:lnTo>
                  <a:lnTo>
                    <a:pt x="39" y="40"/>
                  </a:lnTo>
                  <a:lnTo>
                    <a:pt x="29" y="50"/>
                  </a:lnTo>
                  <a:lnTo>
                    <a:pt x="22" y="61"/>
                  </a:lnTo>
                  <a:lnTo>
                    <a:pt x="16" y="72"/>
                  </a:lnTo>
                  <a:lnTo>
                    <a:pt x="10" y="84"/>
                  </a:lnTo>
                  <a:lnTo>
                    <a:pt x="5" y="96"/>
                  </a:lnTo>
                  <a:lnTo>
                    <a:pt x="2" y="109"/>
                  </a:lnTo>
                  <a:lnTo>
                    <a:pt x="0" y="121"/>
                  </a:lnTo>
                  <a:lnTo>
                    <a:pt x="0" y="135"/>
                  </a:lnTo>
                  <a:lnTo>
                    <a:pt x="0" y="135"/>
                  </a:lnTo>
                  <a:lnTo>
                    <a:pt x="0" y="149"/>
                  </a:lnTo>
                  <a:lnTo>
                    <a:pt x="2" y="163"/>
                  </a:lnTo>
                  <a:lnTo>
                    <a:pt x="6" y="177"/>
                  </a:lnTo>
                  <a:lnTo>
                    <a:pt x="11" y="190"/>
                  </a:lnTo>
                  <a:lnTo>
                    <a:pt x="17" y="201"/>
                  </a:lnTo>
                  <a:lnTo>
                    <a:pt x="24" y="214"/>
                  </a:lnTo>
                  <a:lnTo>
                    <a:pt x="33" y="223"/>
                  </a:lnTo>
                  <a:lnTo>
                    <a:pt x="43" y="233"/>
                  </a:lnTo>
                  <a:lnTo>
                    <a:pt x="74" y="264"/>
                  </a:lnTo>
                  <a:lnTo>
                    <a:pt x="63" y="270"/>
                  </a:lnTo>
                  <a:lnTo>
                    <a:pt x="63" y="270"/>
                  </a:lnTo>
                  <a:lnTo>
                    <a:pt x="60" y="273"/>
                  </a:lnTo>
                  <a:lnTo>
                    <a:pt x="59" y="275"/>
                  </a:lnTo>
                  <a:lnTo>
                    <a:pt x="58" y="279"/>
                  </a:lnTo>
                  <a:lnTo>
                    <a:pt x="59" y="283"/>
                  </a:lnTo>
                  <a:lnTo>
                    <a:pt x="76" y="312"/>
                  </a:lnTo>
                  <a:lnTo>
                    <a:pt x="76" y="312"/>
                  </a:lnTo>
                  <a:lnTo>
                    <a:pt x="79" y="315"/>
                  </a:lnTo>
                  <a:lnTo>
                    <a:pt x="79" y="315"/>
                  </a:lnTo>
                  <a:lnTo>
                    <a:pt x="296" y="532"/>
                  </a:lnTo>
                  <a:lnTo>
                    <a:pt x="296" y="532"/>
                  </a:lnTo>
                  <a:lnTo>
                    <a:pt x="317" y="526"/>
                  </a:lnTo>
                  <a:lnTo>
                    <a:pt x="336" y="517"/>
                  </a:lnTo>
                  <a:lnTo>
                    <a:pt x="356" y="507"/>
                  </a:lnTo>
                  <a:lnTo>
                    <a:pt x="375" y="496"/>
                  </a:lnTo>
                  <a:lnTo>
                    <a:pt x="393" y="485"/>
                  </a:lnTo>
                  <a:lnTo>
                    <a:pt x="410" y="473"/>
                  </a:lnTo>
                  <a:lnTo>
                    <a:pt x="426" y="458"/>
                  </a:lnTo>
                  <a:lnTo>
                    <a:pt x="443" y="443"/>
                  </a:lnTo>
                  <a:lnTo>
                    <a:pt x="457" y="428"/>
                  </a:lnTo>
                  <a:lnTo>
                    <a:pt x="471" y="411"/>
                  </a:lnTo>
                  <a:lnTo>
                    <a:pt x="483" y="394"/>
                  </a:lnTo>
                  <a:lnTo>
                    <a:pt x="494" y="375"/>
                  </a:lnTo>
                  <a:lnTo>
                    <a:pt x="505" y="357"/>
                  </a:lnTo>
                  <a:lnTo>
                    <a:pt x="514" y="337"/>
                  </a:lnTo>
                  <a:lnTo>
                    <a:pt x="523" y="317"/>
                  </a:lnTo>
                  <a:lnTo>
                    <a:pt x="530" y="296"/>
                  </a:lnTo>
                  <a:lnTo>
                    <a:pt x="343" y="11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03">
              <a:extLst>
                <a:ext uri="{FF2B5EF4-FFF2-40B4-BE49-F238E27FC236}">
                  <a16:creationId xmlns:a16="http://schemas.microsoft.com/office/drawing/2014/main" id="{97AD7CEB-83B3-5606-ED3B-431BC3317E68}"/>
                </a:ext>
              </a:extLst>
            </p:cNvPr>
            <p:cNvSpPr>
              <a:spLocks noEditPoints="1"/>
            </p:cNvSpPr>
            <p:nvPr/>
          </p:nvSpPr>
          <p:spPr bwMode="auto">
            <a:xfrm>
              <a:off x="3462338" y="317500"/>
              <a:ext cx="528638" cy="528638"/>
            </a:xfrm>
            <a:custGeom>
              <a:avLst/>
              <a:gdLst>
                <a:gd name="T0" fmla="*/ 299 w 333"/>
                <a:gd name="T1" fmla="*/ 118 h 333"/>
                <a:gd name="T2" fmla="*/ 320 w 333"/>
                <a:gd name="T3" fmla="*/ 100 h 333"/>
                <a:gd name="T4" fmla="*/ 296 w 333"/>
                <a:gd name="T5" fmla="*/ 63 h 333"/>
                <a:gd name="T6" fmla="*/ 264 w 333"/>
                <a:gd name="T7" fmla="*/ 66 h 333"/>
                <a:gd name="T8" fmla="*/ 268 w 333"/>
                <a:gd name="T9" fmla="*/ 36 h 333"/>
                <a:gd name="T10" fmla="*/ 231 w 333"/>
                <a:gd name="T11" fmla="*/ 12 h 333"/>
                <a:gd name="T12" fmla="*/ 212 w 333"/>
                <a:gd name="T13" fmla="*/ 33 h 333"/>
                <a:gd name="T14" fmla="*/ 190 w 333"/>
                <a:gd name="T15" fmla="*/ 5 h 333"/>
                <a:gd name="T16" fmla="*/ 148 w 333"/>
                <a:gd name="T17" fmla="*/ 0 h 333"/>
                <a:gd name="T18" fmla="*/ 140 w 333"/>
                <a:gd name="T19" fmla="*/ 29 h 333"/>
                <a:gd name="T20" fmla="*/ 109 w 333"/>
                <a:gd name="T21" fmla="*/ 18 h 333"/>
                <a:gd name="T22" fmla="*/ 67 w 333"/>
                <a:gd name="T23" fmla="*/ 32 h 333"/>
                <a:gd name="T24" fmla="*/ 64 w 333"/>
                <a:gd name="T25" fmla="*/ 43 h 333"/>
                <a:gd name="T26" fmla="*/ 42 w 333"/>
                <a:gd name="T27" fmla="*/ 66 h 333"/>
                <a:gd name="T28" fmla="*/ 31 w 333"/>
                <a:gd name="T29" fmla="*/ 70 h 333"/>
                <a:gd name="T30" fmla="*/ 14 w 333"/>
                <a:gd name="T31" fmla="*/ 108 h 333"/>
                <a:gd name="T32" fmla="*/ 29 w 333"/>
                <a:gd name="T33" fmla="*/ 143 h 333"/>
                <a:gd name="T34" fmla="*/ 1 w 333"/>
                <a:gd name="T35" fmla="*/ 148 h 333"/>
                <a:gd name="T36" fmla="*/ 3 w 333"/>
                <a:gd name="T37" fmla="*/ 191 h 333"/>
                <a:gd name="T38" fmla="*/ 32 w 333"/>
                <a:gd name="T39" fmla="*/ 205 h 333"/>
                <a:gd name="T40" fmla="*/ 15 w 333"/>
                <a:gd name="T41" fmla="*/ 229 h 333"/>
                <a:gd name="T42" fmla="*/ 35 w 333"/>
                <a:gd name="T43" fmla="*/ 269 h 333"/>
                <a:gd name="T44" fmla="*/ 62 w 333"/>
                <a:gd name="T45" fmla="*/ 259 h 333"/>
                <a:gd name="T46" fmla="*/ 67 w 333"/>
                <a:gd name="T47" fmla="*/ 295 h 333"/>
                <a:gd name="T48" fmla="*/ 100 w 333"/>
                <a:gd name="T49" fmla="*/ 319 h 333"/>
                <a:gd name="T50" fmla="*/ 122 w 333"/>
                <a:gd name="T51" fmla="*/ 298 h 333"/>
                <a:gd name="T52" fmla="*/ 143 w 333"/>
                <a:gd name="T53" fmla="*/ 324 h 333"/>
                <a:gd name="T54" fmla="*/ 186 w 333"/>
                <a:gd name="T55" fmla="*/ 333 h 333"/>
                <a:gd name="T56" fmla="*/ 195 w 333"/>
                <a:gd name="T57" fmla="*/ 324 h 333"/>
                <a:gd name="T58" fmla="*/ 226 w 333"/>
                <a:gd name="T59" fmla="*/ 314 h 333"/>
                <a:gd name="T60" fmla="*/ 237 w 333"/>
                <a:gd name="T61" fmla="*/ 318 h 333"/>
                <a:gd name="T62" fmla="*/ 270 w 333"/>
                <a:gd name="T63" fmla="*/ 292 h 333"/>
                <a:gd name="T64" fmla="*/ 275 w 333"/>
                <a:gd name="T65" fmla="*/ 256 h 333"/>
                <a:gd name="T66" fmla="*/ 301 w 333"/>
                <a:gd name="T67" fmla="*/ 265 h 333"/>
                <a:gd name="T68" fmla="*/ 321 w 333"/>
                <a:gd name="T69" fmla="*/ 227 h 333"/>
                <a:gd name="T70" fmla="*/ 302 w 333"/>
                <a:gd name="T71" fmla="*/ 201 h 333"/>
                <a:gd name="T72" fmla="*/ 331 w 333"/>
                <a:gd name="T73" fmla="*/ 187 h 333"/>
                <a:gd name="T74" fmla="*/ 333 w 333"/>
                <a:gd name="T75" fmla="*/ 144 h 333"/>
                <a:gd name="T76" fmla="*/ 167 w 333"/>
                <a:gd name="T77" fmla="*/ 255 h 333"/>
                <a:gd name="T78" fmla="*/ 132 w 333"/>
                <a:gd name="T79" fmla="*/ 248 h 333"/>
                <a:gd name="T80" fmla="*/ 99 w 333"/>
                <a:gd name="T81" fmla="*/ 223 h 333"/>
                <a:gd name="T82" fmla="*/ 80 w 333"/>
                <a:gd name="T83" fmla="*/ 184 h 333"/>
                <a:gd name="T84" fmla="*/ 80 w 333"/>
                <a:gd name="T85" fmla="*/ 148 h 333"/>
                <a:gd name="T86" fmla="*/ 99 w 333"/>
                <a:gd name="T87" fmla="*/ 110 h 333"/>
                <a:gd name="T88" fmla="*/ 132 w 333"/>
                <a:gd name="T89" fmla="*/ 85 h 333"/>
                <a:gd name="T90" fmla="*/ 167 w 333"/>
                <a:gd name="T91" fmla="*/ 78 h 333"/>
                <a:gd name="T92" fmla="*/ 210 w 333"/>
                <a:gd name="T93" fmla="*/ 89 h 333"/>
                <a:gd name="T94" fmla="*/ 241 w 333"/>
                <a:gd name="T95" fmla="*/ 117 h 333"/>
                <a:gd name="T96" fmla="*/ 255 w 333"/>
                <a:gd name="T97" fmla="*/ 158 h 333"/>
                <a:gd name="T98" fmla="*/ 252 w 333"/>
                <a:gd name="T99" fmla="*/ 192 h 333"/>
                <a:gd name="T100" fmla="*/ 230 w 333"/>
                <a:gd name="T101" fmla="*/ 229 h 333"/>
                <a:gd name="T102" fmla="*/ 194 w 333"/>
                <a:gd name="T103" fmla="*/ 25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3" h="333">
                  <a:moveTo>
                    <a:pt x="325" y="139"/>
                  </a:moveTo>
                  <a:lnTo>
                    <a:pt x="305" y="139"/>
                  </a:lnTo>
                  <a:lnTo>
                    <a:pt x="305" y="139"/>
                  </a:lnTo>
                  <a:lnTo>
                    <a:pt x="302" y="128"/>
                  </a:lnTo>
                  <a:lnTo>
                    <a:pt x="299" y="118"/>
                  </a:lnTo>
                  <a:lnTo>
                    <a:pt x="316" y="108"/>
                  </a:lnTo>
                  <a:lnTo>
                    <a:pt x="316" y="108"/>
                  </a:lnTo>
                  <a:lnTo>
                    <a:pt x="318" y="106"/>
                  </a:lnTo>
                  <a:lnTo>
                    <a:pt x="320" y="102"/>
                  </a:lnTo>
                  <a:lnTo>
                    <a:pt x="320" y="100"/>
                  </a:lnTo>
                  <a:lnTo>
                    <a:pt x="318" y="96"/>
                  </a:lnTo>
                  <a:lnTo>
                    <a:pt x="301" y="66"/>
                  </a:lnTo>
                  <a:lnTo>
                    <a:pt x="301" y="66"/>
                  </a:lnTo>
                  <a:lnTo>
                    <a:pt x="299" y="64"/>
                  </a:lnTo>
                  <a:lnTo>
                    <a:pt x="296" y="63"/>
                  </a:lnTo>
                  <a:lnTo>
                    <a:pt x="292" y="63"/>
                  </a:lnTo>
                  <a:lnTo>
                    <a:pt x="290" y="64"/>
                  </a:lnTo>
                  <a:lnTo>
                    <a:pt x="271" y="74"/>
                  </a:lnTo>
                  <a:lnTo>
                    <a:pt x="271" y="74"/>
                  </a:lnTo>
                  <a:lnTo>
                    <a:pt x="264" y="66"/>
                  </a:lnTo>
                  <a:lnTo>
                    <a:pt x="257" y="59"/>
                  </a:lnTo>
                  <a:lnTo>
                    <a:pt x="267" y="42"/>
                  </a:lnTo>
                  <a:lnTo>
                    <a:pt x="267" y="42"/>
                  </a:lnTo>
                  <a:lnTo>
                    <a:pt x="268" y="38"/>
                  </a:lnTo>
                  <a:lnTo>
                    <a:pt x="268" y="36"/>
                  </a:lnTo>
                  <a:lnTo>
                    <a:pt x="265" y="32"/>
                  </a:lnTo>
                  <a:lnTo>
                    <a:pt x="263" y="29"/>
                  </a:lnTo>
                  <a:lnTo>
                    <a:pt x="233" y="12"/>
                  </a:lnTo>
                  <a:lnTo>
                    <a:pt x="233" y="12"/>
                  </a:lnTo>
                  <a:lnTo>
                    <a:pt x="231" y="12"/>
                  </a:lnTo>
                  <a:lnTo>
                    <a:pt x="227" y="12"/>
                  </a:lnTo>
                  <a:lnTo>
                    <a:pt x="225" y="13"/>
                  </a:lnTo>
                  <a:lnTo>
                    <a:pt x="222" y="16"/>
                  </a:lnTo>
                  <a:lnTo>
                    <a:pt x="212" y="33"/>
                  </a:lnTo>
                  <a:lnTo>
                    <a:pt x="212" y="33"/>
                  </a:lnTo>
                  <a:lnTo>
                    <a:pt x="201" y="31"/>
                  </a:lnTo>
                  <a:lnTo>
                    <a:pt x="191" y="28"/>
                  </a:lnTo>
                  <a:lnTo>
                    <a:pt x="191" y="8"/>
                  </a:lnTo>
                  <a:lnTo>
                    <a:pt x="191" y="8"/>
                  </a:lnTo>
                  <a:lnTo>
                    <a:pt x="190" y="5"/>
                  </a:lnTo>
                  <a:lnTo>
                    <a:pt x="188" y="2"/>
                  </a:lnTo>
                  <a:lnTo>
                    <a:pt x="185" y="1"/>
                  </a:lnTo>
                  <a:lnTo>
                    <a:pt x="183" y="0"/>
                  </a:lnTo>
                  <a:lnTo>
                    <a:pt x="148" y="0"/>
                  </a:lnTo>
                  <a:lnTo>
                    <a:pt x="148" y="0"/>
                  </a:lnTo>
                  <a:lnTo>
                    <a:pt x="144" y="1"/>
                  </a:lnTo>
                  <a:lnTo>
                    <a:pt x="142" y="2"/>
                  </a:lnTo>
                  <a:lnTo>
                    <a:pt x="140" y="5"/>
                  </a:lnTo>
                  <a:lnTo>
                    <a:pt x="140" y="8"/>
                  </a:lnTo>
                  <a:lnTo>
                    <a:pt x="140" y="29"/>
                  </a:lnTo>
                  <a:lnTo>
                    <a:pt x="140" y="29"/>
                  </a:lnTo>
                  <a:lnTo>
                    <a:pt x="128" y="32"/>
                  </a:lnTo>
                  <a:lnTo>
                    <a:pt x="119" y="34"/>
                  </a:lnTo>
                  <a:lnTo>
                    <a:pt x="109" y="18"/>
                  </a:lnTo>
                  <a:lnTo>
                    <a:pt x="109" y="18"/>
                  </a:lnTo>
                  <a:lnTo>
                    <a:pt x="106" y="15"/>
                  </a:lnTo>
                  <a:lnTo>
                    <a:pt x="104" y="13"/>
                  </a:lnTo>
                  <a:lnTo>
                    <a:pt x="100" y="13"/>
                  </a:lnTo>
                  <a:lnTo>
                    <a:pt x="96" y="15"/>
                  </a:lnTo>
                  <a:lnTo>
                    <a:pt x="67" y="32"/>
                  </a:lnTo>
                  <a:lnTo>
                    <a:pt x="67" y="32"/>
                  </a:lnTo>
                  <a:lnTo>
                    <a:pt x="64" y="34"/>
                  </a:lnTo>
                  <a:lnTo>
                    <a:pt x="63" y="37"/>
                  </a:lnTo>
                  <a:lnTo>
                    <a:pt x="63" y="41"/>
                  </a:lnTo>
                  <a:lnTo>
                    <a:pt x="64" y="43"/>
                  </a:lnTo>
                  <a:lnTo>
                    <a:pt x="74" y="62"/>
                  </a:lnTo>
                  <a:lnTo>
                    <a:pt x="74" y="62"/>
                  </a:lnTo>
                  <a:lnTo>
                    <a:pt x="67" y="69"/>
                  </a:lnTo>
                  <a:lnTo>
                    <a:pt x="59" y="76"/>
                  </a:lnTo>
                  <a:lnTo>
                    <a:pt x="42" y="66"/>
                  </a:lnTo>
                  <a:lnTo>
                    <a:pt x="42" y="66"/>
                  </a:lnTo>
                  <a:lnTo>
                    <a:pt x="40" y="65"/>
                  </a:lnTo>
                  <a:lnTo>
                    <a:pt x="36" y="66"/>
                  </a:lnTo>
                  <a:lnTo>
                    <a:pt x="32" y="68"/>
                  </a:lnTo>
                  <a:lnTo>
                    <a:pt x="31" y="70"/>
                  </a:lnTo>
                  <a:lnTo>
                    <a:pt x="14" y="100"/>
                  </a:lnTo>
                  <a:lnTo>
                    <a:pt x="14" y="100"/>
                  </a:lnTo>
                  <a:lnTo>
                    <a:pt x="12" y="102"/>
                  </a:lnTo>
                  <a:lnTo>
                    <a:pt x="12" y="106"/>
                  </a:lnTo>
                  <a:lnTo>
                    <a:pt x="14" y="108"/>
                  </a:lnTo>
                  <a:lnTo>
                    <a:pt x="16" y="111"/>
                  </a:lnTo>
                  <a:lnTo>
                    <a:pt x="35" y="122"/>
                  </a:lnTo>
                  <a:lnTo>
                    <a:pt x="35" y="122"/>
                  </a:lnTo>
                  <a:lnTo>
                    <a:pt x="31" y="132"/>
                  </a:lnTo>
                  <a:lnTo>
                    <a:pt x="29" y="143"/>
                  </a:lnTo>
                  <a:lnTo>
                    <a:pt x="9" y="143"/>
                  </a:lnTo>
                  <a:lnTo>
                    <a:pt x="9" y="143"/>
                  </a:lnTo>
                  <a:lnTo>
                    <a:pt x="6" y="143"/>
                  </a:lnTo>
                  <a:lnTo>
                    <a:pt x="3" y="145"/>
                  </a:lnTo>
                  <a:lnTo>
                    <a:pt x="1" y="148"/>
                  </a:lnTo>
                  <a:lnTo>
                    <a:pt x="0" y="152"/>
                  </a:lnTo>
                  <a:lnTo>
                    <a:pt x="0" y="185"/>
                  </a:lnTo>
                  <a:lnTo>
                    <a:pt x="0" y="185"/>
                  </a:lnTo>
                  <a:lnTo>
                    <a:pt x="1" y="189"/>
                  </a:lnTo>
                  <a:lnTo>
                    <a:pt x="3" y="191"/>
                  </a:lnTo>
                  <a:lnTo>
                    <a:pt x="6" y="194"/>
                  </a:lnTo>
                  <a:lnTo>
                    <a:pt x="9" y="194"/>
                  </a:lnTo>
                  <a:lnTo>
                    <a:pt x="30" y="194"/>
                  </a:lnTo>
                  <a:lnTo>
                    <a:pt x="30" y="194"/>
                  </a:lnTo>
                  <a:lnTo>
                    <a:pt x="32" y="205"/>
                  </a:lnTo>
                  <a:lnTo>
                    <a:pt x="36" y="214"/>
                  </a:lnTo>
                  <a:lnTo>
                    <a:pt x="19" y="224"/>
                  </a:lnTo>
                  <a:lnTo>
                    <a:pt x="19" y="224"/>
                  </a:lnTo>
                  <a:lnTo>
                    <a:pt x="16" y="227"/>
                  </a:lnTo>
                  <a:lnTo>
                    <a:pt x="15" y="229"/>
                  </a:lnTo>
                  <a:lnTo>
                    <a:pt x="14" y="233"/>
                  </a:lnTo>
                  <a:lnTo>
                    <a:pt x="15" y="237"/>
                  </a:lnTo>
                  <a:lnTo>
                    <a:pt x="32" y="266"/>
                  </a:lnTo>
                  <a:lnTo>
                    <a:pt x="32" y="266"/>
                  </a:lnTo>
                  <a:lnTo>
                    <a:pt x="35" y="269"/>
                  </a:lnTo>
                  <a:lnTo>
                    <a:pt x="37" y="270"/>
                  </a:lnTo>
                  <a:lnTo>
                    <a:pt x="41" y="270"/>
                  </a:lnTo>
                  <a:lnTo>
                    <a:pt x="45" y="269"/>
                  </a:lnTo>
                  <a:lnTo>
                    <a:pt x="62" y="259"/>
                  </a:lnTo>
                  <a:lnTo>
                    <a:pt x="62" y="259"/>
                  </a:lnTo>
                  <a:lnTo>
                    <a:pt x="69" y="266"/>
                  </a:lnTo>
                  <a:lnTo>
                    <a:pt x="78" y="274"/>
                  </a:lnTo>
                  <a:lnTo>
                    <a:pt x="68" y="291"/>
                  </a:lnTo>
                  <a:lnTo>
                    <a:pt x="68" y="291"/>
                  </a:lnTo>
                  <a:lnTo>
                    <a:pt x="67" y="295"/>
                  </a:lnTo>
                  <a:lnTo>
                    <a:pt x="67" y="297"/>
                  </a:lnTo>
                  <a:lnTo>
                    <a:pt x="68" y="301"/>
                  </a:lnTo>
                  <a:lnTo>
                    <a:pt x="70" y="302"/>
                  </a:lnTo>
                  <a:lnTo>
                    <a:pt x="100" y="319"/>
                  </a:lnTo>
                  <a:lnTo>
                    <a:pt x="100" y="319"/>
                  </a:lnTo>
                  <a:lnTo>
                    <a:pt x="104" y="321"/>
                  </a:lnTo>
                  <a:lnTo>
                    <a:pt x="106" y="321"/>
                  </a:lnTo>
                  <a:lnTo>
                    <a:pt x="110" y="319"/>
                  </a:lnTo>
                  <a:lnTo>
                    <a:pt x="112" y="317"/>
                  </a:lnTo>
                  <a:lnTo>
                    <a:pt x="122" y="298"/>
                  </a:lnTo>
                  <a:lnTo>
                    <a:pt x="122" y="298"/>
                  </a:lnTo>
                  <a:lnTo>
                    <a:pt x="132" y="302"/>
                  </a:lnTo>
                  <a:lnTo>
                    <a:pt x="143" y="305"/>
                  </a:lnTo>
                  <a:lnTo>
                    <a:pt x="143" y="324"/>
                  </a:lnTo>
                  <a:lnTo>
                    <a:pt x="143" y="324"/>
                  </a:lnTo>
                  <a:lnTo>
                    <a:pt x="144" y="327"/>
                  </a:lnTo>
                  <a:lnTo>
                    <a:pt x="146" y="330"/>
                  </a:lnTo>
                  <a:lnTo>
                    <a:pt x="148" y="332"/>
                  </a:lnTo>
                  <a:lnTo>
                    <a:pt x="152" y="333"/>
                  </a:lnTo>
                  <a:lnTo>
                    <a:pt x="186" y="333"/>
                  </a:lnTo>
                  <a:lnTo>
                    <a:pt x="186" y="333"/>
                  </a:lnTo>
                  <a:lnTo>
                    <a:pt x="189" y="332"/>
                  </a:lnTo>
                  <a:lnTo>
                    <a:pt x="193" y="330"/>
                  </a:lnTo>
                  <a:lnTo>
                    <a:pt x="194" y="327"/>
                  </a:lnTo>
                  <a:lnTo>
                    <a:pt x="195" y="324"/>
                  </a:lnTo>
                  <a:lnTo>
                    <a:pt x="195" y="303"/>
                  </a:lnTo>
                  <a:lnTo>
                    <a:pt x="195" y="303"/>
                  </a:lnTo>
                  <a:lnTo>
                    <a:pt x="205" y="301"/>
                  </a:lnTo>
                  <a:lnTo>
                    <a:pt x="216" y="297"/>
                  </a:lnTo>
                  <a:lnTo>
                    <a:pt x="226" y="314"/>
                  </a:lnTo>
                  <a:lnTo>
                    <a:pt x="226" y="314"/>
                  </a:lnTo>
                  <a:lnTo>
                    <a:pt x="227" y="317"/>
                  </a:lnTo>
                  <a:lnTo>
                    <a:pt x="231" y="319"/>
                  </a:lnTo>
                  <a:lnTo>
                    <a:pt x="233" y="319"/>
                  </a:lnTo>
                  <a:lnTo>
                    <a:pt x="237" y="318"/>
                  </a:lnTo>
                  <a:lnTo>
                    <a:pt x="267" y="301"/>
                  </a:lnTo>
                  <a:lnTo>
                    <a:pt x="267" y="301"/>
                  </a:lnTo>
                  <a:lnTo>
                    <a:pt x="269" y="298"/>
                  </a:lnTo>
                  <a:lnTo>
                    <a:pt x="270" y="296"/>
                  </a:lnTo>
                  <a:lnTo>
                    <a:pt x="270" y="292"/>
                  </a:lnTo>
                  <a:lnTo>
                    <a:pt x="270" y="288"/>
                  </a:lnTo>
                  <a:lnTo>
                    <a:pt x="259" y="271"/>
                  </a:lnTo>
                  <a:lnTo>
                    <a:pt x="259" y="271"/>
                  </a:lnTo>
                  <a:lnTo>
                    <a:pt x="268" y="264"/>
                  </a:lnTo>
                  <a:lnTo>
                    <a:pt x="275" y="256"/>
                  </a:lnTo>
                  <a:lnTo>
                    <a:pt x="291" y="266"/>
                  </a:lnTo>
                  <a:lnTo>
                    <a:pt x="291" y="266"/>
                  </a:lnTo>
                  <a:lnTo>
                    <a:pt x="295" y="266"/>
                  </a:lnTo>
                  <a:lnTo>
                    <a:pt x="299" y="266"/>
                  </a:lnTo>
                  <a:lnTo>
                    <a:pt x="301" y="265"/>
                  </a:lnTo>
                  <a:lnTo>
                    <a:pt x="304" y="263"/>
                  </a:lnTo>
                  <a:lnTo>
                    <a:pt x="321" y="233"/>
                  </a:lnTo>
                  <a:lnTo>
                    <a:pt x="321" y="233"/>
                  </a:lnTo>
                  <a:lnTo>
                    <a:pt x="322" y="229"/>
                  </a:lnTo>
                  <a:lnTo>
                    <a:pt x="321" y="227"/>
                  </a:lnTo>
                  <a:lnTo>
                    <a:pt x="320" y="223"/>
                  </a:lnTo>
                  <a:lnTo>
                    <a:pt x="317" y="221"/>
                  </a:lnTo>
                  <a:lnTo>
                    <a:pt x="300" y="211"/>
                  </a:lnTo>
                  <a:lnTo>
                    <a:pt x="300" y="211"/>
                  </a:lnTo>
                  <a:lnTo>
                    <a:pt x="302" y="201"/>
                  </a:lnTo>
                  <a:lnTo>
                    <a:pt x="305" y="190"/>
                  </a:lnTo>
                  <a:lnTo>
                    <a:pt x="325" y="190"/>
                  </a:lnTo>
                  <a:lnTo>
                    <a:pt x="325" y="190"/>
                  </a:lnTo>
                  <a:lnTo>
                    <a:pt x="328" y="190"/>
                  </a:lnTo>
                  <a:lnTo>
                    <a:pt x="331" y="187"/>
                  </a:lnTo>
                  <a:lnTo>
                    <a:pt x="333" y="185"/>
                  </a:lnTo>
                  <a:lnTo>
                    <a:pt x="333" y="181"/>
                  </a:lnTo>
                  <a:lnTo>
                    <a:pt x="333" y="148"/>
                  </a:lnTo>
                  <a:lnTo>
                    <a:pt x="333" y="148"/>
                  </a:lnTo>
                  <a:lnTo>
                    <a:pt x="333" y="144"/>
                  </a:lnTo>
                  <a:lnTo>
                    <a:pt x="331" y="142"/>
                  </a:lnTo>
                  <a:lnTo>
                    <a:pt x="328" y="139"/>
                  </a:lnTo>
                  <a:lnTo>
                    <a:pt x="325" y="139"/>
                  </a:lnTo>
                  <a:lnTo>
                    <a:pt x="325" y="139"/>
                  </a:lnTo>
                  <a:close/>
                  <a:moveTo>
                    <a:pt x="167" y="255"/>
                  </a:moveTo>
                  <a:lnTo>
                    <a:pt x="167" y="255"/>
                  </a:lnTo>
                  <a:lnTo>
                    <a:pt x="158" y="254"/>
                  </a:lnTo>
                  <a:lnTo>
                    <a:pt x="149" y="253"/>
                  </a:lnTo>
                  <a:lnTo>
                    <a:pt x="141" y="251"/>
                  </a:lnTo>
                  <a:lnTo>
                    <a:pt x="132" y="248"/>
                  </a:lnTo>
                  <a:lnTo>
                    <a:pt x="125" y="244"/>
                  </a:lnTo>
                  <a:lnTo>
                    <a:pt x="117" y="240"/>
                  </a:lnTo>
                  <a:lnTo>
                    <a:pt x="110" y="234"/>
                  </a:lnTo>
                  <a:lnTo>
                    <a:pt x="104" y="229"/>
                  </a:lnTo>
                  <a:lnTo>
                    <a:pt x="99" y="223"/>
                  </a:lnTo>
                  <a:lnTo>
                    <a:pt x="94" y="216"/>
                  </a:lnTo>
                  <a:lnTo>
                    <a:pt x="89" y="208"/>
                  </a:lnTo>
                  <a:lnTo>
                    <a:pt x="85" y="201"/>
                  </a:lnTo>
                  <a:lnTo>
                    <a:pt x="83" y="192"/>
                  </a:lnTo>
                  <a:lnTo>
                    <a:pt x="80" y="184"/>
                  </a:lnTo>
                  <a:lnTo>
                    <a:pt x="79" y="175"/>
                  </a:lnTo>
                  <a:lnTo>
                    <a:pt x="78" y="166"/>
                  </a:lnTo>
                  <a:lnTo>
                    <a:pt x="78" y="166"/>
                  </a:lnTo>
                  <a:lnTo>
                    <a:pt x="79" y="158"/>
                  </a:lnTo>
                  <a:lnTo>
                    <a:pt x="80" y="148"/>
                  </a:lnTo>
                  <a:lnTo>
                    <a:pt x="83" y="140"/>
                  </a:lnTo>
                  <a:lnTo>
                    <a:pt x="85" y="132"/>
                  </a:lnTo>
                  <a:lnTo>
                    <a:pt x="89" y="124"/>
                  </a:lnTo>
                  <a:lnTo>
                    <a:pt x="94" y="117"/>
                  </a:lnTo>
                  <a:lnTo>
                    <a:pt x="99" y="110"/>
                  </a:lnTo>
                  <a:lnTo>
                    <a:pt x="104" y="103"/>
                  </a:lnTo>
                  <a:lnTo>
                    <a:pt x="110" y="97"/>
                  </a:lnTo>
                  <a:lnTo>
                    <a:pt x="117" y="92"/>
                  </a:lnTo>
                  <a:lnTo>
                    <a:pt x="125" y="89"/>
                  </a:lnTo>
                  <a:lnTo>
                    <a:pt x="132" y="85"/>
                  </a:lnTo>
                  <a:lnTo>
                    <a:pt x="141" y="81"/>
                  </a:lnTo>
                  <a:lnTo>
                    <a:pt x="149" y="79"/>
                  </a:lnTo>
                  <a:lnTo>
                    <a:pt x="158" y="78"/>
                  </a:lnTo>
                  <a:lnTo>
                    <a:pt x="167" y="78"/>
                  </a:lnTo>
                  <a:lnTo>
                    <a:pt x="167" y="78"/>
                  </a:lnTo>
                  <a:lnTo>
                    <a:pt x="177" y="78"/>
                  </a:lnTo>
                  <a:lnTo>
                    <a:pt x="185" y="79"/>
                  </a:lnTo>
                  <a:lnTo>
                    <a:pt x="194" y="81"/>
                  </a:lnTo>
                  <a:lnTo>
                    <a:pt x="201" y="85"/>
                  </a:lnTo>
                  <a:lnTo>
                    <a:pt x="210" y="89"/>
                  </a:lnTo>
                  <a:lnTo>
                    <a:pt x="216" y="92"/>
                  </a:lnTo>
                  <a:lnTo>
                    <a:pt x="223" y="97"/>
                  </a:lnTo>
                  <a:lnTo>
                    <a:pt x="230" y="103"/>
                  </a:lnTo>
                  <a:lnTo>
                    <a:pt x="236" y="110"/>
                  </a:lnTo>
                  <a:lnTo>
                    <a:pt x="241" y="117"/>
                  </a:lnTo>
                  <a:lnTo>
                    <a:pt x="246" y="124"/>
                  </a:lnTo>
                  <a:lnTo>
                    <a:pt x="249" y="132"/>
                  </a:lnTo>
                  <a:lnTo>
                    <a:pt x="252" y="140"/>
                  </a:lnTo>
                  <a:lnTo>
                    <a:pt x="254" y="148"/>
                  </a:lnTo>
                  <a:lnTo>
                    <a:pt x="255" y="158"/>
                  </a:lnTo>
                  <a:lnTo>
                    <a:pt x="255" y="166"/>
                  </a:lnTo>
                  <a:lnTo>
                    <a:pt x="255" y="166"/>
                  </a:lnTo>
                  <a:lnTo>
                    <a:pt x="255" y="175"/>
                  </a:lnTo>
                  <a:lnTo>
                    <a:pt x="254" y="184"/>
                  </a:lnTo>
                  <a:lnTo>
                    <a:pt x="252" y="192"/>
                  </a:lnTo>
                  <a:lnTo>
                    <a:pt x="249" y="201"/>
                  </a:lnTo>
                  <a:lnTo>
                    <a:pt x="246" y="208"/>
                  </a:lnTo>
                  <a:lnTo>
                    <a:pt x="241" y="216"/>
                  </a:lnTo>
                  <a:lnTo>
                    <a:pt x="236" y="223"/>
                  </a:lnTo>
                  <a:lnTo>
                    <a:pt x="230" y="229"/>
                  </a:lnTo>
                  <a:lnTo>
                    <a:pt x="223" y="234"/>
                  </a:lnTo>
                  <a:lnTo>
                    <a:pt x="216" y="240"/>
                  </a:lnTo>
                  <a:lnTo>
                    <a:pt x="210" y="244"/>
                  </a:lnTo>
                  <a:lnTo>
                    <a:pt x="201" y="248"/>
                  </a:lnTo>
                  <a:lnTo>
                    <a:pt x="194" y="251"/>
                  </a:lnTo>
                  <a:lnTo>
                    <a:pt x="185" y="253"/>
                  </a:lnTo>
                  <a:lnTo>
                    <a:pt x="177" y="254"/>
                  </a:lnTo>
                  <a:lnTo>
                    <a:pt x="167" y="255"/>
                  </a:lnTo>
                  <a:lnTo>
                    <a:pt x="167" y="255"/>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204">
              <a:extLst>
                <a:ext uri="{FF2B5EF4-FFF2-40B4-BE49-F238E27FC236}">
                  <a16:creationId xmlns:a16="http://schemas.microsoft.com/office/drawing/2014/main" id="{CE41576A-7D35-D145-8C16-881337DC29F4}"/>
                </a:ext>
              </a:extLst>
            </p:cNvPr>
            <p:cNvSpPr>
              <a:spLocks/>
            </p:cNvSpPr>
            <p:nvPr/>
          </p:nvSpPr>
          <p:spPr bwMode="auto">
            <a:xfrm>
              <a:off x="3462338" y="317500"/>
              <a:ext cx="260350" cy="528638"/>
            </a:xfrm>
            <a:custGeom>
              <a:avLst/>
              <a:gdLst>
                <a:gd name="T0" fmla="*/ 156 w 164"/>
                <a:gd name="T1" fmla="*/ 254 h 333"/>
                <a:gd name="T2" fmla="*/ 131 w 164"/>
                <a:gd name="T3" fmla="*/ 247 h 333"/>
                <a:gd name="T4" fmla="*/ 110 w 164"/>
                <a:gd name="T5" fmla="*/ 234 h 333"/>
                <a:gd name="T6" fmla="*/ 93 w 164"/>
                <a:gd name="T7" fmla="*/ 214 h 333"/>
                <a:gd name="T8" fmla="*/ 82 w 164"/>
                <a:gd name="T9" fmla="*/ 192 h 333"/>
                <a:gd name="T10" fmla="*/ 78 w 164"/>
                <a:gd name="T11" fmla="*/ 166 h 333"/>
                <a:gd name="T12" fmla="*/ 80 w 164"/>
                <a:gd name="T13" fmla="*/ 149 h 333"/>
                <a:gd name="T14" fmla="*/ 89 w 164"/>
                <a:gd name="T15" fmla="*/ 124 h 333"/>
                <a:gd name="T16" fmla="*/ 104 w 164"/>
                <a:gd name="T17" fmla="*/ 105 h 333"/>
                <a:gd name="T18" fmla="*/ 123 w 164"/>
                <a:gd name="T19" fmla="*/ 89 h 333"/>
                <a:gd name="T20" fmla="*/ 147 w 164"/>
                <a:gd name="T21" fmla="*/ 80 h 333"/>
                <a:gd name="T22" fmla="*/ 164 w 164"/>
                <a:gd name="T23" fmla="*/ 0 h 333"/>
                <a:gd name="T24" fmla="*/ 144 w 164"/>
                <a:gd name="T25" fmla="*/ 1 h 333"/>
                <a:gd name="T26" fmla="*/ 140 w 164"/>
                <a:gd name="T27" fmla="*/ 8 h 333"/>
                <a:gd name="T28" fmla="*/ 128 w 164"/>
                <a:gd name="T29" fmla="*/ 32 h 333"/>
                <a:gd name="T30" fmla="*/ 109 w 164"/>
                <a:gd name="T31" fmla="*/ 18 h 333"/>
                <a:gd name="T32" fmla="*/ 100 w 164"/>
                <a:gd name="T33" fmla="*/ 13 h 333"/>
                <a:gd name="T34" fmla="*/ 67 w 164"/>
                <a:gd name="T35" fmla="*/ 32 h 333"/>
                <a:gd name="T36" fmla="*/ 63 w 164"/>
                <a:gd name="T37" fmla="*/ 41 h 333"/>
                <a:gd name="T38" fmla="*/ 74 w 164"/>
                <a:gd name="T39" fmla="*/ 62 h 333"/>
                <a:gd name="T40" fmla="*/ 42 w 164"/>
                <a:gd name="T41" fmla="*/ 66 h 333"/>
                <a:gd name="T42" fmla="*/ 36 w 164"/>
                <a:gd name="T43" fmla="*/ 66 h 333"/>
                <a:gd name="T44" fmla="*/ 14 w 164"/>
                <a:gd name="T45" fmla="*/ 100 h 333"/>
                <a:gd name="T46" fmla="*/ 12 w 164"/>
                <a:gd name="T47" fmla="*/ 106 h 333"/>
                <a:gd name="T48" fmla="*/ 35 w 164"/>
                <a:gd name="T49" fmla="*/ 122 h 333"/>
                <a:gd name="T50" fmla="*/ 29 w 164"/>
                <a:gd name="T51" fmla="*/ 143 h 333"/>
                <a:gd name="T52" fmla="*/ 6 w 164"/>
                <a:gd name="T53" fmla="*/ 143 h 333"/>
                <a:gd name="T54" fmla="*/ 0 w 164"/>
                <a:gd name="T55" fmla="*/ 152 h 333"/>
                <a:gd name="T56" fmla="*/ 1 w 164"/>
                <a:gd name="T57" fmla="*/ 189 h 333"/>
                <a:gd name="T58" fmla="*/ 9 w 164"/>
                <a:gd name="T59" fmla="*/ 194 h 333"/>
                <a:gd name="T60" fmla="*/ 32 w 164"/>
                <a:gd name="T61" fmla="*/ 205 h 333"/>
                <a:gd name="T62" fmla="*/ 19 w 164"/>
                <a:gd name="T63" fmla="*/ 224 h 333"/>
                <a:gd name="T64" fmla="*/ 14 w 164"/>
                <a:gd name="T65" fmla="*/ 233 h 333"/>
                <a:gd name="T66" fmla="*/ 32 w 164"/>
                <a:gd name="T67" fmla="*/ 266 h 333"/>
                <a:gd name="T68" fmla="*/ 41 w 164"/>
                <a:gd name="T69" fmla="*/ 270 h 333"/>
                <a:gd name="T70" fmla="*/ 62 w 164"/>
                <a:gd name="T71" fmla="*/ 259 h 333"/>
                <a:gd name="T72" fmla="*/ 68 w 164"/>
                <a:gd name="T73" fmla="*/ 291 h 333"/>
                <a:gd name="T74" fmla="*/ 67 w 164"/>
                <a:gd name="T75" fmla="*/ 297 h 333"/>
                <a:gd name="T76" fmla="*/ 100 w 164"/>
                <a:gd name="T77" fmla="*/ 319 h 333"/>
                <a:gd name="T78" fmla="*/ 106 w 164"/>
                <a:gd name="T79" fmla="*/ 321 h 333"/>
                <a:gd name="T80" fmla="*/ 122 w 164"/>
                <a:gd name="T81" fmla="*/ 298 h 333"/>
                <a:gd name="T82" fmla="*/ 143 w 164"/>
                <a:gd name="T83" fmla="*/ 305 h 333"/>
                <a:gd name="T84" fmla="*/ 144 w 164"/>
                <a:gd name="T85" fmla="*/ 327 h 333"/>
                <a:gd name="T86" fmla="*/ 152 w 164"/>
                <a:gd name="T87"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333">
                  <a:moveTo>
                    <a:pt x="164" y="255"/>
                  </a:moveTo>
                  <a:lnTo>
                    <a:pt x="164" y="255"/>
                  </a:lnTo>
                  <a:lnTo>
                    <a:pt x="156" y="254"/>
                  </a:lnTo>
                  <a:lnTo>
                    <a:pt x="147" y="253"/>
                  </a:lnTo>
                  <a:lnTo>
                    <a:pt x="138" y="250"/>
                  </a:lnTo>
                  <a:lnTo>
                    <a:pt x="131" y="247"/>
                  </a:lnTo>
                  <a:lnTo>
                    <a:pt x="123" y="243"/>
                  </a:lnTo>
                  <a:lnTo>
                    <a:pt x="116" y="239"/>
                  </a:lnTo>
                  <a:lnTo>
                    <a:pt x="110" y="234"/>
                  </a:lnTo>
                  <a:lnTo>
                    <a:pt x="104" y="228"/>
                  </a:lnTo>
                  <a:lnTo>
                    <a:pt x="98" y="222"/>
                  </a:lnTo>
                  <a:lnTo>
                    <a:pt x="93" y="214"/>
                  </a:lnTo>
                  <a:lnTo>
                    <a:pt x="89" y="208"/>
                  </a:lnTo>
                  <a:lnTo>
                    <a:pt x="85" y="200"/>
                  </a:lnTo>
                  <a:lnTo>
                    <a:pt x="82" y="192"/>
                  </a:lnTo>
                  <a:lnTo>
                    <a:pt x="80" y="184"/>
                  </a:lnTo>
                  <a:lnTo>
                    <a:pt x="79" y="175"/>
                  </a:lnTo>
                  <a:lnTo>
                    <a:pt x="78" y="166"/>
                  </a:lnTo>
                  <a:lnTo>
                    <a:pt x="78" y="166"/>
                  </a:lnTo>
                  <a:lnTo>
                    <a:pt x="79" y="158"/>
                  </a:lnTo>
                  <a:lnTo>
                    <a:pt x="80" y="149"/>
                  </a:lnTo>
                  <a:lnTo>
                    <a:pt x="82" y="140"/>
                  </a:lnTo>
                  <a:lnTo>
                    <a:pt x="85" y="132"/>
                  </a:lnTo>
                  <a:lnTo>
                    <a:pt x="89" y="124"/>
                  </a:lnTo>
                  <a:lnTo>
                    <a:pt x="93" y="117"/>
                  </a:lnTo>
                  <a:lnTo>
                    <a:pt x="98" y="111"/>
                  </a:lnTo>
                  <a:lnTo>
                    <a:pt x="104" y="105"/>
                  </a:lnTo>
                  <a:lnTo>
                    <a:pt x="110" y="99"/>
                  </a:lnTo>
                  <a:lnTo>
                    <a:pt x="116" y="94"/>
                  </a:lnTo>
                  <a:lnTo>
                    <a:pt x="123" y="89"/>
                  </a:lnTo>
                  <a:lnTo>
                    <a:pt x="131" y="85"/>
                  </a:lnTo>
                  <a:lnTo>
                    <a:pt x="138" y="82"/>
                  </a:lnTo>
                  <a:lnTo>
                    <a:pt x="147" y="80"/>
                  </a:lnTo>
                  <a:lnTo>
                    <a:pt x="156" y="79"/>
                  </a:lnTo>
                  <a:lnTo>
                    <a:pt x="164" y="78"/>
                  </a:lnTo>
                  <a:lnTo>
                    <a:pt x="164" y="0"/>
                  </a:lnTo>
                  <a:lnTo>
                    <a:pt x="148" y="0"/>
                  </a:lnTo>
                  <a:lnTo>
                    <a:pt x="148" y="0"/>
                  </a:lnTo>
                  <a:lnTo>
                    <a:pt x="144" y="1"/>
                  </a:lnTo>
                  <a:lnTo>
                    <a:pt x="142" y="2"/>
                  </a:lnTo>
                  <a:lnTo>
                    <a:pt x="140" y="5"/>
                  </a:lnTo>
                  <a:lnTo>
                    <a:pt x="140" y="8"/>
                  </a:lnTo>
                  <a:lnTo>
                    <a:pt x="140" y="29"/>
                  </a:lnTo>
                  <a:lnTo>
                    <a:pt x="140" y="29"/>
                  </a:lnTo>
                  <a:lnTo>
                    <a:pt x="128" y="32"/>
                  </a:lnTo>
                  <a:lnTo>
                    <a:pt x="119" y="34"/>
                  </a:lnTo>
                  <a:lnTo>
                    <a:pt x="109" y="18"/>
                  </a:lnTo>
                  <a:lnTo>
                    <a:pt x="109" y="18"/>
                  </a:lnTo>
                  <a:lnTo>
                    <a:pt x="106" y="15"/>
                  </a:lnTo>
                  <a:lnTo>
                    <a:pt x="104" y="13"/>
                  </a:lnTo>
                  <a:lnTo>
                    <a:pt x="100" y="13"/>
                  </a:lnTo>
                  <a:lnTo>
                    <a:pt x="96" y="15"/>
                  </a:lnTo>
                  <a:lnTo>
                    <a:pt x="67" y="32"/>
                  </a:lnTo>
                  <a:lnTo>
                    <a:pt x="67" y="32"/>
                  </a:lnTo>
                  <a:lnTo>
                    <a:pt x="64" y="34"/>
                  </a:lnTo>
                  <a:lnTo>
                    <a:pt x="63" y="37"/>
                  </a:lnTo>
                  <a:lnTo>
                    <a:pt x="63" y="41"/>
                  </a:lnTo>
                  <a:lnTo>
                    <a:pt x="64" y="43"/>
                  </a:lnTo>
                  <a:lnTo>
                    <a:pt x="74" y="62"/>
                  </a:lnTo>
                  <a:lnTo>
                    <a:pt x="74" y="62"/>
                  </a:lnTo>
                  <a:lnTo>
                    <a:pt x="67" y="69"/>
                  </a:lnTo>
                  <a:lnTo>
                    <a:pt x="59" y="76"/>
                  </a:lnTo>
                  <a:lnTo>
                    <a:pt x="42" y="66"/>
                  </a:lnTo>
                  <a:lnTo>
                    <a:pt x="42" y="66"/>
                  </a:lnTo>
                  <a:lnTo>
                    <a:pt x="40" y="65"/>
                  </a:lnTo>
                  <a:lnTo>
                    <a:pt x="36" y="66"/>
                  </a:lnTo>
                  <a:lnTo>
                    <a:pt x="32" y="68"/>
                  </a:lnTo>
                  <a:lnTo>
                    <a:pt x="31" y="70"/>
                  </a:lnTo>
                  <a:lnTo>
                    <a:pt x="14" y="100"/>
                  </a:lnTo>
                  <a:lnTo>
                    <a:pt x="14" y="100"/>
                  </a:lnTo>
                  <a:lnTo>
                    <a:pt x="12" y="102"/>
                  </a:lnTo>
                  <a:lnTo>
                    <a:pt x="12" y="106"/>
                  </a:lnTo>
                  <a:lnTo>
                    <a:pt x="14" y="108"/>
                  </a:lnTo>
                  <a:lnTo>
                    <a:pt x="16" y="111"/>
                  </a:lnTo>
                  <a:lnTo>
                    <a:pt x="35" y="122"/>
                  </a:lnTo>
                  <a:lnTo>
                    <a:pt x="35" y="122"/>
                  </a:lnTo>
                  <a:lnTo>
                    <a:pt x="31" y="132"/>
                  </a:lnTo>
                  <a:lnTo>
                    <a:pt x="29" y="143"/>
                  </a:lnTo>
                  <a:lnTo>
                    <a:pt x="9" y="143"/>
                  </a:lnTo>
                  <a:lnTo>
                    <a:pt x="9" y="143"/>
                  </a:lnTo>
                  <a:lnTo>
                    <a:pt x="6" y="143"/>
                  </a:lnTo>
                  <a:lnTo>
                    <a:pt x="3" y="145"/>
                  </a:lnTo>
                  <a:lnTo>
                    <a:pt x="1" y="148"/>
                  </a:lnTo>
                  <a:lnTo>
                    <a:pt x="0" y="152"/>
                  </a:lnTo>
                  <a:lnTo>
                    <a:pt x="0" y="185"/>
                  </a:lnTo>
                  <a:lnTo>
                    <a:pt x="0" y="185"/>
                  </a:lnTo>
                  <a:lnTo>
                    <a:pt x="1" y="189"/>
                  </a:lnTo>
                  <a:lnTo>
                    <a:pt x="3" y="191"/>
                  </a:lnTo>
                  <a:lnTo>
                    <a:pt x="6" y="194"/>
                  </a:lnTo>
                  <a:lnTo>
                    <a:pt x="9" y="194"/>
                  </a:lnTo>
                  <a:lnTo>
                    <a:pt x="30" y="194"/>
                  </a:lnTo>
                  <a:lnTo>
                    <a:pt x="30" y="194"/>
                  </a:lnTo>
                  <a:lnTo>
                    <a:pt x="32" y="205"/>
                  </a:lnTo>
                  <a:lnTo>
                    <a:pt x="36" y="214"/>
                  </a:lnTo>
                  <a:lnTo>
                    <a:pt x="19" y="224"/>
                  </a:lnTo>
                  <a:lnTo>
                    <a:pt x="19" y="224"/>
                  </a:lnTo>
                  <a:lnTo>
                    <a:pt x="16" y="227"/>
                  </a:lnTo>
                  <a:lnTo>
                    <a:pt x="15" y="229"/>
                  </a:lnTo>
                  <a:lnTo>
                    <a:pt x="14" y="233"/>
                  </a:lnTo>
                  <a:lnTo>
                    <a:pt x="15" y="237"/>
                  </a:lnTo>
                  <a:lnTo>
                    <a:pt x="32" y="266"/>
                  </a:lnTo>
                  <a:lnTo>
                    <a:pt x="32" y="266"/>
                  </a:lnTo>
                  <a:lnTo>
                    <a:pt x="35" y="269"/>
                  </a:lnTo>
                  <a:lnTo>
                    <a:pt x="37" y="270"/>
                  </a:lnTo>
                  <a:lnTo>
                    <a:pt x="41" y="270"/>
                  </a:lnTo>
                  <a:lnTo>
                    <a:pt x="45" y="269"/>
                  </a:lnTo>
                  <a:lnTo>
                    <a:pt x="62" y="259"/>
                  </a:lnTo>
                  <a:lnTo>
                    <a:pt x="62" y="259"/>
                  </a:lnTo>
                  <a:lnTo>
                    <a:pt x="69" y="266"/>
                  </a:lnTo>
                  <a:lnTo>
                    <a:pt x="78" y="274"/>
                  </a:lnTo>
                  <a:lnTo>
                    <a:pt x="68" y="291"/>
                  </a:lnTo>
                  <a:lnTo>
                    <a:pt x="68" y="291"/>
                  </a:lnTo>
                  <a:lnTo>
                    <a:pt x="67" y="295"/>
                  </a:lnTo>
                  <a:lnTo>
                    <a:pt x="67" y="297"/>
                  </a:lnTo>
                  <a:lnTo>
                    <a:pt x="68" y="301"/>
                  </a:lnTo>
                  <a:lnTo>
                    <a:pt x="70" y="302"/>
                  </a:lnTo>
                  <a:lnTo>
                    <a:pt x="100" y="319"/>
                  </a:lnTo>
                  <a:lnTo>
                    <a:pt x="100" y="319"/>
                  </a:lnTo>
                  <a:lnTo>
                    <a:pt x="104" y="321"/>
                  </a:lnTo>
                  <a:lnTo>
                    <a:pt x="106" y="321"/>
                  </a:lnTo>
                  <a:lnTo>
                    <a:pt x="110" y="319"/>
                  </a:lnTo>
                  <a:lnTo>
                    <a:pt x="112" y="317"/>
                  </a:lnTo>
                  <a:lnTo>
                    <a:pt x="122" y="298"/>
                  </a:lnTo>
                  <a:lnTo>
                    <a:pt x="122" y="298"/>
                  </a:lnTo>
                  <a:lnTo>
                    <a:pt x="132" y="302"/>
                  </a:lnTo>
                  <a:lnTo>
                    <a:pt x="143" y="305"/>
                  </a:lnTo>
                  <a:lnTo>
                    <a:pt x="143" y="324"/>
                  </a:lnTo>
                  <a:lnTo>
                    <a:pt x="143" y="324"/>
                  </a:lnTo>
                  <a:lnTo>
                    <a:pt x="144" y="327"/>
                  </a:lnTo>
                  <a:lnTo>
                    <a:pt x="146" y="330"/>
                  </a:lnTo>
                  <a:lnTo>
                    <a:pt x="148" y="332"/>
                  </a:lnTo>
                  <a:lnTo>
                    <a:pt x="152" y="333"/>
                  </a:lnTo>
                  <a:lnTo>
                    <a:pt x="164" y="333"/>
                  </a:lnTo>
                  <a:lnTo>
                    <a:pt x="164" y="255"/>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206">
              <a:extLst>
                <a:ext uri="{FF2B5EF4-FFF2-40B4-BE49-F238E27FC236}">
                  <a16:creationId xmlns:a16="http://schemas.microsoft.com/office/drawing/2014/main" id="{20C29E2D-5876-027F-7C9B-398CD39E718E}"/>
                </a:ext>
              </a:extLst>
            </p:cNvPr>
            <p:cNvSpPr>
              <a:spLocks noEditPoints="1"/>
            </p:cNvSpPr>
            <p:nvPr/>
          </p:nvSpPr>
          <p:spPr bwMode="auto">
            <a:xfrm>
              <a:off x="3556000" y="409575"/>
              <a:ext cx="342900" cy="344488"/>
            </a:xfrm>
            <a:custGeom>
              <a:avLst/>
              <a:gdLst>
                <a:gd name="T0" fmla="*/ 97 w 216"/>
                <a:gd name="T1" fmla="*/ 1 h 217"/>
                <a:gd name="T2" fmla="*/ 66 w 216"/>
                <a:gd name="T3" fmla="*/ 8 h 217"/>
                <a:gd name="T4" fmla="*/ 40 w 216"/>
                <a:gd name="T5" fmla="*/ 24 h 217"/>
                <a:gd name="T6" fmla="*/ 19 w 216"/>
                <a:gd name="T7" fmla="*/ 48 h 217"/>
                <a:gd name="T8" fmla="*/ 5 w 216"/>
                <a:gd name="T9" fmla="*/ 76 h 217"/>
                <a:gd name="T10" fmla="*/ 0 w 216"/>
                <a:gd name="T11" fmla="*/ 108 h 217"/>
                <a:gd name="T12" fmla="*/ 2 w 216"/>
                <a:gd name="T13" fmla="*/ 131 h 217"/>
                <a:gd name="T14" fmla="*/ 13 w 216"/>
                <a:gd name="T15" fmla="*/ 160 h 217"/>
                <a:gd name="T16" fmla="*/ 31 w 216"/>
                <a:gd name="T17" fmla="*/ 185 h 217"/>
                <a:gd name="T18" fmla="*/ 56 w 216"/>
                <a:gd name="T19" fmla="*/ 203 h 217"/>
                <a:gd name="T20" fmla="*/ 87 w 216"/>
                <a:gd name="T21" fmla="*/ 214 h 217"/>
                <a:gd name="T22" fmla="*/ 108 w 216"/>
                <a:gd name="T23" fmla="*/ 217 h 217"/>
                <a:gd name="T24" fmla="*/ 140 w 216"/>
                <a:gd name="T25" fmla="*/ 212 h 217"/>
                <a:gd name="T26" fmla="*/ 168 w 216"/>
                <a:gd name="T27" fmla="*/ 198 h 217"/>
                <a:gd name="T28" fmla="*/ 192 w 216"/>
                <a:gd name="T29" fmla="*/ 177 h 217"/>
                <a:gd name="T30" fmla="*/ 208 w 216"/>
                <a:gd name="T31" fmla="*/ 150 h 217"/>
                <a:gd name="T32" fmla="*/ 215 w 216"/>
                <a:gd name="T33" fmla="*/ 119 h 217"/>
                <a:gd name="T34" fmla="*/ 215 w 216"/>
                <a:gd name="T35" fmla="*/ 97 h 217"/>
                <a:gd name="T36" fmla="*/ 208 w 216"/>
                <a:gd name="T37" fmla="*/ 66 h 217"/>
                <a:gd name="T38" fmla="*/ 192 w 216"/>
                <a:gd name="T39" fmla="*/ 39 h 217"/>
                <a:gd name="T40" fmla="*/ 168 w 216"/>
                <a:gd name="T41" fmla="*/ 18 h 217"/>
                <a:gd name="T42" fmla="*/ 140 w 216"/>
                <a:gd name="T43" fmla="*/ 5 h 217"/>
                <a:gd name="T44" fmla="*/ 108 w 216"/>
                <a:gd name="T45" fmla="*/ 0 h 217"/>
                <a:gd name="T46" fmla="*/ 108 w 216"/>
                <a:gd name="T47" fmla="*/ 197 h 217"/>
                <a:gd name="T48" fmla="*/ 82 w 216"/>
                <a:gd name="T49" fmla="*/ 193 h 217"/>
                <a:gd name="T50" fmla="*/ 58 w 216"/>
                <a:gd name="T51" fmla="*/ 182 h 217"/>
                <a:gd name="T52" fmla="*/ 40 w 216"/>
                <a:gd name="T53" fmla="*/ 165 h 217"/>
                <a:gd name="T54" fmla="*/ 26 w 216"/>
                <a:gd name="T55" fmla="*/ 143 h 217"/>
                <a:gd name="T56" fmla="*/ 20 w 216"/>
                <a:gd name="T57" fmla="*/ 117 h 217"/>
                <a:gd name="T58" fmla="*/ 20 w 216"/>
                <a:gd name="T59" fmla="*/ 100 h 217"/>
                <a:gd name="T60" fmla="*/ 26 w 216"/>
                <a:gd name="T61" fmla="*/ 74 h 217"/>
                <a:gd name="T62" fmla="*/ 40 w 216"/>
                <a:gd name="T63" fmla="*/ 52 h 217"/>
                <a:gd name="T64" fmla="*/ 58 w 216"/>
                <a:gd name="T65" fmla="*/ 34 h 217"/>
                <a:gd name="T66" fmla="*/ 82 w 216"/>
                <a:gd name="T67" fmla="*/ 23 h 217"/>
                <a:gd name="T68" fmla="*/ 108 w 216"/>
                <a:gd name="T69" fmla="*/ 20 h 217"/>
                <a:gd name="T70" fmla="*/ 126 w 216"/>
                <a:gd name="T71" fmla="*/ 21 h 217"/>
                <a:gd name="T72" fmla="*/ 151 w 216"/>
                <a:gd name="T73" fmla="*/ 31 h 217"/>
                <a:gd name="T74" fmla="*/ 171 w 216"/>
                <a:gd name="T75" fmla="*/ 45 h 217"/>
                <a:gd name="T76" fmla="*/ 187 w 216"/>
                <a:gd name="T77" fmla="*/ 66 h 217"/>
                <a:gd name="T78" fmla="*/ 195 w 216"/>
                <a:gd name="T79" fmla="*/ 90 h 217"/>
                <a:gd name="T80" fmla="*/ 196 w 216"/>
                <a:gd name="T81" fmla="*/ 108 h 217"/>
                <a:gd name="T82" fmla="*/ 193 w 216"/>
                <a:gd name="T83" fmla="*/ 134 h 217"/>
                <a:gd name="T84" fmla="*/ 182 w 216"/>
                <a:gd name="T85" fmla="*/ 158 h 217"/>
                <a:gd name="T86" fmla="*/ 164 w 216"/>
                <a:gd name="T87" fmla="*/ 176 h 217"/>
                <a:gd name="T88" fmla="*/ 142 w 216"/>
                <a:gd name="T89" fmla="*/ 190 h 217"/>
                <a:gd name="T90" fmla="*/ 118 w 216"/>
                <a:gd name="T91" fmla="*/ 19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6" h="217">
                  <a:moveTo>
                    <a:pt x="108" y="0"/>
                  </a:moveTo>
                  <a:lnTo>
                    <a:pt x="108" y="0"/>
                  </a:lnTo>
                  <a:lnTo>
                    <a:pt x="97" y="1"/>
                  </a:lnTo>
                  <a:lnTo>
                    <a:pt x="87" y="2"/>
                  </a:lnTo>
                  <a:lnTo>
                    <a:pt x="76" y="5"/>
                  </a:lnTo>
                  <a:lnTo>
                    <a:pt x="66" y="8"/>
                  </a:lnTo>
                  <a:lnTo>
                    <a:pt x="56" y="13"/>
                  </a:lnTo>
                  <a:lnTo>
                    <a:pt x="47" y="18"/>
                  </a:lnTo>
                  <a:lnTo>
                    <a:pt x="40" y="24"/>
                  </a:lnTo>
                  <a:lnTo>
                    <a:pt x="31" y="32"/>
                  </a:lnTo>
                  <a:lnTo>
                    <a:pt x="25" y="39"/>
                  </a:lnTo>
                  <a:lnTo>
                    <a:pt x="19" y="48"/>
                  </a:lnTo>
                  <a:lnTo>
                    <a:pt x="13" y="57"/>
                  </a:lnTo>
                  <a:lnTo>
                    <a:pt x="9" y="66"/>
                  </a:lnTo>
                  <a:lnTo>
                    <a:pt x="5" y="76"/>
                  </a:lnTo>
                  <a:lnTo>
                    <a:pt x="2" y="86"/>
                  </a:lnTo>
                  <a:lnTo>
                    <a:pt x="0" y="97"/>
                  </a:lnTo>
                  <a:lnTo>
                    <a:pt x="0" y="108"/>
                  </a:lnTo>
                  <a:lnTo>
                    <a:pt x="0" y="108"/>
                  </a:lnTo>
                  <a:lnTo>
                    <a:pt x="0" y="119"/>
                  </a:lnTo>
                  <a:lnTo>
                    <a:pt x="2" y="131"/>
                  </a:lnTo>
                  <a:lnTo>
                    <a:pt x="5" y="140"/>
                  </a:lnTo>
                  <a:lnTo>
                    <a:pt x="9" y="150"/>
                  </a:lnTo>
                  <a:lnTo>
                    <a:pt x="13" y="160"/>
                  </a:lnTo>
                  <a:lnTo>
                    <a:pt x="19" y="169"/>
                  </a:lnTo>
                  <a:lnTo>
                    <a:pt x="25" y="177"/>
                  </a:lnTo>
                  <a:lnTo>
                    <a:pt x="31" y="185"/>
                  </a:lnTo>
                  <a:lnTo>
                    <a:pt x="40" y="191"/>
                  </a:lnTo>
                  <a:lnTo>
                    <a:pt x="47" y="198"/>
                  </a:lnTo>
                  <a:lnTo>
                    <a:pt x="56" y="203"/>
                  </a:lnTo>
                  <a:lnTo>
                    <a:pt x="66" y="208"/>
                  </a:lnTo>
                  <a:lnTo>
                    <a:pt x="76" y="212"/>
                  </a:lnTo>
                  <a:lnTo>
                    <a:pt x="87" y="214"/>
                  </a:lnTo>
                  <a:lnTo>
                    <a:pt x="97" y="216"/>
                  </a:lnTo>
                  <a:lnTo>
                    <a:pt x="108" y="217"/>
                  </a:lnTo>
                  <a:lnTo>
                    <a:pt x="108" y="217"/>
                  </a:lnTo>
                  <a:lnTo>
                    <a:pt x="119" y="216"/>
                  </a:lnTo>
                  <a:lnTo>
                    <a:pt x="130" y="214"/>
                  </a:lnTo>
                  <a:lnTo>
                    <a:pt x="140" y="212"/>
                  </a:lnTo>
                  <a:lnTo>
                    <a:pt x="150" y="208"/>
                  </a:lnTo>
                  <a:lnTo>
                    <a:pt x="159" y="203"/>
                  </a:lnTo>
                  <a:lnTo>
                    <a:pt x="168" y="198"/>
                  </a:lnTo>
                  <a:lnTo>
                    <a:pt x="177" y="191"/>
                  </a:lnTo>
                  <a:lnTo>
                    <a:pt x="184" y="185"/>
                  </a:lnTo>
                  <a:lnTo>
                    <a:pt x="192" y="177"/>
                  </a:lnTo>
                  <a:lnTo>
                    <a:pt x="198" y="169"/>
                  </a:lnTo>
                  <a:lnTo>
                    <a:pt x="203" y="160"/>
                  </a:lnTo>
                  <a:lnTo>
                    <a:pt x="208" y="150"/>
                  </a:lnTo>
                  <a:lnTo>
                    <a:pt x="211" y="140"/>
                  </a:lnTo>
                  <a:lnTo>
                    <a:pt x="214" y="131"/>
                  </a:lnTo>
                  <a:lnTo>
                    <a:pt x="215" y="119"/>
                  </a:lnTo>
                  <a:lnTo>
                    <a:pt x="216" y="108"/>
                  </a:lnTo>
                  <a:lnTo>
                    <a:pt x="216" y="108"/>
                  </a:lnTo>
                  <a:lnTo>
                    <a:pt x="215" y="97"/>
                  </a:lnTo>
                  <a:lnTo>
                    <a:pt x="214" y="86"/>
                  </a:lnTo>
                  <a:lnTo>
                    <a:pt x="211" y="76"/>
                  </a:lnTo>
                  <a:lnTo>
                    <a:pt x="208" y="66"/>
                  </a:lnTo>
                  <a:lnTo>
                    <a:pt x="203" y="57"/>
                  </a:lnTo>
                  <a:lnTo>
                    <a:pt x="198" y="48"/>
                  </a:lnTo>
                  <a:lnTo>
                    <a:pt x="192" y="39"/>
                  </a:lnTo>
                  <a:lnTo>
                    <a:pt x="184" y="32"/>
                  </a:lnTo>
                  <a:lnTo>
                    <a:pt x="177" y="24"/>
                  </a:lnTo>
                  <a:lnTo>
                    <a:pt x="168" y="18"/>
                  </a:lnTo>
                  <a:lnTo>
                    <a:pt x="159" y="13"/>
                  </a:lnTo>
                  <a:lnTo>
                    <a:pt x="150" y="8"/>
                  </a:lnTo>
                  <a:lnTo>
                    <a:pt x="140" y="5"/>
                  </a:lnTo>
                  <a:lnTo>
                    <a:pt x="130" y="2"/>
                  </a:lnTo>
                  <a:lnTo>
                    <a:pt x="119" y="1"/>
                  </a:lnTo>
                  <a:lnTo>
                    <a:pt x="108" y="0"/>
                  </a:lnTo>
                  <a:lnTo>
                    <a:pt x="108" y="0"/>
                  </a:lnTo>
                  <a:close/>
                  <a:moveTo>
                    <a:pt x="108" y="197"/>
                  </a:moveTo>
                  <a:lnTo>
                    <a:pt x="108" y="197"/>
                  </a:lnTo>
                  <a:lnTo>
                    <a:pt x="99" y="196"/>
                  </a:lnTo>
                  <a:lnTo>
                    <a:pt x="90" y="195"/>
                  </a:lnTo>
                  <a:lnTo>
                    <a:pt x="82" y="193"/>
                  </a:lnTo>
                  <a:lnTo>
                    <a:pt x="73" y="190"/>
                  </a:lnTo>
                  <a:lnTo>
                    <a:pt x="66" y="186"/>
                  </a:lnTo>
                  <a:lnTo>
                    <a:pt x="58" y="182"/>
                  </a:lnTo>
                  <a:lnTo>
                    <a:pt x="51" y="176"/>
                  </a:lnTo>
                  <a:lnTo>
                    <a:pt x="45" y="171"/>
                  </a:lnTo>
                  <a:lnTo>
                    <a:pt x="40" y="165"/>
                  </a:lnTo>
                  <a:lnTo>
                    <a:pt x="35" y="158"/>
                  </a:lnTo>
                  <a:lnTo>
                    <a:pt x="30" y="150"/>
                  </a:lnTo>
                  <a:lnTo>
                    <a:pt x="26" y="143"/>
                  </a:lnTo>
                  <a:lnTo>
                    <a:pt x="24" y="134"/>
                  </a:lnTo>
                  <a:lnTo>
                    <a:pt x="21" y="126"/>
                  </a:lnTo>
                  <a:lnTo>
                    <a:pt x="20" y="117"/>
                  </a:lnTo>
                  <a:lnTo>
                    <a:pt x="19" y="108"/>
                  </a:lnTo>
                  <a:lnTo>
                    <a:pt x="19" y="108"/>
                  </a:lnTo>
                  <a:lnTo>
                    <a:pt x="20" y="100"/>
                  </a:lnTo>
                  <a:lnTo>
                    <a:pt x="21" y="90"/>
                  </a:lnTo>
                  <a:lnTo>
                    <a:pt x="24" y="82"/>
                  </a:lnTo>
                  <a:lnTo>
                    <a:pt x="26" y="74"/>
                  </a:lnTo>
                  <a:lnTo>
                    <a:pt x="30" y="66"/>
                  </a:lnTo>
                  <a:lnTo>
                    <a:pt x="35" y="59"/>
                  </a:lnTo>
                  <a:lnTo>
                    <a:pt x="40" y="52"/>
                  </a:lnTo>
                  <a:lnTo>
                    <a:pt x="45" y="45"/>
                  </a:lnTo>
                  <a:lnTo>
                    <a:pt x="51" y="39"/>
                  </a:lnTo>
                  <a:lnTo>
                    <a:pt x="58" y="34"/>
                  </a:lnTo>
                  <a:lnTo>
                    <a:pt x="66" y="31"/>
                  </a:lnTo>
                  <a:lnTo>
                    <a:pt x="73" y="27"/>
                  </a:lnTo>
                  <a:lnTo>
                    <a:pt x="82" y="23"/>
                  </a:lnTo>
                  <a:lnTo>
                    <a:pt x="90" y="21"/>
                  </a:lnTo>
                  <a:lnTo>
                    <a:pt x="99" y="20"/>
                  </a:lnTo>
                  <a:lnTo>
                    <a:pt x="108" y="20"/>
                  </a:lnTo>
                  <a:lnTo>
                    <a:pt x="108" y="20"/>
                  </a:lnTo>
                  <a:lnTo>
                    <a:pt x="118" y="20"/>
                  </a:lnTo>
                  <a:lnTo>
                    <a:pt x="126" y="21"/>
                  </a:lnTo>
                  <a:lnTo>
                    <a:pt x="135" y="23"/>
                  </a:lnTo>
                  <a:lnTo>
                    <a:pt x="142" y="27"/>
                  </a:lnTo>
                  <a:lnTo>
                    <a:pt x="151" y="31"/>
                  </a:lnTo>
                  <a:lnTo>
                    <a:pt x="157" y="34"/>
                  </a:lnTo>
                  <a:lnTo>
                    <a:pt x="164" y="39"/>
                  </a:lnTo>
                  <a:lnTo>
                    <a:pt x="171" y="45"/>
                  </a:lnTo>
                  <a:lnTo>
                    <a:pt x="177" y="52"/>
                  </a:lnTo>
                  <a:lnTo>
                    <a:pt x="182" y="59"/>
                  </a:lnTo>
                  <a:lnTo>
                    <a:pt x="187" y="66"/>
                  </a:lnTo>
                  <a:lnTo>
                    <a:pt x="190" y="74"/>
                  </a:lnTo>
                  <a:lnTo>
                    <a:pt x="193" y="82"/>
                  </a:lnTo>
                  <a:lnTo>
                    <a:pt x="195" y="90"/>
                  </a:lnTo>
                  <a:lnTo>
                    <a:pt x="196" y="100"/>
                  </a:lnTo>
                  <a:lnTo>
                    <a:pt x="196" y="108"/>
                  </a:lnTo>
                  <a:lnTo>
                    <a:pt x="196" y="108"/>
                  </a:lnTo>
                  <a:lnTo>
                    <a:pt x="196" y="117"/>
                  </a:lnTo>
                  <a:lnTo>
                    <a:pt x="195" y="126"/>
                  </a:lnTo>
                  <a:lnTo>
                    <a:pt x="193" y="134"/>
                  </a:lnTo>
                  <a:lnTo>
                    <a:pt x="190" y="143"/>
                  </a:lnTo>
                  <a:lnTo>
                    <a:pt x="187" y="150"/>
                  </a:lnTo>
                  <a:lnTo>
                    <a:pt x="182" y="158"/>
                  </a:lnTo>
                  <a:lnTo>
                    <a:pt x="177" y="165"/>
                  </a:lnTo>
                  <a:lnTo>
                    <a:pt x="171" y="171"/>
                  </a:lnTo>
                  <a:lnTo>
                    <a:pt x="164" y="176"/>
                  </a:lnTo>
                  <a:lnTo>
                    <a:pt x="157" y="182"/>
                  </a:lnTo>
                  <a:lnTo>
                    <a:pt x="151" y="186"/>
                  </a:lnTo>
                  <a:lnTo>
                    <a:pt x="142" y="190"/>
                  </a:lnTo>
                  <a:lnTo>
                    <a:pt x="135" y="193"/>
                  </a:lnTo>
                  <a:lnTo>
                    <a:pt x="126" y="195"/>
                  </a:lnTo>
                  <a:lnTo>
                    <a:pt x="118" y="196"/>
                  </a:lnTo>
                  <a:lnTo>
                    <a:pt x="108" y="197"/>
                  </a:lnTo>
                  <a:lnTo>
                    <a:pt x="108" y="197"/>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207">
              <a:extLst>
                <a:ext uri="{FF2B5EF4-FFF2-40B4-BE49-F238E27FC236}">
                  <a16:creationId xmlns:a16="http://schemas.microsoft.com/office/drawing/2014/main" id="{46DC9F88-FDB3-5C72-0BCF-C8EA5B1F7D50}"/>
                </a:ext>
              </a:extLst>
            </p:cNvPr>
            <p:cNvSpPr>
              <a:spLocks/>
            </p:cNvSpPr>
            <p:nvPr/>
          </p:nvSpPr>
          <p:spPr bwMode="auto">
            <a:xfrm>
              <a:off x="3722688" y="409575"/>
              <a:ext cx="176213" cy="344488"/>
            </a:xfrm>
            <a:custGeom>
              <a:avLst/>
              <a:gdLst>
                <a:gd name="T0" fmla="*/ 3 w 111"/>
                <a:gd name="T1" fmla="*/ 0 h 217"/>
                <a:gd name="T2" fmla="*/ 0 w 111"/>
                <a:gd name="T3" fmla="*/ 20 h 217"/>
                <a:gd name="T4" fmla="*/ 3 w 111"/>
                <a:gd name="T5" fmla="*/ 20 h 217"/>
                <a:gd name="T6" fmla="*/ 13 w 111"/>
                <a:gd name="T7" fmla="*/ 20 h 217"/>
                <a:gd name="T8" fmla="*/ 30 w 111"/>
                <a:gd name="T9" fmla="*/ 23 h 217"/>
                <a:gd name="T10" fmla="*/ 46 w 111"/>
                <a:gd name="T11" fmla="*/ 31 h 217"/>
                <a:gd name="T12" fmla="*/ 59 w 111"/>
                <a:gd name="T13" fmla="*/ 39 h 217"/>
                <a:gd name="T14" fmla="*/ 72 w 111"/>
                <a:gd name="T15" fmla="*/ 52 h 217"/>
                <a:gd name="T16" fmla="*/ 82 w 111"/>
                <a:gd name="T17" fmla="*/ 66 h 217"/>
                <a:gd name="T18" fmla="*/ 88 w 111"/>
                <a:gd name="T19" fmla="*/ 82 h 217"/>
                <a:gd name="T20" fmla="*/ 91 w 111"/>
                <a:gd name="T21" fmla="*/ 100 h 217"/>
                <a:gd name="T22" fmla="*/ 91 w 111"/>
                <a:gd name="T23" fmla="*/ 108 h 217"/>
                <a:gd name="T24" fmla="*/ 90 w 111"/>
                <a:gd name="T25" fmla="*/ 126 h 217"/>
                <a:gd name="T26" fmla="*/ 85 w 111"/>
                <a:gd name="T27" fmla="*/ 143 h 217"/>
                <a:gd name="T28" fmla="*/ 77 w 111"/>
                <a:gd name="T29" fmla="*/ 158 h 217"/>
                <a:gd name="T30" fmla="*/ 66 w 111"/>
                <a:gd name="T31" fmla="*/ 171 h 217"/>
                <a:gd name="T32" fmla="*/ 52 w 111"/>
                <a:gd name="T33" fmla="*/ 182 h 217"/>
                <a:gd name="T34" fmla="*/ 37 w 111"/>
                <a:gd name="T35" fmla="*/ 190 h 217"/>
                <a:gd name="T36" fmla="*/ 21 w 111"/>
                <a:gd name="T37" fmla="*/ 195 h 217"/>
                <a:gd name="T38" fmla="*/ 3 w 111"/>
                <a:gd name="T39" fmla="*/ 197 h 217"/>
                <a:gd name="T40" fmla="*/ 0 w 111"/>
                <a:gd name="T41" fmla="*/ 197 h 217"/>
                <a:gd name="T42" fmla="*/ 0 w 111"/>
                <a:gd name="T43" fmla="*/ 216 h 217"/>
                <a:gd name="T44" fmla="*/ 3 w 111"/>
                <a:gd name="T45" fmla="*/ 217 h 217"/>
                <a:gd name="T46" fmla="*/ 25 w 111"/>
                <a:gd name="T47" fmla="*/ 214 h 217"/>
                <a:gd name="T48" fmla="*/ 45 w 111"/>
                <a:gd name="T49" fmla="*/ 208 h 217"/>
                <a:gd name="T50" fmla="*/ 63 w 111"/>
                <a:gd name="T51" fmla="*/ 198 h 217"/>
                <a:gd name="T52" fmla="*/ 79 w 111"/>
                <a:gd name="T53" fmla="*/ 185 h 217"/>
                <a:gd name="T54" fmla="*/ 93 w 111"/>
                <a:gd name="T55" fmla="*/ 169 h 217"/>
                <a:gd name="T56" fmla="*/ 103 w 111"/>
                <a:gd name="T57" fmla="*/ 150 h 217"/>
                <a:gd name="T58" fmla="*/ 109 w 111"/>
                <a:gd name="T59" fmla="*/ 131 h 217"/>
                <a:gd name="T60" fmla="*/ 111 w 111"/>
                <a:gd name="T61" fmla="*/ 108 h 217"/>
                <a:gd name="T62" fmla="*/ 110 w 111"/>
                <a:gd name="T63" fmla="*/ 97 h 217"/>
                <a:gd name="T64" fmla="*/ 106 w 111"/>
                <a:gd name="T65" fmla="*/ 76 h 217"/>
                <a:gd name="T66" fmla="*/ 98 w 111"/>
                <a:gd name="T67" fmla="*/ 57 h 217"/>
                <a:gd name="T68" fmla="*/ 87 w 111"/>
                <a:gd name="T69" fmla="*/ 39 h 217"/>
                <a:gd name="T70" fmla="*/ 72 w 111"/>
                <a:gd name="T71" fmla="*/ 24 h 217"/>
                <a:gd name="T72" fmla="*/ 54 w 111"/>
                <a:gd name="T73" fmla="*/ 13 h 217"/>
                <a:gd name="T74" fmla="*/ 35 w 111"/>
                <a:gd name="T75" fmla="*/ 5 h 217"/>
                <a:gd name="T76" fmla="*/ 14 w 111"/>
                <a:gd name="T77" fmla="*/ 1 h 217"/>
                <a:gd name="T78" fmla="*/ 3 w 111"/>
                <a:gd name="T7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1" h="217">
                  <a:moveTo>
                    <a:pt x="3" y="0"/>
                  </a:moveTo>
                  <a:lnTo>
                    <a:pt x="3" y="0"/>
                  </a:lnTo>
                  <a:lnTo>
                    <a:pt x="0" y="0"/>
                  </a:lnTo>
                  <a:lnTo>
                    <a:pt x="0" y="20"/>
                  </a:lnTo>
                  <a:lnTo>
                    <a:pt x="0" y="20"/>
                  </a:lnTo>
                  <a:lnTo>
                    <a:pt x="3" y="20"/>
                  </a:lnTo>
                  <a:lnTo>
                    <a:pt x="3" y="20"/>
                  </a:lnTo>
                  <a:lnTo>
                    <a:pt x="13" y="20"/>
                  </a:lnTo>
                  <a:lnTo>
                    <a:pt x="21" y="21"/>
                  </a:lnTo>
                  <a:lnTo>
                    <a:pt x="30" y="23"/>
                  </a:lnTo>
                  <a:lnTo>
                    <a:pt x="37" y="27"/>
                  </a:lnTo>
                  <a:lnTo>
                    <a:pt x="46" y="31"/>
                  </a:lnTo>
                  <a:lnTo>
                    <a:pt x="52" y="34"/>
                  </a:lnTo>
                  <a:lnTo>
                    <a:pt x="59" y="39"/>
                  </a:lnTo>
                  <a:lnTo>
                    <a:pt x="66" y="45"/>
                  </a:lnTo>
                  <a:lnTo>
                    <a:pt x="72" y="52"/>
                  </a:lnTo>
                  <a:lnTo>
                    <a:pt x="77" y="59"/>
                  </a:lnTo>
                  <a:lnTo>
                    <a:pt x="82" y="66"/>
                  </a:lnTo>
                  <a:lnTo>
                    <a:pt x="85" y="74"/>
                  </a:lnTo>
                  <a:lnTo>
                    <a:pt x="88" y="82"/>
                  </a:lnTo>
                  <a:lnTo>
                    <a:pt x="90" y="90"/>
                  </a:lnTo>
                  <a:lnTo>
                    <a:pt x="91" y="100"/>
                  </a:lnTo>
                  <a:lnTo>
                    <a:pt x="91" y="108"/>
                  </a:lnTo>
                  <a:lnTo>
                    <a:pt x="91" y="108"/>
                  </a:lnTo>
                  <a:lnTo>
                    <a:pt x="91" y="117"/>
                  </a:lnTo>
                  <a:lnTo>
                    <a:pt x="90" y="126"/>
                  </a:lnTo>
                  <a:lnTo>
                    <a:pt x="88" y="134"/>
                  </a:lnTo>
                  <a:lnTo>
                    <a:pt x="85" y="143"/>
                  </a:lnTo>
                  <a:lnTo>
                    <a:pt x="82" y="150"/>
                  </a:lnTo>
                  <a:lnTo>
                    <a:pt x="77" y="158"/>
                  </a:lnTo>
                  <a:lnTo>
                    <a:pt x="72" y="165"/>
                  </a:lnTo>
                  <a:lnTo>
                    <a:pt x="66" y="171"/>
                  </a:lnTo>
                  <a:lnTo>
                    <a:pt x="59" y="176"/>
                  </a:lnTo>
                  <a:lnTo>
                    <a:pt x="52" y="182"/>
                  </a:lnTo>
                  <a:lnTo>
                    <a:pt x="46" y="186"/>
                  </a:lnTo>
                  <a:lnTo>
                    <a:pt x="37" y="190"/>
                  </a:lnTo>
                  <a:lnTo>
                    <a:pt x="30" y="193"/>
                  </a:lnTo>
                  <a:lnTo>
                    <a:pt x="21" y="195"/>
                  </a:lnTo>
                  <a:lnTo>
                    <a:pt x="13" y="196"/>
                  </a:lnTo>
                  <a:lnTo>
                    <a:pt x="3" y="197"/>
                  </a:lnTo>
                  <a:lnTo>
                    <a:pt x="3" y="197"/>
                  </a:lnTo>
                  <a:lnTo>
                    <a:pt x="0" y="197"/>
                  </a:lnTo>
                  <a:lnTo>
                    <a:pt x="0" y="216"/>
                  </a:lnTo>
                  <a:lnTo>
                    <a:pt x="0" y="216"/>
                  </a:lnTo>
                  <a:lnTo>
                    <a:pt x="3" y="217"/>
                  </a:lnTo>
                  <a:lnTo>
                    <a:pt x="3" y="217"/>
                  </a:lnTo>
                  <a:lnTo>
                    <a:pt x="14" y="216"/>
                  </a:lnTo>
                  <a:lnTo>
                    <a:pt x="25" y="214"/>
                  </a:lnTo>
                  <a:lnTo>
                    <a:pt x="35" y="212"/>
                  </a:lnTo>
                  <a:lnTo>
                    <a:pt x="45" y="208"/>
                  </a:lnTo>
                  <a:lnTo>
                    <a:pt x="54" y="203"/>
                  </a:lnTo>
                  <a:lnTo>
                    <a:pt x="63" y="198"/>
                  </a:lnTo>
                  <a:lnTo>
                    <a:pt x="72" y="191"/>
                  </a:lnTo>
                  <a:lnTo>
                    <a:pt x="79" y="185"/>
                  </a:lnTo>
                  <a:lnTo>
                    <a:pt x="87" y="177"/>
                  </a:lnTo>
                  <a:lnTo>
                    <a:pt x="93" y="169"/>
                  </a:lnTo>
                  <a:lnTo>
                    <a:pt x="98" y="160"/>
                  </a:lnTo>
                  <a:lnTo>
                    <a:pt x="103" y="150"/>
                  </a:lnTo>
                  <a:lnTo>
                    <a:pt x="106" y="140"/>
                  </a:lnTo>
                  <a:lnTo>
                    <a:pt x="109" y="131"/>
                  </a:lnTo>
                  <a:lnTo>
                    <a:pt x="110" y="119"/>
                  </a:lnTo>
                  <a:lnTo>
                    <a:pt x="111" y="108"/>
                  </a:lnTo>
                  <a:lnTo>
                    <a:pt x="111" y="108"/>
                  </a:lnTo>
                  <a:lnTo>
                    <a:pt x="110" y="97"/>
                  </a:lnTo>
                  <a:lnTo>
                    <a:pt x="109" y="86"/>
                  </a:lnTo>
                  <a:lnTo>
                    <a:pt x="106" y="76"/>
                  </a:lnTo>
                  <a:lnTo>
                    <a:pt x="103" y="66"/>
                  </a:lnTo>
                  <a:lnTo>
                    <a:pt x="98" y="57"/>
                  </a:lnTo>
                  <a:lnTo>
                    <a:pt x="93" y="48"/>
                  </a:lnTo>
                  <a:lnTo>
                    <a:pt x="87" y="39"/>
                  </a:lnTo>
                  <a:lnTo>
                    <a:pt x="79" y="32"/>
                  </a:lnTo>
                  <a:lnTo>
                    <a:pt x="72" y="24"/>
                  </a:lnTo>
                  <a:lnTo>
                    <a:pt x="63" y="18"/>
                  </a:lnTo>
                  <a:lnTo>
                    <a:pt x="54" y="13"/>
                  </a:lnTo>
                  <a:lnTo>
                    <a:pt x="45" y="8"/>
                  </a:lnTo>
                  <a:lnTo>
                    <a:pt x="35" y="5"/>
                  </a:lnTo>
                  <a:lnTo>
                    <a:pt x="25" y="2"/>
                  </a:lnTo>
                  <a:lnTo>
                    <a:pt x="14" y="1"/>
                  </a:lnTo>
                  <a:lnTo>
                    <a:pt x="3" y="0"/>
                  </a:lnTo>
                  <a:lnTo>
                    <a:pt x="3" y="0"/>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208">
              <a:extLst>
                <a:ext uri="{FF2B5EF4-FFF2-40B4-BE49-F238E27FC236}">
                  <a16:creationId xmlns:a16="http://schemas.microsoft.com/office/drawing/2014/main" id="{D6601EC9-FF34-4778-9A12-FAD34D1235F4}"/>
                </a:ext>
              </a:extLst>
            </p:cNvPr>
            <p:cNvSpPr>
              <a:spLocks/>
            </p:cNvSpPr>
            <p:nvPr/>
          </p:nvSpPr>
          <p:spPr bwMode="auto">
            <a:xfrm>
              <a:off x="3762375" y="617538"/>
              <a:ext cx="276225" cy="276225"/>
            </a:xfrm>
            <a:custGeom>
              <a:avLst/>
              <a:gdLst>
                <a:gd name="T0" fmla="*/ 164 w 174"/>
                <a:gd name="T1" fmla="*/ 164 h 174"/>
                <a:gd name="T2" fmla="*/ 164 w 174"/>
                <a:gd name="T3" fmla="*/ 164 h 174"/>
                <a:gd name="T4" fmla="*/ 164 w 174"/>
                <a:gd name="T5" fmla="*/ 164 h 174"/>
                <a:gd name="T6" fmla="*/ 164 w 174"/>
                <a:gd name="T7" fmla="*/ 164 h 174"/>
                <a:gd name="T8" fmla="*/ 158 w 174"/>
                <a:gd name="T9" fmla="*/ 169 h 174"/>
                <a:gd name="T10" fmla="*/ 152 w 174"/>
                <a:gd name="T11" fmla="*/ 171 h 174"/>
                <a:gd name="T12" fmla="*/ 145 w 174"/>
                <a:gd name="T13" fmla="*/ 174 h 174"/>
                <a:gd name="T14" fmla="*/ 139 w 174"/>
                <a:gd name="T15" fmla="*/ 174 h 174"/>
                <a:gd name="T16" fmla="*/ 133 w 174"/>
                <a:gd name="T17" fmla="*/ 174 h 174"/>
                <a:gd name="T18" fmla="*/ 127 w 174"/>
                <a:gd name="T19" fmla="*/ 171 h 174"/>
                <a:gd name="T20" fmla="*/ 121 w 174"/>
                <a:gd name="T21" fmla="*/ 169 h 174"/>
                <a:gd name="T22" fmla="*/ 115 w 174"/>
                <a:gd name="T23" fmla="*/ 164 h 174"/>
                <a:gd name="T24" fmla="*/ 10 w 174"/>
                <a:gd name="T25" fmla="*/ 59 h 174"/>
                <a:gd name="T26" fmla="*/ 10 w 174"/>
                <a:gd name="T27" fmla="*/ 59 h 174"/>
                <a:gd name="T28" fmla="*/ 6 w 174"/>
                <a:gd name="T29" fmla="*/ 53 h 174"/>
                <a:gd name="T30" fmla="*/ 2 w 174"/>
                <a:gd name="T31" fmla="*/ 48 h 174"/>
                <a:gd name="T32" fmla="*/ 1 w 174"/>
                <a:gd name="T33" fmla="*/ 40 h 174"/>
                <a:gd name="T34" fmla="*/ 0 w 174"/>
                <a:gd name="T35" fmla="*/ 34 h 174"/>
                <a:gd name="T36" fmla="*/ 1 w 174"/>
                <a:gd name="T37" fmla="*/ 28 h 174"/>
                <a:gd name="T38" fmla="*/ 2 w 174"/>
                <a:gd name="T39" fmla="*/ 22 h 174"/>
                <a:gd name="T40" fmla="*/ 6 w 174"/>
                <a:gd name="T41" fmla="*/ 16 h 174"/>
                <a:gd name="T42" fmla="*/ 10 w 174"/>
                <a:gd name="T43" fmla="*/ 9 h 174"/>
                <a:gd name="T44" fmla="*/ 10 w 174"/>
                <a:gd name="T45" fmla="*/ 9 h 174"/>
                <a:gd name="T46" fmla="*/ 10 w 174"/>
                <a:gd name="T47" fmla="*/ 9 h 174"/>
                <a:gd name="T48" fmla="*/ 10 w 174"/>
                <a:gd name="T49" fmla="*/ 9 h 174"/>
                <a:gd name="T50" fmla="*/ 16 w 174"/>
                <a:gd name="T51" fmla="*/ 6 h 174"/>
                <a:gd name="T52" fmla="*/ 22 w 174"/>
                <a:gd name="T53" fmla="*/ 2 h 174"/>
                <a:gd name="T54" fmla="*/ 28 w 174"/>
                <a:gd name="T55" fmla="*/ 1 h 174"/>
                <a:gd name="T56" fmla="*/ 34 w 174"/>
                <a:gd name="T57" fmla="*/ 0 h 174"/>
                <a:gd name="T58" fmla="*/ 42 w 174"/>
                <a:gd name="T59" fmla="*/ 1 h 174"/>
                <a:gd name="T60" fmla="*/ 48 w 174"/>
                <a:gd name="T61" fmla="*/ 2 h 174"/>
                <a:gd name="T62" fmla="*/ 53 w 174"/>
                <a:gd name="T63" fmla="*/ 6 h 174"/>
                <a:gd name="T64" fmla="*/ 59 w 174"/>
                <a:gd name="T65" fmla="*/ 11 h 174"/>
                <a:gd name="T66" fmla="*/ 164 w 174"/>
                <a:gd name="T67" fmla="*/ 116 h 174"/>
                <a:gd name="T68" fmla="*/ 164 w 174"/>
                <a:gd name="T69" fmla="*/ 116 h 174"/>
                <a:gd name="T70" fmla="*/ 168 w 174"/>
                <a:gd name="T71" fmla="*/ 120 h 174"/>
                <a:gd name="T72" fmla="*/ 171 w 174"/>
                <a:gd name="T73" fmla="*/ 127 h 174"/>
                <a:gd name="T74" fmla="*/ 173 w 174"/>
                <a:gd name="T75" fmla="*/ 133 h 174"/>
                <a:gd name="T76" fmla="*/ 174 w 174"/>
                <a:gd name="T77" fmla="*/ 140 h 174"/>
                <a:gd name="T78" fmla="*/ 173 w 174"/>
                <a:gd name="T79" fmla="*/ 146 h 174"/>
                <a:gd name="T80" fmla="*/ 171 w 174"/>
                <a:gd name="T81" fmla="*/ 153 h 174"/>
                <a:gd name="T82" fmla="*/ 168 w 174"/>
                <a:gd name="T83" fmla="*/ 159 h 174"/>
                <a:gd name="T84" fmla="*/ 164 w 174"/>
                <a:gd name="T85" fmla="*/ 164 h 174"/>
                <a:gd name="T86" fmla="*/ 164 w 174"/>
                <a:gd name="T87" fmla="*/ 16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4" h="174">
                  <a:moveTo>
                    <a:pt x="164" y="164"/>
                  </a:moveTo>
                  <a:lnTo>
                    <a:pt x="164" y="164"/>
                  </a:lnTo>
                  <a:lnTo>
                    <a:pt x="164" y="164"/>
                  </a:lnTo>
                  <a:lnTo>
                    <a:pt x="164" y="164"/>
                  </a:lnTo>
                  <a:lnTo>
                    <a:pt x="158" y="169"/>
                  </a:lnTo>
                  <a:lnTo>
                    <a:pt x="152" y="171"/>
                  </a:lnTo>
                  <a:lnTo>
                    <a:pt x="145" y="174"/>
                  </a:lnTo>
                  <a:lnTo>
                    <a:pt x="139" y="174"/>
                  </a:lnTo>
                  <a:lnTo>
                    <a:pt x="133" y="174"/>
                  </a:lnTo>
                  <a:lnTo>
                    <a:pt x="127" y="171"/>
                  </a:lnTo>
                  <a:lnTo>
                    <a:pt x="121" y="169"/>
                  </a:lnTo>
                  <a:lnTo>
                    <a:pt x="115" y="164"/>
                  </a:lnTo>
                  <a:lnTo>
                    <a:pt x="10" y="59"/>
                  </a:lnTo>
                  <a:lnTo>
                    <a:pt x="10" y="59"/>
                  </a:lnTo>
                  <a:lnTo>
                    <a:pt x="6" y="53"/>
                  </a:lnTo>
                  <a:lnTo>
                    <a:pt x="2" y="48"/>
                  </a:lnTo>
                  <a:lnTo>
                    <a:pt x="1" y="40"/>
                  </a:lnTo>
                  <a:lnTo>
                    <a:pt x="0" y="34"/>
                  </a:lnTo>
                  <a:lnTo>
                    <a:pt x="1" y="28"/>
                  </a:lnTo>
                  <a:lnTo>
                    <a:pt x="2" y="22"/>
                  </a:lnTo>
                  <a:lnTo>
                    <a:pt x="6" y="16"/>
                  </a:lnTo>
                  <a:lnTo>
                    <a:pt x="10" y="9"/>
                  </a:lnTo>
                  <a:lnTo>
                    <a:pt x="10" y="9"/>
                  </a:lnTo>
                  <a:lnTo>
                    <a:pt x="10" y="9"/>
                  </a:lnTo>
                  <a:lnTo>
                    <a:pt x="10" y="9"/>
                  </a:lnTo>
                  <a:lnTo>
                    <a:pt x="16" y="6"/>
                  </a:lnTo>
                  <a:lnTo>
                    <a:pt x="22" y="2"/>
                  </a:lnTo>
                  <a:lnTo>
                    <a:pt x="28" y="1"/>
                  </a:lnTo>
                  <a:lnTo>
                    <a:pt x="34" y="0"/>
                  </a:lnTo>
                  <a:lnTo>
                    <a:pt x="42" y="1"/>
                  </a:lnTo>
                  <a:lnTo>
                    <a:pt x="48" y="2"/>
                  </a:lnTo>
                  <a:lnTo>
                    <a:pt x="53" y="6"/>
                  </a:lnTo>
                  <a:lnTo>
                    <a:pt x="59" y="11"/>
                  </a:lnTo>
                  <a:lnTo>
                    <a:pt x="164" y="116"/>
                  </a:lnTo>
                  <a:lnTo>
                    <a:pt x="164" y="116"/>
                  </a:lnTo>
                  <a:lnTo>
                    <a:pt x="168" y="120"/>
                  </a:lnTo>
                  <a:lnTo>
                    <a:pt x="171" y="127"/>
                  </a:lnTo>
                  <a:lnTo>
                    <a:pt x="173" y="133"/>
                  </a:lnTo>
                  <a:lnTo>
                    <a:pt x="174" y="140"/>
                  </a:lnTo>
                  <a:lnTo>
                    <a:pt x="173" y="146"/>
                  </a:lnTo>
                  <a:lnTo>
                    <a:pt x="171" y="153"/>
                  </a:lnTo>
                  <a:lnTo>
                    <a:pt x="168" y="159"/>
                  </a:lnTo>
                  <a:lnTo>
                    <a:pt x="164" y="164"/>
                  </a:lnTo>
                  <a:lnTo>
                    <a:pt x="164" y="164"/>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209">
              <a:extLst>
                <a:ext uri="{FF2B5EF4-FFF2-40B4-BE49-F238E27FC236}">
                  <a16:creationId xmlns:a16="http://schemas.microsoft.com/office/drawing/2014/main" id="{38FFE9B5-44B9-24C0-6030-580639F95A19}"/>
                </a:ext>
              </a:extLst>
            </p:cNvPr>
            <p:cNvSpPr>
              <a:spLocks/>
            </p:cNvSpPr>
            <p:nvPr/>
          </p:nvSpPr>
          <p:spPr bwMode="auto">
            <a:xfrm>
              <a:off x="3795713" y="673100"/>
              <a:ext cx="209550" cy="209550"/>
            </a:xfrm>
            <a:custGeom>
              <a:avLst/>
              <a:gdLst>
                <a:gd name="T0" fmla="*/ 128 w 132"/>
                <a:gd name="T1" fmla="*/ 129 h 132"/>
                <a:gd name="T2" fmla="*/ 128 w 132"/>
                <a:gd name="T3" fmla="*/ 129 h 132"/>
                <a:gd name="T4" fmla="*/ 123 w 132"/>
                <a:gd name="T5" fmla="*/ 131 h 132"/>
                <a:gd name="T6" fmla="*/ 118 w 132"/>
                <a:gd name="T7" fmla="*/ 132 h 132"/>
                <a:gd name="T8" fmla="*/ 113 w 132"/>
                <a:gd name="T9" fmla="*/ 131 h 132"/>
                <a:gd name="T10" fmla="*/ 108 w 132"/>
                <a:gd name="T11" fmla="*/ 129 h 132"/>
                <a:gd name="T12" fmla="*/ 4 w 132"/>
                <a:gd name="T13" fmla="*/ 23 h 132"/>
                <a:gd name="T14" fmla="*/ 4 w 132"/>
                <a:gd name="T15" fmla="*/ 23 h 132"/>
                <a:gd name="T16" fmla="*/ 1 w 132"/>
                <a:gd name="T17" fmla="*/ 19 h 132"/>
                <a:gd name="T18" fmla="*/ 0 w 132"/>
                <a:gd name="T19" fmla="*/ 14 h 132"/>
                <a:gd name="T20" fmla="*/ 1 w 132"/>
                <a:gd name="T21" fmla="*/ 9 h 132"/>
                <a:gd name="T22" fmla="*/ 4 w 132"/>
                <a:gd name="T23" fmla="*/ 4 h 132"/>
                <a:gd name="T24" fmla="*/ 4 w 132"/>
                <a:gd name="T25" fmla="*/ 4 h 132"/>
                <a:gd name="T26" fmla="*/ 8 w 132"/>
                <a:gd name="T27" fmla="*/ 2 h 132"/>
                <a:gd name="T28" fmla="*/ 13 w 132"/>
                <a:gd name="T29" fmla="*/ 0 h 132"/>
                <a:gd name="T30" fmla="*/ 18 w 132"/>
                <a:gd name="T31" fmla="*/ 2 h 132"/>
                <a:gd name="T32" fmla="*/ 23 w 132"/>
                <a:gd name="T33" fmla="*/ 4 h 132"/>
                <a:gd name="T34" fmla="*/ 128 w 132"/>
                <a:gd name="T35" fmla="*/ 109 h 132"/>
                <a:gd name="T36" fmla="*/ 128 w 132"/>
                <a:gd name="T37" fmla="*/ 109 h 132"/>
                <a:gd name="T38" fmla="*/ 131 w 132"/>
                <a:gd name="T39" fmla="*/ 114 h 132"/>
                <a:gd name="T40" fmla="*/ 132 w 132"/>
                <a:gd name="T41" fmla="*/ 119 h 132"/>
                <a:gd name="T42" fmla="*/ 131 w 132"/>
                <a:gd name="T43" fmla="*/ 124 h 132"/>
                <a:gd name="T44" fmla="*/ 128 w 132"/>
                <a:gd name="T45" fmla="*/ 129 h 132"/>
                <a:gd name="T46" fmla="*/ 128 w 132"/>
                <a:gd name="T47"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32">
                  <a:moveTo>
                    <a:pt x="128" y="129"/>
                  </a:moveTo>
                  <a:lnTo>
                    <a:pt x="128" y="129"/>
                  </a:lnTo>
                  <a:lnTo>
                    <a:pt x="123" y="131"/>
                  </a:lnTo>
                  <a:lnTo>
                    <a:pt x="118" y="132"/>
                  </a:lnTo>
                  <a:lnTo>
                    <a:pt x="113" y="131"/>
                  </a:lnTo>
                  <a:lnTo>
                    <a:pt x="108" y="129"/>
                  </a:lnTo>
                  <a:lnTo>
                    <a:pt x="4" y="23"/>
                  </a:lnTo>
                  <a:lnTo>
                    <a:pt x="4" y="23"/>
                  </a:lnTo>
                  <a:lnTo>
                    <a:pt x="1" y="19"/>
                  </a:lnTo>
                  <a:lnTo>
                    <a:pt x="0" y="14"/>
                  </a:lnTo>
                  <a:lnTo>
                    <a:pt x="1" y="9"/>
                  </a:lnTo>
                  <a:lnTo>
                    <a:pt x="4" y="4"/>
                  </a:lnTo>
                  <a:lnTo>
                    <a:pt x="4" y="4"/>
                  </a:lnTo>
                  <a:lnTo>
                    <a:pt x="8" y="2"/>
                  </a:lnTo>
                  <a:lnTo>
                    <a:pt x="13" y="0"/>
                  </a:lnTo>
                  <a:lnTo>
                    <a:pt x="18" y="2"/>
                  </a:lnTo>
                  <a:lnTo>
                    <a:pt x="23" y="4"/>
                  </a:lnTo>
                  <a:lnTo>
                    <a:pt x="128" y="109"/>
                  </a:lnTo>
                  <a:lnTo>
                    <a:pt x="128" y="109"/>
                  </a:lnTo>
                  <a:lnTo>
                    <a:pt x="131" y="114"/>
                  </a:lnTo>
                  <a:lnTo>
                    <a:pt x="132" y="119"/>
                  </a:lnTo>
                  <a:lnTo>
                    <a:pt x="131" y="124"/>
                  </a:lnTo>
                  <a:lnTo>
                    <a:pt x="128" y="129"/>
                  </a:lnTo>
                  <a:lnTo>
                    <a:pt x="128" y="129"/>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210">
              <a:extLst>
                <a:ext uri="{FF2B5EF4-FFF2-40B4-BE49-F238E27FC236}">
                  <a16:creationId xmlns:a16="http://schemas.microsoft.com/office/drawing/2014/main" id="{462C0BE7-0358-DEC5-D94E-E13F8FF8BA13}"/>
                </a:ext>
              </a:extLst>
            </p:cNvPr>
            <p:cNvSpPr>
              <a:spLocks/>
            </p:cNvSpPr>
            <p:nvPr/>
          </p:nvSpPr>
          <p:spPr bwMode="auto">
            <a:xfrm>
              <a:off x="3392488" y="244475"/>
              <a:ext cx="427038" cy="427038"/>
            </a:xfrm>
            <a:custGeom>
              <a:avLst/>
              <a:gdLst>
                <a:gd name="T0" fmla="*/ 39 w 269"/>
                <a:gd name="T1" fmla="*/ 40 h 269"/>
                <a:gd name="T2" fmla="*/ 39 w 269"/>
                <a:gd name="T3" fmla="*/ 40 h 269"/>
                <a:gd name="T4" fmla="*/ 59 w 269"/>
                <a:gd name="T5" fmla="*/ 24 h 269"/>
                <a:gd name="T6" fmla="*/ 82 w 269"/>
                <a:gd name="T7" fmla="*/ 11 h 269"/>
                <a:gd name="T8" fmla="*/ 107 w 269"/>
                <a:gd name="T9" fmla="*/ 4 h 269"/>
                <a:gd name="T10" fmla="*/ 134 w 269"/>
                <a:gd name="T11" fmla="*/ 0 h 269"/>
                <a:gd name="T12" fmla="*/ 148 w 269"/>
                <a:gd name="T13" fmla="*/ 1 h 269"/>
                <a:gd name="T14" fmla="*/ 174 w 269"/>
                <a:gd name="T15" fmla="*/ 6 h 269"/>
                <a:gd name="T16" fmla="*/ 198 w 269"/>
                <a:gd name="T17" fmla="*/ 17 h 269"/>
                <a:gd name="T18" fmla="*/ 219 w 269"/>
                <a:gd name="T19" fmla="*/ 31 h 269"/>
                <a:gd name="T20" fmla="*/ 238 w 269"/>
                <a:gd name="T21" fmla="*/ 50 h 269"/>
                <a:gd name="T22" fmla="*/ 251 w 269"/>
                <a:gd name="T23" fmla="*/ 72 h 269"/>
                <a:gd name="T24" fmla="*/ 262 w 269"/>
                <a:gd name="T25" fmla="*/ 95 h 269"/>
                <a:gd name="T26" fmla="*/ 267 w 269"/>
                <a:gd name="T27" fmla="*/ 121 h 269"/>
                <a:gd name="T28" fmla="*/ 269 w 269"/>
                <a:gd name="T29" fmla="*/ 136 h 269"/>
                <a:gd name="T30" fmla="*/ 265 w 269"/>
                <a:gd name="T31" fmla="*/ 162 h 269"/>
                <a:gd name="T32" fmla="*/ 258 w 269"/>
                <a:gd name="T33" fmla="*/ 186 h 269"/>
                <a:gd name="T34" fmla="*/ 245 w 269"/>
                <a:gd name="T35" fmla="*/ 210 h 269"/>
                <a:gd name="T36" fmla="*/ 229 w 269"/>
                <a:gd name="T37" fmla="*/ 230 h 269"/>
                <a:gd name="T38" fmla="*/ 219 w 269"/>
                <a:gd name="T39" fmla="*/ 240 h 269"/>
                <a:gd name="T40" fmla="*/ 197 w 269"/>
                <a:gd name="T41" fmla="*/ 253 h 269"/>
                <a:gd name="T42" fmla="*/ 172 w 269"/>
                <a:gd name="T43" fmla="*/ 264 h 269"/>
                <a:gd name="T44" fmla="*/ 147 w 269"/>
                <a:gd name="T45" fmla="*/ 269 h 269"/>
                <a:gd name="T46" fmla="*/ 133 w 269"/>
                <a:gd name="T47" fmla="*/ 269 h 269"/>
                <a:gd name="T48" fmla="*/ 107 w 269"/>
                <a:gd name="T49" fmla="*/ 267 h 269"/>
                <a:gd name="T50" fmla="*/ 82 w 269"/>
                <a:gd name="T51" fmla="*/ 259 h 269"/>
                <a:gd name="T52" fmla="*/ 59 w 269"/>
                <a:gd name="T53" fmla="*/ 247 h 269"/>
                <a:gd name="T54" fmla="*/ 39 w 269"/>
                <a:gd name="T55" fmla="*/ 230 h 269"/>
                <a:gd name="T56" fmla="*/ 29 w 269"/>
                <a:gd name="T57" fmla="*/ 220 h 269"/>
                <a:gd name="T58" fmla="*/ 15 w 269"/>
                <a:gd name="T59" fmla="*/ 198 h 269"/>
                <a:gd name="T60" fmla="*/ 5 w 269"/>
                <a:gd name="T61" fmla="*/ 174 h 269"/>
                <a:gd name="T62" fmla="*/ 0 w 269"/>
                <a:gd name="T63" fmla="*/ 148 h 269"/>
                <a:gd name="T64" fmla="*/ 0 w 269"/>
                <a:gd name="T65" fmla="*/ 135 h 269"/>
                <a:gd name="T66" fmla="*/ 2 w 269"/>
                <a:gd name="T67" fmla="*/ 109 h 269"/>
                <a:gd name="T68" fmla="*/ 10 w 269"/>
                <a:gd name="T69" fmla="*/ 84 h 269"/>
                <a:gd name="T70" fmla="*/ 22 w 269"/>
                <a:gd name="T71" fmla="*/ 61 h 269"/>
                <a:gd name="T72" fmla="*/ 39 w 269"/>
                <a:gd name="T73" fmla="*/ 4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9" h="269">
                  <a:moveTo>
                    <a:pt x="39" y="40"/>
                  </a:moveTo>
                  <a:lnTo>
                    <a:pt x="39" y="40"/>
                  </a:lnTo>
                  <a:lnTo>
                    <a:pt x="39" y="40"/>
                  </a:lnTo>
                  <a:lnTo>
                    <a:pt x="39" y="40"/>
                  </a:lnTo>
                  <a:lnTo>
                    <a:pt x="49" y="31"/>
                  </a:lnTo>
                  <a:lnTo>
                    <a:pt x="59" y="24"/>
                  </a:lnTo>
                  <a:lnTo>
                    <a:pt x="70" y="16"/>
                  </a:lnTo>
                  <a:lnTo>
                    <a:pt x="82" y="11"/>
                  </a:lnTo>
                  <a:lnTo>
                    <a:pt x="95" y="6"/>
                  </a:lnTo>
                  <a:lnTo>
                    <a:pt x="107" y="4"/>
                  </a:lnTo>
                  <a:lnTo>
                    <a:pt x="121" y="1"/>
                  </a:lnTo>
                  <a:lnTo>
                    <a:pt x="134" y="0"/>
                  </a:lnTo>
                  <a:lnTo>
                    <a:pt x="134" y="0"/>
                  </a:lnTo>
                  <a:lnTo>
                    <a:pt x="148" y="1"/>
                  </a:lnTo>
                  <a:lnTo>
                    <a:pt x="161" y="4"/>
                  </a:lnTo>
                  <a:lnTo>
                    <a:pt x="174" y="6"/>
                  </a:lnTo>
                  <a:lnTo>
                    <a:pt x="186" y="11"/>
                  </a:lnTo>
                  <a:lnTo>
                    <a:pt x="198" y="17"/>
                  </a:lnTo>
                  <a:lnTo>
                    <a:pt x="209" y="24"/>
                  </a:lnTo>
                  <a:lnTo>
                    <a:pt x="219" y="31"/>
                  </a:lnTo>
                  <a:lnTo>
                    <a:pt x="229" y="40"/>
                  </a:lnTo>
                  <a:lnTo>
                    <a:pt x="238" y="50"/>
                  </a:lnTo>
                  <a:lnTo>
                    <a:pt x="245" y="61"/>
                  </a:lnTo>
                  <a:lnTo>
                    <a:pt x="251" y="72"/>
                  </a:lnTo>
                  <a:lnTo>
                    <a:pt x="258" y="83"/>
                  </a:lnTo>
                  <a:lnTo>
                    <a:pt x="262" y="95"/>
                  </a:lnTo>
                  <a:lnTo>
                    <a:pt x="265" y="109"/>
                  </a:lnTo>
                  <a:lnTo>
                    <a:pt x="267" y="121"/>
                  </a:lnTo>
                  <a:lnTo>
                    <a:pt x="269" y="136"/>
                  </a:lnTo>
                  <a:lnTo>
                    <a:pt x="269" y="136"/>
                  </a:lnTo>
                  <a:lnTo>
                    <a:pt x="267" y="148"/>
                  </a:lnTo>
                  <a:lnTo>
                    <a:pt x="265" y="162"/>
                  </a:lnTo>
                  <a:lnTo>
                    <a:pt x="262" y="174"/>
                  </a:lnTo>
                  <a:lnTo>
                    <a:pt x="258" y="186"/>
                  </a:lnTo>
                  <a:lnTo>
                    <a:pt x="253" y="199"/>
                  </a:lnTo>
                  <a:lnTo>
                    <a:pt x="245" y="210"/>
                  </a:lnTo>
                  <a:lnTo>
                    <a:pt x="238" y="220"/>
                  </a:lnTo>
                  <a:lnTo>
                    <a:pt x="229" y="230"/>
                  </a:lnTo>
                  <a:lnTo>
                    <a:pt x="229" y="230"/>
                  </a:lnTo>
                  <a:lnTo>
                    <a:pt x="219" y="240"/>
                  </a:lnTo>
                  <a:lnTo>
                    <a:pt x="208" y="247"/>
                  </a:lnTo>
                  <a:lnTo>
                    <a:pt x="197" y="253"/>
                  </a:lnTo>
                  <a:lnTo>
                    <a:pt x="185" y="259"/>
                  </a:lnTo>
                  <a:lnTo>
                    <a:pt x="172" y="264"/>
                  </a:lnTo>
                  <a:lnTo>
                    <a:pt x="160" y="267"/>
                  </a:lnTo>
                  <a:lnTo>
                    <a:pt x="147" y="269"/>
                  </a:lnTo>
                  <a:lnTo>
                    <a:pt x="133" y="269"/>
                  </a:lnTo>
                  <a:lnTo>
                    <a:pt x="133" y="269"/>
                  </a:lnTo>
                  <a:lnTo>
                    <a:pt x="121" y="269"/>
                  </a:lnTo>
                  <a:lnTo>
                    <a:pt x="107" y="267"/>
                  </a:lnTo>
                  <a:lnTo>
                    <a:pt x="95" y="263"/>
                  </a:lnTo>
                  <a:lnTo>
                    <a:pt x="82" y="259"/>
                  </a:lnTo>
                  <a:lnTo>
                    <a:pt x="70" y="253"/>
                  </a:lnTo>
                  <a:lnTo>
                    <a:pt x="59" y="247"/>
                  </a:lnTo>
                  <a:lnTo>
                    <a:pt x="49" y="238"/>
                  </a:lnTo>
                  <a:lnTo>
                    <a:pt x="39" y="230"/>
                  </a:lnTo>
                  <a:lnTo>
                    <a:pt x="39" y="230"/>
                  </a:lnTo>
                  <a:lnTo>
                    <a:pt x="29" y="220"/>
                  </a:lnTo>
                  <a:lnTo>
                    <a:pt x="22" y="209"/>
                  </a:lnTo>
                  <a:lnTo>
                    <a:pt x="15" y="198"/>
                  </a:lnTo>
                  <a:lnTo>
                    <a:pt x="10" y="186"/>
                  </a:lnTo>
                  <a:lnTo>
                    <a:pt x="5" y="174"/>
                  </a:lnTo>
                  <a:lnTo>
                    <a:pt x="2" y="162"/>
                  </a:lnTo>
                  <a:lnTo>
                    <a:pt x="0" y="148"/>
                  </a:lnTo>
                  <a:lnTo>
                    <a:pt x="0" y="135"/>
                  </a:lnTo>
                  <a:lnTo>
                    <a:pt x="0" y="135"/>
                  </a:lnTo>
                  <a:lnTo>
                    <a:pt x="0" y="121"/>
                  </a:lnTo>
                  <a:lnTo>
                    <a:pt x="2" y="109"/>
                  </a:lnTo>
                  <a:lnTo>
                    <a:pt x="5" y="96"/>
                  </a:lnTo>
                  <a:lnTo>
                    <a:pt x="10" y="84"/>
                  </a:lnTo>
                  <a:lnTo>
                    <a:pt x="16" y="72"/>
                  </a:lnTo>
                  <a:lnTo>
                    <a:pt x="22" y="61"/>
                  </a:lnTo>
                  <a:lnTo>
                    <a:pt x="29" y="50"/>
                  </a:lnTo>
                  <a:lnTo>
                    <a:pt x="39" y="40"/>
                  </a:lnTo>
                  <a:lnTo>
                    <a:pt x="39" y="40"/>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211">
              <a:extLst>
                <a:ext uri="{FF2B5EF4-FFF2-40B4-BE49-F238E27FC236}">
                  <a16:creationId xmlns:a16="http://schemas.microsoft.com/office/drawing/2014/main" id="{B95FAD81-4C31-92CC-96F5-1DCA95875C9E}"/>
                </a:ext>
              </a:extLst>
            </p:cNvPr>
            <p:cNvSpPr>
              <a:spLocks/>
            </p:cNvSpPr>
            <p:nvPr/>
          </p:nvSpPr>
          <p:spPr bwMode="auto">
            <a:xfrm>
              <a:off x="3446463" y="300038"/>
              <a:ext cx="317500" cy="317500"/>
            </a:xfrm>
            <a:custGeom>
              <a:avLst/>
              <a:gdLst>
                <a:gd name="T0" fmla="*/ 29 w 200"/>
                <a:gd name="T1" fmla="*/ 29 h 200"/>
                <a:gd name="T2" fmla="*/ 16 w 200"/>
                <a:gd name="T3" fmla="*/ 44 h 200"/>
                <a:gd name="T4" fmla="*/ 8 w 200"/>
                <a:gd name="T5" fmla="*/ 61 h 200"/>
                <a:gd name="T6" fmla="*/ 2 w 200"/>
                <a:gd name="T7" fmla="*/ 80 h 200"/>
                <a:gd name="T8" fmla="*/ 0 w 200"/>
                <a:gd name="T9" fmla="*/ 100 h 200"/>
                <a:gd name="T10" fmla="*/ 0 w 200"/>
                <a:gd name="T11" fmla="*/ 110 h 200"/>
                <a:gd name="T12" fmla="*/ 4 w 200"/>
                <a:gd name="T13" fmla="*/ 129 h 200"/>
                <a:gd name="T14" fmla="*/ 11 w 200"/>
                <a:gd name="T15" fmla="*/ 148 h 200"/>
                <a:gd name="T16" fmla="*/ 22 w 200"/>
                <a:gd name="T17" fmla="*/ 164 h 200"/>
                <a:gd name="T18" fmla="*/ 36 w 200"/>
                <a:gd name="T19" fmla="*/ 177 h 200"/>
                <a:gd name="T20" fmla="*/ 52 w 200"/>
                <a:gd name="T21" fmla="*/ 187 h 200"/>
                <a:gd name="T22" fmla="*/ 69 w 200"/>
                <a:gd name="T23" fmla="*/ 196 h 200"/>
                <a:gd name="T24" fmla="*/ 89 w 200"/>
                <a:gd name="T25" fmla="*/ 200 h 200"/>
                <a:gd name="T26" fmla="*/ 99 w 200"/>
                <a:gd name="T27" fmla="*/ 200 h 200"/>
                <a:gd name="T28" fmla="*/ 119 w 200"/>
                <a:gd name="T29" fmla="*/ 198 h 200"/>
                <a:gd name="T30" fmla="*/ 138 w 200"/>
                <a:gd name="T31" fmla="*/ 192 h 200"/>
                <a:gd name="T32" fmla="*/ 156 w 200"/>
                <a:gd name="T33" fmla="*/ 184 h 200"/>
                <a:gd name="T34" fmla="*/ 170 w 200"/>
                <a:gd name="T35" fmla="*/ 171 h 200"/>
                <a:gd name="T36" fmla="*/ 170 w 200"/>
                <a:gd name="T37" fmla="*/ 171 h 200"/>
                <a:gd name="T38" fmla="*/ 183 w 200"/>
                <a:gd name="T39" fmla="*/ 155 h 200"/>
                <a:gd name="T40" fmla="*/ 193 w 200"/>
                <a:gd name="T41" fmla="*/ 138 h 200"/>
                <a:gd name="T42" fmla="*/ 198 w 200"/>
                <a:gd name="T43" fmla="*/ 119 h 200"/>
                <a:gd name="T44" fmla="*/ 200 w 200"/>
                <a:gd name="T45" fmla="*/ 100 h 200"/>
                <a:gd name="T46" fmla="*/ 199 w 200"/>
                <a:gd name="T47" fmla="*/ 90 h 200"/>
                <a:gd name="T48" fmla="*/ 195 w 200"/>
                <a:gd name="T49" fmla="*/ 71 h 200"/>
                <a:gd name="T50" fmla="*/ 188 w 200"/>
                <a:gd name="T51" fmla="*/ 53 h 200"/>
                <a:gd name="T52" fmla="*/ 177 w 200"/>
                <a:gd name="T53" fmla="*/ 37 h 200"/>
                <a:gd name="T54" fmla="*/ 170 w 200"/>
                <a:gd name="T55" fmla="*/ 29 h 200"/>
                <a:gd name="T56" fmla="*/ 156 w 200"/>
                <a:gd name="T57" fmla="*/ 17 h 200"/>
                <a:gd name="T58" fmla="*/ 138 w 200"/>
                <a:gd name="T59" fmla="*/ 7 h 200"/>
                <a:gd name="T60" fmla="*/ 120 w 200"/>
                <a:gd name="T61" fmla="*/ 2 h 200"/>
                <a:gd name="T62" fmla="*/ 100 w 200"/>
                <a:gd name="T63" fmla="*/ 0 h 200"/>
                <a:gd name="T64" fmla="*/ 90 w 200"/>
                <a:gd name="T65" fmla="*/ 1 h 200"/>
                <a:gd name="T66" fmla="*/ 71 w 200"/>
                <a:gd name="T67" fmla="*/ 5 h 200"/>
                <a:gd name="T68" fmla="*/ 53 w 200"/>
                <a:gd name="T69" fmla="*/ 12 h 200"/>
                <a:gd name="T70" fmla="*/ 36 w 200"/>
                <a:gd name="T71" fmla="*/ 23 h 200"/>
                <a:gd name="T72" fmla="*/ 29 w 200"/>
                <a:gd name="T73" fmla="*/ 2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200">
                  <a:moveTo>
                    <a:pt x="29" y="29"/>
                  </a:moveTo>
                  <a:lnTo>
                    <a:pt x="29" y="29"/>
                  </a:lnTo>
                  <a:lnTo>
                    <a:pt x="22" y="37"/>
                  </a:lnTo>
                  <a:lnTo>
                    <a:pt x="16" y="44"/>
                  </a:lnTo>
                  <a:lnTo>
                    <a:pt x="11" y="53"/>
                  </a:lnTo>
                  <a:lnTo>
                    <a:pt x="8" y="61"/>
                  </a:lnTo>
                  <a:lnTo>
                    <a:pt x="4" y="71"/>
                  </a:lnTo>
                  <a:lnTo>
                    <a:pt x="2" y="80"/>
                  </a:lnTo>
                  <a:lnTo>
                    <a:pt x="0" y="90"/>
                  </a:lnTo>
                  <a:lnTo>
                    <a:pt x="0" y="100"/>
                  </a:lnTo>
                  <a:lnTo>
                    <a:pt x="0" y="100"/>
                  </a:lnTo>
                  <a:lnTo>
                    <a:pt x="0" y="110"/>
                  </a:lnTo>
                  <a:lnTo>
                    <a:pt x="2" y="119"/>
                  </a:lnTo>
                  <a:lnTo>
                    <a:pt x="4" y="129"/>
                  </a:lnTo>
                  <a:lnTo>
                    <a:pt x="8" y="139"/>
                  </a:lnTo>
                  <a:lnTo>
                    <a:pt x="11" y="148"/>
                  </a:lnTo>
                  <a:lnTo>
                    <a:pt x="16" y="155"/>
                  </a:lnTo>
                  <a:lnTo>
                    <a:pt x="22" y="164"/>
                  </a:lnTo>
                  <a:lnTo>
                    <a:pt x="29" y="170"/>
                  </a:lnTo>
                  <a:lnTo>
                    <a:pt x="36" y="177"/>
                  </a:lnTo>
                  <a:lnTo>
                    <a:pt x="43" y="182"/>
                  </a:lnTo>
                  <a:lnTo>
                    <a:pt x="52" y="187"/>
                  </a:lnTo>
                  <a:lnTo>
                    <a:pt x="61" y="192"/>
                  </a:lnTo>
                  <a:lnTo>
                    <a:pt x="69" y="196"/>
                  </a:lnTo>
                  <a:lnTo>
                    <a:pt x="79" y="198"/>
                  </a:lnTo>
                  <a:lnTo>
                    <a:pt x="89" y="200"/>
                  </a:lnTo>
                  <a:lnTo>
                    <a:pt x="99" y="200"/>
                  </a:lnTo>
                  <a:lnTo>
                    <a:pt x="99" y="200"/>
                  </a:lnTo>
                  <a:lnTo>
                    <a:pt x="110" y="200"/>
                  </a:lnTo>
                  <a:lnTo>
                    <a:pt x="119" y="198"/>
                  </a:lnTo>
                  <a:lnTo>
                    <a:pt x="129" y="196"/>
                  </a:lnTo>
                  <a:lnTo>
                    <a:pt x="138" y="192"/>
                  </a:lnTo>
                  <a:lnTo>
                    <a:pt x="147" y="188"/>
                  </a:lnTo>
                  <a:lnTo>
                    <a:pt x="156" y="184"/>
                  </a:lnTo>
                  <a:lnTo>
                    <a:pt x="163" y="177"/>
                  </a:lnTo>
                  <a:lnTo>
                    <a:pt x="170" y="171"/>
                  </a:lnTo>
                  <a:lnTo>
                    <a:pt x="170" y="171"/>
                  </a:lnTo>
                  <a:lnTo>
                    <a:pt x="170" y="171"/>
                  </a:lnTo>
                  <a:lnTo>
                    <a:pt x="177" y="164"/>
                  </a:lnTo>
                  <a:lnTo>
                    <a:pt x="183" y="155"/>
                  </a:lnTo>
                  <a:lnTo>
                    <a:pt x="188" y="147"/>
                  </a:lnTo>
                  <a:lnTo>
                    <a:pt x="193" y="138"/>
                  </a:lnTo>
                  <a:lnTo>
                    <a:pt x="195" y="129"/>
                  </a:lnTo>
                  <a:lnTo>
                    <a:pt x="198" y="119"/>
                  </a:lnTo>
                  <a:lnTo>
                    <a:pt x="199" y="110"/>
                  </a:lnTo>
                  <a:lnTo>
                    <a:pt x="200" y="100"/>
                  </a:lnTo>
                  <a:lnTo>
                    <a:pt x="200" y="100"/>
                  </a:lnTo>
                  <a:lnTo>
                    <a:pt x="199" y="90"/>
                  </a:lnTo>
                  <a:lnTo>
                    <a:pt x="198" y="81"/>
                  </a:lnTo>
                  <a:lnTo>
                    <a:pt x="195" y="71"/>
                  </a:lnTo>
                  <a:lnTo>
                    <a:pt x="193" y="61"/>
                  </a:lnTo>
                  <a:lnTo>
                    <a:pt x="188" y="53"/>
                  </a:lnTo>
                  <a:lnTo>
                    <a:pt x="183" y="45"/>
                  </a:lnTo>
                  <a:lnTo>
                    <a:pt x="177" y="37"/>
                  </a:lnTo>
                  <a:lnTo>
                    <a:pt x="170" y="29"/>
                  </a:lnTo>
                  <a:lnTo>
                    <a:pt x="170" y="29"/>
                  </a:lnTo>
                  <a:lnTo>
                    <a:pt x="163" y="23"/>
                  </a:lnTo>
                  <a:lnTo>
                    <a:pt x="156" y="17"/>
                  </a:lnTo>
                  <a:lnTo>
                    <a:pt x="147" y="12"/>
                  </a:lnTo>
                  <a:lnTo>
                    <a:pt x="138" y="7"/>
                  </a:lnTo>
                  <a:lnTo>
                    <a:pt x="129" y="5"/>
                  </a:lnTo>
                  <a:lnTo>
                    <a:pt x="120" y="2"/>
                  </a:lnTo>
                  <a:lnTo>
                    <a:pt x="110" y="1"/>
                  </a:lnTo>
                  <a:lnTo>
                    <a:pt x="100" y="0"/>
                  </a:lnTo>
                  <a:lnTo>
                    <a:pt x="100" y="0"/>
                  </a:lnTo>
                  <a:lnTo>
                    <a:pt x="90" y="1"/>
                  </a:lnTo>
                  <a:lnTo>
                    <a:pt x="80" y="2"/>
                  </a:lnTo>
                  <a:lnTo>
                    <a:pt x="71" y="5"/>
                  </a:lnTo>
                  <a:lnTo>
                    <a:pt x="62" y="7"/>
                  </a:lnTo>
                  <a:lnTo>
                    <a:pt x="53" y="12"/>
                  </a:lnTo>
                  <a:lnTo>
                    <a:pt x="45" y="17"/>
                  </a:lnTo>
                  <a:lnTo>
                    <a:pt x="36" y="23"/>
                  </a:lnTo>
                  <a:lnTo>
                    <a:pt x="29" y="29"/>
                  </a:lnTo>
                  <a:lnTo>
                    <a:pt x="29" y="29"/>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212">
              <a:extLst>
                <a:ext uri="{FF2B5EF4-FFF2-40B4-BE49-F238E27FC236}">
                  <a16:creationId xmlns:a16="http://schemas.microsoft.com/office/drawing/2014/main" id="{D3DB7A71-B10D-FBC9-6229-425F52BF209B}"/>
                </a:ext>
              </a:extLst>
            </p:cNvPr>
            <p:cNvSpPr>
              <a:spLocks/>
            </p:cNvSpPr>
            <p:nvPr/>
          </p:nvSpPr>
          <p:spPr bwMode="auto">
            <a:xfrm>
              <a:off x="3476625" y="300038"/>
              <a:ext cx="287338" cy="306388"/>
            </a:xfrm>
            <a:custGeom>
              <a:avLst/>
              <a:gdLst>
                <a:gd name="T0" fmla="*/ 151 w 181"/>
                <a:gd name="T1" fmla="*/ 29 h 193"/>
                <a:gd name="T2" fmla="*/ 137 w 181"/>
                <a:gd name="T3" fmla="*/ 17 h 193"/>
                <a:gd name="T4" fmla="*/ 119 w 181"/>
                <a:gd name="T5" fmla="*/ 7 h 193"/>
                <a:gd name="T6" fmla="*/ 101 w 181"/>
                <a:gd name="T7" fmla="*/ 2 h 193"/>
                <a:gd name="T8" fmla="*/ 81 w 181"/>
                <a:gd name="T9" fmla="*/ 0 h 193"/>
                <a:gd name="T10" fmla="*/ 70 w 181"/>
                <a:gd name="T11" fmla="*/ 1 h 193"/>
                <a:gd name="T12" fmla="*/ 59 w 181"/>
                <a:gd name="T13" fmla="*/ 2 h 193"/>
                <a:gd name="T14" fmla="*/ 43 w 181"/>
                <a:gd name="T15" fmla="*/ 11 h 193"/>
                <a:gd name="T16" fmla="*/ 29 w 181"/>
                <a:gd name="T17" fmla="*/ 23 h 193"/>
                <a:gd name="T18" fmla="*/ 23 w 181"/>
                <a:gd name="T19" fmla="*/ 31 h 193"/>
                <a:gd name="T20" fmla="*/ 12 w 181"/>
                <a:gd name="T21" fmla="*/ 47 h 193"/>
                <a:gd name="T22" fmla="*/ 5 w 181"/>
                <a:gd name="T23" fmla="*/ 64 h 193"/>
                <a:gd name="T24" fmla="*/ 1 w 181"/>
                <a:gd name="T25" fmla="*/ 84 h 193"/>
                <a:gd name="T26" fmla="*/ 0 w 181"/>
                <a:gd name="T27" fmla="*/ 93 h 193"/>
                <a:gd name="T28" fmla="*/ 2 w 181"/>
                <a:gd name="T29" fmla="*/ 113 h 193"/>
                <a:gd name="T30" fmla="*/ 7 w 181"/>
                <a:gd name="T31" fmla="*/ 133 h 193"/>
                <a:gd name="T32" fmla="*/ 17 w 181"/>
                <a:gd name="T33" fmla="*/ 149 h 193"/>
                <a:gd name="T34" fmla="*/ 29 w 181"/>
                <a:gd name="T35" fmla="*/ 164 h 193"/>
                <a:gd name="T36" fmla="*/ 44 w 181"/>
                <a:gd name="T37" fmla="*/ 176 h 193"/>
                <a:gd name="T38" fmla="*/ 61 w 181"/>
                <a:gd name="T39" fmla="*/ 186 h 193"/>
                <a:gd name="T40" fmla="*/ 80 w 181"/>
                <a:gd name="T41" fmla="*/ 191 h 193"/>
                <a:gd name="T42" fmla="*/ 100 w 181"/>
                <a:gd name="T43" fmla="*/ 193 h 193"/>
                <a:gd name="T44" fmla="*/ 111 w 181"/>
                <a:gd name="T45" fmla="*/ 193 h 193"/>
                <a:gd name="T46" fmla="*/ 122 w 181"/>
                <a:gd name="T47" fmla="*/ 191 h 193"/>
                <a:gd name="T48" fmla="*/ 138 w 181"/>
                <a:gd name="T49" fmla="*/ 182 h 193"/>
                <a:gd name="T50" fmla="*/ 151 w 181"/>
                <a:gd name="T51" fmla="*/ 171 h 193"/>
                <a:gd name="T52" fmla="*/ 151 w 181"/>
                <a:gd name="T53" fmla="*/ 171 h 193"/>
                <a:gd name="T54" fmla="*/ 164 w 181"/>
                <a:gd name="T55" fmla="*/ 155 h 193"/>
                <a:gd name="T56" fmla="*/ 174 w 181"/>
                <a:gd name="T57" fmla="*/ 138 h 193"/>
                <a:gd name="T58" fmla="*/ 179 w 181"/>
                <a:gd name="T59" fmla="*/ 119 h 193"/>
                <a:gd name="T60" fmla="*/ 181 w 181"/>
                <a:gd name="T61" fmla="*/ 100 h 193"/>
                <a:gd name="T62" fmla="*/ 180 w 181"/>
                <a:gd name="T63" fmla="*/ 90 h 193"/>
                <a:gd name="T64" fmla="*/ 176 w 181"/>
                <a:gd name="T65" fmla="*/ 71 h 193"/>
                <a:gd name="T66" fmla="*/ 169 w 181"/>
                <a:gd name="T67" fmla="*/ 53 h 193"/>
                <a:gd name="T68" fmla="*/ 158 w 181"/>
                <a:gd name="T69" fmla="*/ 37 h 193"/>
                <a:gd name="T70" fmla="*/ 151 w 181"/>
                <a:gd name="T71" fmla="*/ 2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193">
                  <a:moveTo>
                    <a:pt x="151" y="29"/>
                  </a:moveTo>
                  <a:lnTo>
                    <a:pt x="151" y="29"/>
                  </a:lnTo>
                  <a:lnTo>
                    <a:pt x="144" y="23"/>
                  </a:lnTo>
                  <a:lnTo>
                    <a:pt x="137" y="17"/>
                  </a:lnTo>
                  <a:lnTo>
                    <a:pt x="128" y="12"/>
                  </a:lnTo>
                  <a:lnTo>
                    <a:pt x="119" y="7"/>
                  </a:lnTo>
                  <a:lnTo>
                    <a:pt x="110" y="5"/>
                  </a:lnTo>
                  <a:lnTo>
                    <a:pt x="101" y="2"/>
                  </a:lnTo>
                  <a:lnTo>
                    <a:pt x="91" y="1"/>
                  </a:lnTo>
                  <a:lnTo>
                    <a:pt x="81" y="0"/>
                  </a:lnTo>
                  <a:lnTo>
                    <a:pt x="81" y="0"/>
                  </a:lnTo>
                  <a:lnTo>
                    <a:pt x="70" y="1"/>
                  </a:lnTo>
                  <a:lnTo>
                    <a:pt x="59" y="2"/>
                  </a:lnTo>
                  <a:lnTo>
                    <a:pt x="59" y="2"/>
                  </a:lnTo>
                  <a:lnTo>
                    <a:pt x="50" y="7"/>
                  </a:lnTo>
                  <a:lnTo>
                    <a:pt x="43" y="11"/>
                  </a:lnTo>
                  <a:lnTo>
                    <a:pt x="36" y="17"/>
                  </a:lnTo>
                  <a:lnTo>
                    <a:pt x="29" y="23"/>
                  </a:lnTo>
                  <a:lnTo>
                    <a:pt x="29" y="23"/>
                  </a:lnTo>
                  <a:lnTo>
                    <a:pt x="23" y="31"/>
                  </a:lnTo>
                  <a:lnTo>
                    <a:pt x="17" y="38"/>
                  </a:lnTo>
                  <a:lnTo>
                    <a:pt x="12" y="47"/>
                  </a:lnTo>
                  <a:lnTo>
                    <a:pt x="7" y="55"/>
                  </a:lnTo>
                  <a:lnTo>
                    <a:pt x="5" y="64"/>
                  </a:lnTo>
                  <a:lnTo>
                    <a:pt x="2" y="74"/>
                  </a:lnTo>
                  <a:lnTo>
                    <a:pt x="1" y="84"/>
                  </a:lnTo>
                  <a:lnTo>
                    <a:pt x="0" y="93"/>
                  </a:lnTo>
                  <a:lnTo>
                    <a:pt x="0" y="93"/>
                  </a:lnTo>
                  <a:lnTo>
                    <a:pt x="1" y="103"/>
                  </a:lnTo>
                  <a:lnTo>
                    <a:pt x="2" y="113"/>
                  </a:lnTo>
                  <a:lnTo>
                    <a:pt x="5" y="123"/>
                  </a:lnTo>
                  <a:lnTo>
                    <a:pt x="7" y="133"/>
                  </a:lnTo>
                  <a:lnTo>
                    <a:pt x="12" y="142"/>
                  </a:lnTo>
                  <a:lnTo>
                    <a:pt x="17" y="149"/>
                  </a:lnTo>
                  <a:lnTo>
                    <a:pt x="23" y="158"/>
                  </a:lnTo>
                  <a:lnTo>
                    <a:pt x="29" y="164"/>
                  </a:lnTo>
                  <a:lnTo>
                    <a:pt x="37" y="171"/>
                  </a:lnTo>
                  <a:lnTo>
                    <a:pt x="44" y="176"/>
                  </a:lnTo>
                  <a:lnTo>
                    <a:pt x="52" y="181"/>
                  </a:lnTo>
                  <a:lnTo>
                    <a:pt x="61" y="186"/>
                  </a:lnTo>
                  <a:lnTo>
                    <a:pt x="70" y="188"/>
                  </a:lnTo>
                  <a:lnTo>
                    <a:pt x="80" y="191"/>
                  </a:lnTo>
                  <a:lnTo>
                    <a:pt x="90" y="193"/>
                  </a:lnTo>
                  <a:lnTo>
                    <a:pt x="100" y="193"/>
                  </a:lnTo>
                  <a:lnTo>
                    <a:pt x="100" y="193"/>
                  </a:lnTo>
                  <a:lnTo>
                    <a:pt x="111" y="193"/>
                  </a:lnTo>
                  <a:lnTo>
                    <a:pt x="122" y="191"/>
                  </a:lnTo>
                  <a:lnTo>
                    <a:pt x="122" y="191"/>
                  </a:lnTo>
                  <a:lnTo>
                    <a:pt x="129" y="187"/>
                  </a:lnTo>
                  <a:lnTo>
                    <a:pt x="138" y="182"/>
                  </a:lnTo>
                  <a:lnTo>
                    <a:pt x="144" y="177"/>
                  </a:lnTo>
                  <a:lnTo>
                    <a:pt x="151" y="171"/>
                  </a:lnTo>
                  <a:lnTo>
                    <a:pt x="151" y="171"/>
                  </a:lnTo>
                  <a:lnTo>
                    <a:pt x="151" y="171"/>
                  </a:lnTo>
                  <a:lnTo>
                    <a:pt x="158" y="164"/>
                  </a:lnTo>
                  <a:lnTo>
                    <a:pt x="164" y="155"/>
                  </a:lnTo>
                  <a:lnTo>
                    <a:pt x="169" y="147"/>
                  </a:lnTo>
                  <a:lnTo>
                    <a:pt x="174" y="138"/>
                  </a:lnTo>
                  <a:lnTo>
                    <a:pt x="176" y="129"/>
                  </a:lnTo>
                  <a:lnTo>
                    <a:pt x="179" y="119"/>
                  </a:lnTo>
                  <a:lnTo>
                    <a:pt x="180" y="110"/>
                  </a:lnTo>
                  <a:lnTo>
                    <a:pt x="181" y="100"/>
                  </a:lnTo>
                  <a:lnTo>
                    <a:pt x="181" y="100"/>
                  </a:lnTo>
                  <a:lnTo>
                    <a:pt x="180" y="90"/>
                  </a:lnTo>
                  <a:lnTo>
                    <a:pt x="179" y="81"/>
                  </a:lnTo>
                  <a:lnTo>
                    <a:pt x="176" y="71"/>
                  </a:lnTo>
                  <a:lnTo>
                    <a:pt x="174" y="61"/>
                  </a:lnTo>
                  <a:lnTo>
                    <a:pt x="169" y="53"/>
                  </a:lnTo>
                  <a:lnTo>
                    <a:pt x="164" y="45"/>
                  </a:lnTo>
                  <a:lnTo>
                    <a:pt x="158" y="37"/>
                  </a:lnTo>
                  <a:lnTo>
                    <a:pt x="151" y="29"/>
                  </a:lnTo>
                  <a:lnTo>
                    <a:pt x="151"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213">
              <a:extLst>
                <a:ext uri="{FF2B5EF4-FFF2-40B4-BE49-F238E27FC236}">
                  <a16:creationId xmlns:a16="http://schemas.microsoft.com/office/drawing/2014/main" id="{2AFA1C52-ABEE-CAD4-4E3B-8C5D19F47BF3}"/>
                </a:ext>
              </a:extLst>
            </p:cNvPr>
            <p:cNvSpPr>
              <a:spLocks/>
            </p:cNvSpPr>
            <p:nvPr/>
          </p:nvSpPr>
          <p:spPr bwMode="auto">
            <a:xfrm>
              <a:off x="3719513" y="573088"/>
              <a:ext cx="87313" cy="90488"/>
            </a:xfrm>
            <a:custGeom>
              <a:avLst/>
              <a:gdLst>
                <a:gd name="T0" fmla="*/ 50 w 55"/>
                <a:gd name="T1" fmla="*/ 52 h 57"/>
                <a:gd name="T2" fmla="*/ 50 w 55"/>
                <a:gd name="T3" fmla="*/ 52 h 57"/>
                <a:gd name="T4" fmla="*/ 45 w 55"/>
                <a:gd name="T5" fmla="*/ 56 h 57"/>
                <a:gd name="T6" fmla="*/ 39 w 55"/>
                <a:gd name="T7" fmla="*/ 57 h 57"/>
                <a:gd name="T8" fmla="*/ 32 w 55"/>
                <a:gd name="T9" fmla="*/ 56 h 57"/>
                <a:gd name="T10" fmla="*/ 27 w 55"/>
                <a:gd name="T11" fmla="*/ 52 h 57"/>
                <a:gd name="T12" fmla="*/ 5 w 55"/>
                <a:gd name="T13" fmla="*/ 30 h 57"/>
                <a:gd name="T14" fmla="*/ 5 w 55"/>
                <a:gd name="T15" fmla="*/ 30 h 57"/>
                <a:gd name="T16" fmla="*/ 1 w 55"/>
                <a:gd name="T17" fmla="*/ 24 h 57"/>
                <a:gd name="T18" fmla="*/ 0 w 55"/>
                <a:gd name="T19" fmla="*/ 18 h 57"/>
                <a:gd name="T20" fmla="*/ 1 w 55"/>
                <a:gd name="T21" fmla="*/ 12 h 57"/>
                <a:gd name="T22" fmla="*/ 5 w 55"/>
                <a:gd name="T23" fmla="*/ 5 h 57"/>
                <a:gd name="T24" fmla="*/ 5 w 55"/>
                <a:gd name="T25" fmla="*/ 5 h 57"/>
                <a:gd name="T26" fmla="*/ 5 w 55"/>
                <a:gd name="T27" fmla="*/ 5 h 57"/>
                <a:gd name="T28" fmla="*/ 5 w 55"/>
                <a:gd name="T29" fmla="*/ 5 h 57"/>
                <a:gd name="T30" fmla="*/ 11 w 55"/>
                <a:gd name="T31" fmla="*/ 2 h 57"/>
                <a:gd name="T32" fmla="*/ 17 w 55"/>
                <a:gd name="T33" fmla="*/ 0 h 57"/>
                <a:gd name="T34" fmla="*/ 23 w 55"/>
                <a:gd name="T35" fmla="*/ 2 h 57"/>
                <a:gd name="T36" fmla="*/ 29 w 55"/>
                <a:gd name="T37" fmla="*/ 5 h 57"/>
                <a:gd name="T38" fmla="*/ 50 w 55"/>
                <a:gd name="T39" fmla="*/ 28 h 57"/>
                <a:gd name="T40" fmla="*/ 50 w 55"/>
                <a:gd name="T41" fmla="*/ 28 h 57"/>
                <a:gd name="T42" fmla="*/ 54 w 55"/>
                <a:gd name="T43" fmla="*/ 34 h 57"/>
                <a:gd name="T44" fmla="*/ 55 w 55"/>
                <a:gd name="T45" fmla="*/ 40 h 57"/>
                <a:gd name="T46" fmla="*/ 54 w 55"/>
                <a:gd name="T47" fmla="*/ 46 h 57"/>
                <a:gd name="T48" fmla="*/ 50 w 55"/>
                <a:gd name="T49" fmla="*/ 52 h 57"/>
                <a:gd name="T50" fmla="*/ 50 w 55"/>
                <a:gd name="T51" fmla="*/ 52 h 57"/>
                <a:gd name="T52" fmla="*/ 50 w 55"/>
                <a:gd name="T53" fmla="*/ 52 h 57"/>
                <a:gd name="T54" fmla="*/ 50 w 55"/>
                <a:gd name="T55" fmla="*/ 5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5" h="57">
                  <a:moveTo>
                    <a:pt x="50" y="52"/>
                  </a:moveTo>
                  <a:lnTo>
                    <a:pt x="50" y="52"/>
                  </a:lnTo>
                  <a:lnTo>
                    <a:pt x="45" y="56"/>
                  </a:lnTo>
                  <a:lnTo>
                    <a:pt x="39" y="57"/>
                  </a:lnTo>
                  <a:lnTo>
                    <a:pt x="32" y="56"/>
                  </a:lnTo>
                  <a:lnTo>
                    <a:pt x="27" y="52"/>
                  </a:lnTo>
                  <a:lnTo>
                    <a:pt x="5" y="30"/>
                  </a:lnTo>
                  <a:lnTo>
                    <a:pt x="5" y="30"/>
                  </a:lnTo>
                  <a:lnTo>
                    <a:pt x="1" y="24"/>
                  </a:lnTo>
                  <a:lnTo>
                    <a:pt x="0" y="18"/>
                  </a:lnTo>
                  <a:lnTo>
                    <a:pt x="1" y="12"/>
                  </a:lnTo>
                  <a:lnTo>
                    <a:pt x="5" y="5"/>
                  </a:lnTo>
                  <a:lnTo>
                    <a:pt x="5" y="5"/>
                  </a:lnTo>
                  <a:lnTo>
                    <a:pt x="5" y="5"/>
                  </a:lnTo>
                  <a:lnTo>
                    <a:pt x="5" y="5"/>
                  </a:lnTo>
                  <a:lnTo>
                    <a:pt x="11" y="2"/>
                  </a:lnTo>
                  <a:lnTo>
                    <a:pt x="17" y="0"/>
                  </a:lnTo>
                  <a:lnTo>
                    <a:pt x="23" y="2"/>
                  </a:lnTo>
                  <a:lnTo>
                    <a:pt x="29" y="5"/>
                  </a:lnTo>
                  <a:lnTo>
                    <a:pt x="50" y="28"/>
                  </a:lnTo>
                  <a:lnTo>
                    <a:pt x="50" y="28"/>
                  </a:lnTo>
                  <a:lnTo>
                    <a:pt x="54" y="34"/>
                  </a:lnTo>
                  <a:lnTo>
                    <a:pt x="55" y="40"/>
                  </a:lnTo>
                  <a:lnTo>
                    <a:pt x="54" y="46"/>
                  </a:lnTo>
                  <a:lnTo>
                    <a:pt x="50" y="52"/>
                  </a:lnTo>
                  <a:lnTo>
                    <a:pt x="50" y="52"/>
                  </a:lnTo>
                  <a:lnTo>
                    <a:pt x="50" y="52"/>
                  </a:lnTo>
                  <a:lnTo>
                    <a:pt x="50" y="52"/>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214">
              <a:extLst>
                <a:ext uri="{FF2B5EF4-FFF2-40B4-BE49-F238E27FC236}">
                  <a16:creationId xmlns:a16="http://schemas.microsoft.com/office/drawing/2014/main" id="{324D7556-C744-7A5B-A426-4393AB566C83}"/>
                </a:ext>
              </a:extLst>
            </p:cNvPr>
            <p:cNvSpPr>
              <a:spLocks/>
            </p:cNvSpPr>
            <p:nvPr/>
          </p:nvSpPr>
          <p:spPr bwMode="auto">
            <a:xfrm>
              <a:off x="3603625" y="258763"/>
              <a:ext cx="201613" cy="401638"/>
            </a:xfrm>
            <a:custGeom>
              <a:avLst/>
              <a:gdLst>
                <a:gd name="T0" fmla="*/ 1 w 127"/>
                <a:gd name="T1" fmla="*/ 0 h 253"/>
                <a:gd name="T2" fmla="*/ 27 w 127"/>
                <a:gd name="T3" fmla="*/ 2 h 253"/>
                <a:gd name="T4" fmla="*/ 51 w 127"/>
                <a:gd name="T5" fmla="*/ 10 h 253"/>
                <a:gd name="T6" fmla="*/ 71 w 127"/>
                <a:gd name="T7" fmla="*/ 21 h 253"/>
                <a:gd name="T8" fmla="*/ 90 w 127"/>
                <a:gd name="T9" fmla="*/ 37 h 253"/>
                <a:gd name="T10" fmla="*/ 106 w 127"/>
                <a:gd name="T11" fmla="*/ 55 h 253"/>
                <a:gd name="T12" fmla="*/ 117 w 127"/>
                <a:gd name="T13" fmla="*/ 78 h 253"/>
                <a:gd name="T14" fmla="*/ 125 w 127"/>
                <a:gd name="T15" fmla="*/ 101 h 253"/>
                <a:gd name="T16" fmla="*/ 127 w 127"/>
                <a:gd name="T17" fmla="*/ 126 h 253"/>
                <a:gd name="T18" fmla="*/ 127 w 127"/>
                <a:gd name="T19" fmla="*/ 139 h 253"/>
                <a:gd name="T20" fmla="*/ 122 w 127"/>
                <a:gd name="T21" fmla="*/ 163 h 253"/>
                <a:gd name="T22" fmla="*/ 112 w 127"/>
                <a:gd name="T23" fmla="*/ 186 h 253"/>
                <a:gd name="T24" fmla="*/ 99 w 127"/>
                <a:gd name="T25" fmla="*/ 206 h 253"/>
                <a:gd name="T26" fmla="*/ 90 w 127"/>
                <a:gd name="T27" fmla="*/ 216 h 253"/>
                <a:gd name="T28" fmla="*/ 71 w 127"/>
                <a:gd name="T29" fmla="*/ 232 h 253"/>
                <a:gd name="T30" fmla="*/ 49 w 127"/>
                <a:gd name="T31" fmla="*/ 243 h 253"/>
                <a:gd name="T32" fmla="*/ 26 w 127"/>
                <a:gd name="T33" fmla="*/ 250 h 253"/>
                <a:gd name="T34" fmla="*/ 1 w 127"/>
                <a:gd name="T35" fmla="*/ 253 h 253"/>
                <a:gd name="T36" fmla="*/ 0 w 127"/>
                <a:gd name="T37" fmla="*/ 253 h 253"/>
                <a:gd name="T38" fmla="*/ 1 w 127"/>
                <a:gd name="T39" fmla="*/ 235 h 253"/>
                <a:gd name="T40" fmla="*/ 1 w 127"/>
                <a:gd name="T41" fmla="*/ 235 h 253"/>
                <a:gd name="T42" fmla="*/ 22 w 127"/>
                <a:gd name="T43" fmla="*/ 234 h 253"/>
                <a:gd name="T44" fmla="*/ 43 w 127"/>
                <a:gd name="T45" fmla="*/ 228 h 253"/>
                <a:gd name="T46" fmla="*/ 62 w 127"/>
                <a:gd name="T47" fmla="*/ 217 h 253"/>
                <a:gd name="T48" fmla="*/ 79 w 127"/>
                <a:gd name="T49" fmla="*/ 203 h 253"/>
                <a:gd name="T50" fmla="*/ 86 w 127"/>
                <a:gd name="T51" fmla="*/ 196 h 253"/>
                <a:gd name="T52" fmla="*/ 97 w 127"/>
                <a:gd name="T53" fmla="*/ 177 h 253"/>
                <a:gd name="T54" fmla="*/ 106 w 127"/>
                <a:gd name="T55" fmla="*/ 158 h 253"/>
                <a:gd name="T56" fmla="*/ 110 w 127"/>
                <a:gd name="T57" fmla="*/ 137 h 253"/>
                <a:gd name="T58" fmla="*/ 111 w 127"/>
                <a:gd name="T59" fmla="*/ 126 h 253"/>
                <a:gd name="T60" fmla="*/ 108 w 127"/>
                <a:gd name="T61" fmla="*/ 105 h 253"/>
                <a:gd name="T62" fmla="*/ 102 w 127"/>
                <a:gd name="T63" fmla="*/ 84 h 253"/>
                <a:gd name="T64" fmla="*/ 92 w 127"/>
                <a:gd name="T65" fmla="*/ 65 h 253"/>
                <a:gd name="T66" fmla="*/ 79 w 127"/>
                <a:gd name="T67" fmla="*/ 49 h 253"/>
                <a:gd name="T68" fmla="*/ 63 w 127"/>
                <a:gd name="T69" fmla="*/ 36 h 253"/>
                <a:gd name="T70" fmla="*/ 43 w 127"/>
                <a:gd name="T71" fmla="*/ 25 h 253"/>
                <a:gd name="T72" fmla="*/ 23 w 127"/>
                <a:gd name="T73" fmla="*/ 18 h 253"/>
                <a:gd name="T74" fmla="*/ 1 w 127"/>
                <a:gd name="T75" fmla="*/ 16 h 253"/>
                <a:gd name="T76" fmla="*/ 1 w 127"/>
                <a:gd name="T77"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7" h="253">
                  <a:moveTo>
                    <a:pt x="1" y="0"/>
                  </a:moveTo>
                  <a:lnTo>
                    <a:pt x="1" y="0"/>
                  </a:lnTo>
                  <a:lnTo>
                    <a:pt x="14" y="0"/>
                  </a:lnTo>
                  <a:lnTo>
                    <a:pt x="27" y="2"/>
                  </a:lnTo>
                  <a:lnTo>
                    <a:pt x="38" y="5"/>
                  </a:lnTo>
                  <a:lnTo>
                    <a:pt x="51" y="10"/>
                  </a:lnTo>
                  <a:lnTo>
                    <a:pt x="62" y="15"/>
                  </a:lnTo>
                  <a:lnTo>
                    <a:pt x="71" y="21"/>
                  </a:lnTo>
                  <a:lnTo>
                    <a:pt x="81" y="28"/>
                  </a:lnTo>
                  <a:lnTo>
                    <a:pt x="90" y="37"/>
                  </a:lnTo>
                  <a:lnTo>
                    <a:pt x="99" y="45"/>
                  </a:lnTo>
                  <a:lnTo>
                    <a:pt x="106" y="55"/>
                  </a:lnTo>
                  <a:lnTo>
                    <a:pt x="112" y="66"/>
                  </a:lnTo>
                  <a:lnTo>
                    <a:pt x="117" y="78"/>
                  </a:lnTo>
                  <a:lnTo>
                    <a:pt x="122" y="89"/>
                  </a:lnTo>
                  <a:lnTo>
                    <a:pt x="125" y="101"/>
                  </a:lnTo>
                  <a:lnTo>
                    <a:pt x="127" y="113"/>
                  </a:lnTo>
                  <a:lnTo>
                    <a:pt x="127" y="126"/>
                  </a:lnTo>
                  <a:lnTo>
                    <a:pt x="127" y="126"/>
                  </a:lnTo>
                  <a:lnTo>
                    <a:pt x="127" y="139"/>
                  </a:lnTo>
                  <a:lnTo>
                    <a:pt x="125" y="152"/>
                  </a:lnTo>
                  <a:lnTo>
                    <a:pt x="122" y="163"/>
                  </a:lnTo>
                  <a:lnTo>
                    <a:pt x="118" y="175"/>
                  </a:lnTo>
                  <a:lnTo>
                    <a:pt x="112" y="186"/>
                  </a:lnTo>
                  <a:lnTo>
                    <a:pt x="106" y="196"/>
                  </a:lnTo>
                  <a:lnTo>
                    <a:pt x="99" y="206"/>
                  </a:lnTo>
                  <a:lnTo>
                    <a:pt x="90" y="216"/>
                  </a:lnTo>
                  <a:lnTo>
                    <a:pt x="90" y="216"/>
                  </a:lnTo>
                  <a:lnTo>
                    <a:pt x="81" y="224"/>
                  </a:lnTo>
                  <a:lnTo>
                    <a:pt x="71" y="232"/>
                  </a:lnTo>
                  <a:lnTo>
                    <a:pt x="60" y="238"/>
                  </a:lnTo>
                  <a:lnTo>
                    <a:pt x="49" y="243"/>
                  </a:lnTo>
                  <a:lnTo>
                    <a:pt x="38" y="248"/>
                  </a:lnTo>
                  <a:lnTo>
                    <a:pt x="26" y="250"/>
                  </a:lnTo>
                  <a:lnTo>
                    <a:pt x="14" y="253"/>
                  </a:lnTo>
                  <a:lnTo>
                    <a:pt x="1" y="253"/>
                  </a:lnTo>
                  <a:lnTo>
                    <a:pt x="1" y="253"/>
                  </a:lnTo>
                  <a:lnTo>
                    <a:pt x="0" y="253"/>
                  </a:lnTo>
                  <a:lnTo>
                    <a:pt x="1" y="235"/>
                  </a:lnTo>
                  <a:lnTo>
                    <a:pt x="1" y="235"/>
                  </a:lnTo>
                  <a:lnTo>
                    <a:pt x="1" y="235"/>
                  </a:lnTo>
                  <a:lnTo>
                    <a:pt x="1" y="235"/>
                  </a:lnTo>
                  <a:lnTo>
                    <a:pt x="12" y="235"/>
                  </a:lnTo>
                  <a:lnTo>
                    <a:pt x="22" y="234"/>
                  </a:lnTo>
                  <a:lnTo>
                    <a:pt x="33" y="232"/>
                  </a:lnTo>
                  <a:lnTo>
                    <a:pt x="43" y="228"/>
                  </a:lnTo>
                  <a:lnTo>
                    <a:pt x="53" y="223"/>
                  </a:lnTo>
                  <a:lnTo>
                    <a:pt x="62" y="217"/>
                  </a:lnTo>
                  <a:lnTo>
                    <a:pt x="70" y="211"/>
                  </a:lnTo>
                  <a:lnTo>
                    <a:pt x="79" y="203"/>
                  </a:lnTo>
                  <a:lnTo>
                    <a:pt x="79" y="203"/>
                  </a:lnTo>
                  <a:lnTo>
                    <a:pt x="86" y="196"/>
                  </a:lnTo>
                  <a:lnTo>
                    <a:pt x="92" y="187"/>
                  </a:lnTo>
                  <a:lnTo>
                    <a:pt x="97" y="177"/>
                  </a:lnTo>
                  <a:lnTo>
                    <a:pt x="102" y="168"/>
                  </a:lnTo>
                  <a:lnTo>
                    <a:pt x="106" y="158"/>
                  </a:lnTo>
                  <a:lnTo>
                    <a:pt x="108" y="148"/>
                  </a:lnTo>
                  <a:lnTo>
                    <a:pt x="110" y="137"/>
                  </a:lnTo>
                  <a:lnTo>
                    <a:pt x="111" y="126"/>
                  </a:lnTo>
                  <a:lnTo>
                    <a:pt x="111" y="126"/>
                  </a:lnTo>
                  <a:lnTo>
                    <a:pt x="110" y="115"/>
                  </a:lnTo>
                  <a:lnTo>
                    <a:pt x="108" y="105"/>
                  </a:lnTo>
                  <a:lnTo>
                    <a:pt x="106" y="94"/>
                  </a:lnTo>
                  <a:lnTo>
                    <a:pt x="102" y="84"/>
                  </a:lnTo>
                  <a:lnTo>
                    <a:pt x="97" y="74"/>
                  </a:lnTo>
                  <a:lnTo>
                    <a:pt x="92" y="65"/>
                  </a:lnTo>
                  <a:lnTo>
                    <a:pt x="85" y="57"/>
                  </a:lnTo>
                  <a:lnTo>
                    <a:pt x="79" y="49"/>
                  </a:lnTo>
                  <a:lnTo>
                    <a:pt x="70" y="42"/>
                  </a:lnTo>
                  <a:lnTo>
                    <a:pt x="63" y="36"/>
                  </a:lnTo>
                  <a:lnTo>
                    <a:pt x="53" y="29"/>
                  </a:lnTo>
                  <a:lnTo>
                    <a:pt x="43" y="25"/>
                  </a:lnTo>
                  <a:lnTo>
                    <a:pt x="33" y="21"/>
                  </a:lnTo>
                  <a:lnTo>
                    <a:pt x="23" y="18"/>
                  </a:lnTo>
                  <a:lnTo>
                    <a:pt x="12" y="17"/>
                  </a:lnTo>
                  <a:lnTo>
                    <a:pt x="1" y="16"/>
                  </a:lnTo>
                  <a:lnTo>
                    <a:pt x="1" y="0"/>
                  </a:lnTo>
                  <a:lnTo>
                    <a:pt x="1" y="0"/>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215">
              <a:extLst>
                <a:ext uri="{FF2B5EF4-FFF2-40B4-BE49-F238E27FC236}">
                  <a16:creationId xmlns:a16="http://schemas.microsoft.com/office/drawing/2014/main" id="{0A4B6726-C1CF-3857-F6D6-7C1DFDDE13BE}"/>
                </a:ext>
              </a:extLst>
            </p:cNvPr>
            <p:cNvSpPr>
              <a:spLocks/>
            </p:cNvSpPr>
            <p:nvPr/>
          </p:nvSpPr>
          <p:spPr bwMode="auto">
            <a:xfrm>
              <a:off x="3471863" y="323850"/>
              <a:ext cx="290513" cy="293688"/>
            </a:xfrm>
            <a:custGeom>
              <a:avLst/>
              <a:gdLst>
                <a:gd name="T0" fmla="*/ 72 w 183"/>
                <a:gd name="T1" fmla="*/ 162 h 185"/>
                <a:gd name="T2" fmla="*/ 74 w 183"/>
                <a:gd name="T3" fmla="*/ 144 h 185"/>
                <a:gd name="T4" fmla="*/ 79 w 183"/>
                <a:gd name="T5" fmla="*/ 128 h 185"/>
                <a:gd name="T6" fmla="*/ 88 w 183"/>
                <a:gd name="T7" fmla="*/ 113 h 185"/>
                <a:gd name="T8" fmla="*/ 98 w 183"/>
                <a:gd name="T9" fmla="*/ 99 h 185"/>
                <a:gd name="T10" fmla="*/ 111 w 183"/>
                <a:gd name="T11" fmla="*/ 88 h 185"/>
                <a:gd name="T12" fmla="*/ 126 w 183"/>
                <a:gd name="T13" fmla="*/ 81 h 185"/>
                <a:gd name="T14" fmla="*/ 143 w 183"/>
                <a:gd name="T15" fmla="*/ 75 h 185"/>
                <a:gd name="T16" fmla="*/ 161 w 183"/>
                <a:gd name="T17" fmla="*/ 74 h 185"/>
                <a:gd name="T18" fmla="*/ 172 w 183"/>
                <a:gd name="T19" fmla="*/ 75 h 185"/>
                <a:gd name="T20" fmla="*/ 183 w 183"/>
                <a:gd name="T21" fmla="*/ 76 h 185"/>
                <a:gd name="T22" fmla="*/ 180 w 183"/>
                <a:gd name="T23" fmla="*/ 59 h 185"/>
                <a:gd name="T24" fmla="*/ 174 w 183"/>
                <a:gd name="T25" fmla="*/ 43 h 185"/>
                <a:gd name="T26" fmla="*/ 166 w 183"/>
                <a:gd name="T27" fmla="*/ 28 h 185"/>
                <a:gd name="T28" fmla="*/ 154 w 183"/>
                <a:gd name="T29" fmla="*/ 14 h 185"/>
                <a:gd name="T30" fmla="*/ 145 w 183"/>
                <a:gd name="T31" fmla="*/ 7 h 185"/>
                <a:gd name="T32" fmla="*/ 135 w 183"/>
                <a:gd name="T33" fmla="*/ 0 h 185"/>
                <a:gd name="T34" fmla="*/ 134 w 183"/>
                <a:gd name="T35" fmla="*/ 4 h 185"/>
                <a:gd name="T36" fmla="*/ 134 w 183"/>
                <a:gd name="T37" fmla="*/ 25 h 185"/>
                <a:gd name="T38" fmla="*/ 113 w 183"/>
                <a:gd name="T39" fmla="*/ 30 h 185"/>
                <a:gd name="T40" fmla="*/ 103 w 183"/>
                <a:gd name="T41" fmla="*/ 14 h 185"/>
                <a:gd name="T42" fmla="*/ 98 w 183"/>
                <a:gd name="T43" fmla="*/ 9 h 185"/>
                <a:gd name="T44" fmla="*/ 90 w 183"/>
                <a:gd name="T45" fmla="*/ 11 h 185"/>
                <a:gd name="T46" fmla="*/ 61 w 183"/>
                <a:gd name="T47" fmla="*/ 28 h 185"/>
                <a:gd name="T48" fmla="*/ 57 w 183"/>
                <a:gd name="T49" fmla="*/ 33 h 185"/>
                <a:gd name="T50" fmla="*/ 58 w 183"/>
                <a:gd name="T51" fmla="*/ 39 h 185"/>
                <a:gd name="T52" fmla="*/ 68 w 183"/>
                <a:gd name="T53" fmla="*/ 58 h 185"/>
                <a:gd name="T54" fmla="*/ 53 w 183"/>
                <a:gd name="T55" fmla="*/ 72 h 185"/>
                <a:gd name="T56" fmla="*/ 36 w 183"/>
                <a:gd name="T57" fmla="*/ 62 h 185"/>
                <a:gd name="T58" fmla="*/ 30 w 183"/>
                <a:gd name="T59" fmla="*/ 62 h 185"/>
                <a:gd name="T60" fmla="*/ 25 w 183"/>
                <a:gd name="T61" fmla="*/ 66 h 185"/>
                <a:gd name="T62" fmla="*/ 8 w 183"/>
                <a:gd name="T63" fmla="*/ 96 h 185"/>
                <a:gd name="T64" fmla="*/ 6 w 183"/>
                <a:gd name="T65" fmla="*/ 102 h 185"/>
                <a:gd name="T66" fmla="*/ 10 w 183"/>
                <a:gd name="T67" fmla="*/ 107 h 185"/>
                <a:gd name="T68" fmla="*/ 29 w 183"/>
                <a:gd name="T69" fmla="*/ 118 h 185"/>
                <a:gd name="T70" fmla="*/ 23 w 183"/>
                <a:gd name="T71" fmla="*/ 139 h 185"/>
                <a:gd name="T72" fmla="*/ 3 w 183"/>
                <a:gd name="T73" fmla="*/ 139 h 185"/>
                <a:gd name="T74" fmla="*/ 0 w 183"/>
                <a:gd name="T75" fmla="*/ 139 h 185"/>
                <a:gd name="T76" fmla="*/ 14 w 183"/>
                <a:gd name="T77" fmla="*/ 156 h 185"/>
                <a:gd name="T78" fmla="*/ 32 w 183"/>
                <a:gd name="T79" fmla="*/ 170 h 185"/>
                <a:gd name="T80" fmla="*/ 52 w 183"/>
                <a:gd name="T81" fmla="*/ 180 h 185"/>
                <a:gd name="T82" fmla="*/ 76 w 183"/>
                <a:gd name="T83" fmla="*/ 185 h 185"/>
                <a:gd name="T84" fmla="*/ 73 w 183"/>
                <a:gd name="T85" fmla="*/ 173 h 185"/>
                <a:gd name="T86" fmla="*/ 72 w 183"/>
                <a:gd name="T87" fmla="*/ 16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3" h="185">
                  <a:moveTo>
                    <a:pt x="72" y="162"/>
                  </a:moveTo>
                  <a:lnTo>
                    <a:pt x="72" y="162"/>
                  </a:lnTo>
                  <a:lnTo>
                    <a:pt x="73" y="154"/>
                  </a:lnTo>
                  <a:lnTo>
                    <a:pt x="74" y="144"/>
                  </a:lnTo>
                  <a:lnTo>
                    <a:pt x="77" y="136"/>
                  </a:lnTo>
                  <a:lnTo>
                    <a:pt x="79" y="128"/>
                  </a:lnTo>
                  <a:lnTo>
                    <a:pt x="83" y="120"/>
                  </a:lnTo>
                  <a:lnTo>
                    <a:pt x="88" y="113"/>
                  </a:lnTo>
                  <a:lnTo>
                    <a:pt x="93" y="106"/>
                  </a:lnTo>
                  <a:lnTo>
                    <a:pt x="98" y="99"/>
                  </a:lnTo>
                  <a:lnTo>
                    <a:pt x="104" y="93"/>
                  </a:lnTo>
                  <a:lnTo>
                    <a:pt x="111" y="88"/>
                  </a:lnTo>
                  <a:lnTo>
                    <a:pt x="119" y="85"/>
                  </a:lnTo>
                  <a:lnTo>
                    <a:pt x="126" y="81"/>
                  </a:lnTo>
                  <a:lnTo>
                    <a:pt x="135" y="77"/>
                  </a:lnTo>
                  <a:lnTo>
                    <a:pt x="143" y="75"/>
                  </a:lnTo>
                  <a:lnTo>
                    <a:pt x="152" y="74"/>
                  </a:lnTo>
                  <a:lnTo>
                    <a:pt x="161" y="74"/>
                  </a:lnTo>
                  <a:lnTo>
                    <a:pt x="161" y="74"/>
                  </a:lnTo>
                  <a:lnTo>
                    <a:pt x="172" y="75"/>
                  </a:lnTo>
                  <a:lnTo>
                    <a:pt x="183" y="76"/>
                  </a:lnTo>
                  <a:lnTo>
                    <a:pt x="183" y="76"/>
                  </a:lnTo>
                  <a:lnTo>
                    <a:pt x="182" y="67"/>
                  </a:lnTo>
                  <a:lnTo>
                    <a:pt x="180" y="59"/>
                  </a:lnTo>
                  <a:lnTo>
                    <a:pt x="178" y="51"/>
                  </a:lnTo>
                  <a:lnTo>
                    <a:pt x="174" y="43"/>
                  </a:lnTo>
                  <a:lnTo>
                    <a:pt x="171" y="35"/>
                  </a:lnTo>
                  <a:lnTo>
                    <a:pt x="166" y="28"/>
                  </a:lnTo>
                  <a:lnTo>
                    <a:pt x="161" y="21"/>
                  </a:lnTo>
                  <a:lnTo>
                    <a:pt x="154" y="14"/>
                  </a:lnTo>
                  <a:lnTo>
                    <a:pt x="154" y="14"/>
                  </a:lnTo>
                  <a:lnTo>
                    <a:pt x="145" y="7"/>
                  </a:lnTo>
                  <a:lnTo>
                    <a:pt x="135" y="0"/>
                  </a:lnTo>
                  <a:lnTo>
                    <a:pt x="135" y="0"/>
                  </a:lnTo>
                  <a:lnTo>
                    <a:pt x="134" y="2"/>
                  </a:lnTo>
                  <a:lnTo>
                    <a:pt x="134" y="4"/>
                  </a:lnTo>
                  <a:lnTo>
                    <a:pt x="134" y="25"/>
                  </a:lnTo>
                  <a:lnTo>
                    <a:pt x="134" y="25"/>
                  </a:lnTo>
                  <a:lnTo>
                    <a:pt x="122" y="28"/>
                  </a:lnTo>
                  <a:lnTo>
                    <a:pt x="113" y="30"/>
                  </a:lnTo>
                  <a:lnTo>
                    <a:pt x="103" y="14"/>
                  </a:lnTo>
                  <a:lnTo>
                    <a:pt x="103" y="14"/>
                  </a:lnTo>
                  <a:lnTo>
                    <a:pt x="100" y="11"/>
                  </a:lnTo>
                  <a:lnTo>
                    <a:pt x="98" y="9"/>
                  </a:lnTo>
                  <a:lnTo>
                    <a:pt x="94" y="9"/>
                  </a:lnTo>
                  <a:lnTo>
                    <a:pt x="90" y="11"/>
                  </a:lnTo>
                  <a:lnTo>
                    <a:pt x="61" y="28"/>
                  </a:lnTo>
                  <a:lnTo>
                    <a:pt x="61" y="28"/>
                  </a:lnTo>
                  <a:lnTo>
                    <a:pt x="58" y="30"/>
                  </a:lnTo>
                  <a:lnTo>
                    <a:pt x="57" y="33"/>
                  </a:lnTo>
                  <a:lnTo>
                    <a:pt x="57" y="37"/>
                  </a:lnTo>
                  <a:lnTo>
                    <a:pt x="58" y="39"/>
                  </a:lnTo>
                  <a:lnTo>
                    <a:pt x="68" y="58"/>
                  </a:lnTo>
                  <a:lnTo>
                    <a:pt x="68" y="58"/>
                  </a:lnTo>
                  <a:lnTo>
                    <a:pt x="61" y="65"/>
                  </a:lnTo>
                  <a:lnTo>
                    <a:pt x="53" y="72"/>
                  </a:lnTo>
                  <a:lnTo>
                    <a:pt x="36" y="62"/>
                  </a:lnTo>
                  <a:lnTo>
                    <a:pt x="36" y="62"/>
                  </a:lnTo>
                  <a:lnTo>
                    <a:pt x="34" y="61"/>
                  </a:lnTo>
                  <a:lnTo>
                    <a:pt x="30" y="62"/>
                  </a:lnTo>
                  <a:lnTo>
                    <a:pt x="26" y="64"/>
                  </a:lnTo>
                  <a:lnTo>
                    <a:pt x="25" y="66"/>
                  </a:lnTo>
                  <a:lnTo>
                    <a:pt x="8" y="96"/>
                  </a:lnTo>
                  <a:lnTo>
                    <a:pt x="8" y="96"/>
                  </a:lnTo>
                  <a:lnTo>
                    <a:pt x="6" y="98"/>
                  </a:lnTo>
                  <a:lnTo>
                    <a:pt x="6" y="102"/>
                  </a:lnTo>
                  <a:lnTo>
                    <a:pt x="8" y="104"/>
                  </a:lnTo>
                  <a:lnTo>
                    <a:pt x="10" y="107"/>
                  </a:lnTo>
                  <a:lnTo>
                    <a:pt x="29" y="118"/>
                  </a:lnTo>
                  <a:lnTo>
                    <a:pt x="29" y="118"/>
                  </a:lnTo>
                  <a:lnTo>
                    <a:pt x="25" y="128"/>
                  </a:lnTo>
                  <a:lnTo>
                    <a:pt x="23" y="139"/>
                  </a:lnTo>
                  <a:lnTo>
                    <a:pt x="3" y="139"/>
                  </a:lnTo>
                  <a:lnTo>
                    <a:pt x="3" y="139"/>
                  </a:lnTo>
                  <a:lnTo>
                    <a:pt x="0" y="139"/>
                  </a:lnTo>
                  <a:lnTo>
                    <a:pt x="0" y="139"/>
                  </a:lnTo>
                  <a:lnTo>
                    <a:pt x="6" y="149"/>
                  </a:lnTo>
                  <a:lnTo>
                    <a:pt x="14" y="156"/>
                  </a:lnTo>
                  <a:lnTo>
                    <a:pt x="23" y="164"/>
                  </a:lnTo>
                  <a:lnTo>
                    <a:pt x="32" y="170"/>
                  </a:lnTo>
                  <a:lnTo>
                    <a:pt x="42" y="176"/>
                  </a:lnTo>
                  <a:lnTo>
                    <a:pt x="52" y="180"/>
                  </a:lnTo>
                  <a:lnTo>
                    <a:pt x="63" y="183"/>
                  </a:lnTo>
                  <a:lnTo>
                    <a:pt x="76" y="185"/>
                  </a:lnTo>
                  <a:lnTo>
                    <a:pt x="76" y="185"/>
                  </a:lnTo>
                  <a:lnTo>
                    <a:pt x="73" y="173"/>
                  </a:lnTo>
                  <a:lnTo>
                    <a:pt x="72" y="162"/>
                  </a:lnTo>
                  <a:lnTo>
                    <a:pt x="72" y="162"/>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16">
              <a:extLst>
                <a:ext uri="{FF2B5EF4-FFF2-40B4-BE49-F238E27FC236}">
                  <a16:creationId xmlns:a16="http://schemas.microsoft.com/office/drawing/2014/main" id="{234FD5B3-7C41-FB24-D805-F06AAF0356F8}"/>
                </a:ext>
              </a:extLst>
            </p:cNvPr>
            <p:cNvSpPr>
              <a:spLocks/>
            </p:cNvSpPr>
            <p:nvPr/>
          </p:nvSpPr>
          <p:spPr bwMode="auto">
            <a:xfrm>
              <a:off x="3471863" y="544513"/>
              <a:ext cx="120650" cy="73025"/>
            </a:xfrm>
            <a:custGeom>
              <a:avLst/>
              <a:gdLst>
                <a:gd name="T0" fmla="*/ 23 w 76"/>
                <a:gd name="T1" fmla="*/ 0 h 46"/>
                <a:gd name="T2" fmla="*/ 23 w 76"/>
                <a:gd name="T3" fmla="*/ 0 h 46"/>
                <a:gd name="T4" fmla="*/ 23 w 76"/>
                <a:gd name="T5" fmla="*/ 0 h 46"/>
                <a:gd name="T6" fmla="*/ 3 w 76"/>
                <a:gd name="T7" fmla="*/ 0 h 46"/>
                <a:gd name="T8" fmla="*/ 3 w 76"/>
                <a:gd name="T9" fmla="*/ 0 h 46"/>
                <a:gd name="T10" fmla="*/ 0 w 76"/>
                <a:gd name="T11" fmla="*/ 0 h 46"/>
                <a:gd name="T12" fmla="*/ 0 w 76"/>
                <a:gd name="T13" fmla="*/ 0 h 46"/>
                <a:gd name="T14" fmla="*/ 3 w 76"/>
                <a:gd name="T15" fmla="*/ 4 h 46"/>
                <a:gd name="T16" fmla="*/ 3 w 76"/>
                <a:gd name="T17" fmla="*/ 4 h 46"/>
                <a:gd name="T18" fmla="*/ 4 w 76"/>
                <a:gd name="T19" fmla="*/ 6 h 46"/>
                <a:gd name="T20" fmla="*/ 4 w 76"/>
                <a:gd name="T21" fmla="*/ 6 h 46"/>
                <a:gd name="T22" fmla="*/ 9 w 76"/>
                <a:gd name="T23" fmla="*/ 12 h 46"/>
                <a:gd name="T24" fmla="*/ 9 w 76"/>
                <a:gd name="T25" fmla="*/ 12 h 46"/>
                <a:gd name="T26" fmla="*/ 11 w 76"/>
                <a:gd name="T27" fmla="*/ 15 h 46"/>
                <a:gd name="T28" fmla="*/ 11 w 76"/>
                <a:gd name="T29" fmla="*/ 15 h 46"/>
                <a:gd name="T30" fmla="*/ 15 w 76"/>
                <a:gd name="T31" fmla="*/ 18 h 46"/>
                <a:gd name="T32" fmla="*/ 15 w 76"/>
                <a:gd name="T33" fmla="*/ 18 h 46"/>
                <a:gd name="T34" fmla="*/ 19 w 76"/>
                <a:gd name="T35" fmla="*/ 22 h 46"/>
                <a:gd name="T36" fmla="*/ 19 w 76"/>
                <a:gd name="T37" fmla="*/ 22 h 46"/>
                <a:gd name="T38" fmla="*/ 23 w 76"/>
                <a:gd name="T39" fmla="*/ 25 h 46"/>
                <a:gd name="T40" fmla="*/ 23 w 76"/>
                <a:gd name="T41" fmla="*/ 25 h 46"/>
                <a:gd name="T42" fmla="*/ 25 w 76"/>
                <a:gd name="T43" fmla="*/ 27 h 46"/>
                <a:gd name="T44" fmla="*/ 25 w 76"/>
                <a:gd name="T45" fmla="*/ 27 h 46"/>
                <a:gd name="T46" fmla="*/ 30 w 76"/>
                <a:gd name="T47" fmla="*/ 31 h 46"/>
                <a:gd name="T48" fmla="*/ 30 w 76"/>
                <a:gd name="T49" fmla="*/ 31 h 46"/>
                <a:gd name="T50" fmla="*/ 34 w 76"/>
                <a:gd name="T51" fmla="*/ 32 h 46"/>
                <a:gd name="T52" fmla="*/ 34 w 76"/>
                <a:gd name="T53" fmla="*/ 32 h 46"/>
                <a:gd name="T54" fmla="*/ 40 w 76"/>
                <a:gd name="T55" fmla="*/ 36 h 46"/>
                <a:gd name="T56" fmla="*/ 40 w 76"/>
                <a:gd name="T57" fmla="*/ 36 h 46"/>
                <a:gd name="T58" fmla="*/ 42 w 76"/>
                <a:gd name="T59" fmla="*/ 37 h 46"/>
                <a:gd name="T60" fmla="*/ 42 w 76"/>
                <a:gd name="T61" fmla="*/ 37 h 46"/>
                <a:gd name="T62" fmla="*/ 47 w 76"/>
                <a:gd name="T63" fmla="*/ 39 h 46"/>
                <a:gd name="T64" fmla="*/ 47 w 76"/>
                <a:gd name="T65" fmla="*/ 39 h 46"/>
                <a:gd name="T66" fmla="*/ 51 w 76"/>
                <a:gd name="T67" fmla="*/ 41 h 46"/>
                <a:gd name="T68" fmla="*/ 51 w 76"/>
                <a:gd name="T69" fmla="*/ 41 h 46"/>
                <a:gd name="T70" fmla="*/ 57 w 76"/>
                <a:gd name="T71" fmla="*/ 42 h 46"/>
                <a:gd name="T72" fmla="*/ 57 w 76"/>
                <a:gd name="T73" fmla="*/ 42 h 46"/>
                <a:gd name="T74" fmla="*/ 60 w 76"/>
                <a:gd name="T75" fmla="*/ 43 h 46"/>
                <a:gd name="T76" fmla="*/ 60 w 76"/>
                <a:gd name="T77" fmla="*/ 43 h 46"/>
                <a:gd name="T78" fmla="*/ 67 w 76"/>
                <a:gd name="T79" fmla="*/ 44 h 46"/>
                <a:gd name="T80" fmla="*/ 67 w 76"/>
                <a:gd name="T81" fmla="*/ 44 h 46"/>
                <a:gd name="T82" fmla="*/ 71 w 76"/>
                <a:gd name="T83" fmla="*/ 46 h 46"/>
                <a:gd name="T84" fmla="*/ 71 w 76"/>
                <a:gd name="T85" fmla="*/ 46 h 46"/>
                <a:gd name="T86" fmla="*/ 76 w 76"/>
                <a:gd name="T87" fmla="*/ 46 h 46"/>
                <a:gd name="T88" fmla="*/ 76 w 76"/>
                <a:gd name="T89" fmla="*/ 46 h 46"/>
                <a:gd name="T90" fmla="*/ 73 w 76"/>
                <a:gd name="T91" fmla="*/ 34 h 46"/>
                <a:gd name="T92" fmla="*/ 73 w 76"/>
                <a:gd name="T93" fmla="*/ 34 h 46"/>
                <a:gd name="T94" fmla="*/ 58 w 76"/>
                <a:gd name="T95" fmla="*/ 30 h 46"/>
                <a:gd name="T96" fmla="*/ 45 w 76"/>
                <a:gd name="T97" fmla="*/ 21 h 46"/>
                <a:gd name="T98" fmla="*/ 34 w 76"/>
                <a:gd name="T99" fmla="*/ 11 h 46"/>
                <a:gd name="T100" fmla="*/ 23 w 76"/>
                <a:gd name="T101" fmla="*/ 0 h 46"/>
                <a:gd name="T102" fmla="*/ 23 w 76"/>
                <a:gd name="T10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 h="46">
                  <a:moveTo>
                    <a:pt x="23" y="0"/>
                  </a:moveTo>
                  <a:lnTo>
                    <a:pt x="23" y="0"/>
                  </a:lnTo>
                  <a:lnTo>
                    <a:pt x="23" y="0"/>
                  </a:lnTo>
                  <a:lnTo>
                    <a:pt x="3" y="0"/>
                  </a:lnTo>
                  <a:lnTo>
                    <a:pt x="3" y="0"/>
                  </a:lnTo>
                  <a:lnTo>
                    <a:pt x="0" y="0"/>
                  </a:lnTo>
                  <a:lnTo>
                    <a:pt x="0" y="0"/>
                  </a:lnTo>
                  <a:lnTo>
                    <a:pt x="3" y="4"/>
                  </a:lnTo>
                  <a:lnTo>
                    <a:pt x="3" y="4"/>
                  </a:lnTo>
                  <a:lnTo>
                    <a:pt x="4" y="6"/>
                  </a:lnTo>
                  <a:lnTo>
                    <a:pt x="4" y="6"/>
                  </a:lnTo>
                  <a:lnTo>
                    <a:pt x="9" y="12"/>
                  </a:lnTo>
                  <a:lnTo>
                    <a:pt x="9" y="12"/>
                  </a:lnTo>
                  <a:lnTo>
                    <a:pt x="11" y="15"/>
                  </a:lnTo>
                  <a:lnTo>
                    <a:pt x="11" y="15"/>
                  </a:lnTo>
                  <a:lnTo>
                    <a:pt x="15" y="18"/>
                  </a:lnTo>
                  <a:lnTo>
                    <a:pt x="15" y="18"/>
                  </a:lnTo>
                  <a:lnTo>
                    <a:pt x="19" y="22"/>
                  </a:lnTo>
                  <a:lnTo>
                    <a:pt x="19" y="22"/>
                  </a:lnTo>
                  <a:lnTo>
                    <a:pt x="23" y="25"/>
                  </a:lnTo>
                  <a:lnTo>
                    <a:pt x="23" y="25"/>
                  </a:lnTo>
                  <a:lnTo>
                    <a:pt x="25" y="27"/>
                  </a:lnTo>
                  <a:lnTo>
                    <a:pt x="25" y="27"/>
                  </a:lnTo>
                  <a:lnTo>
                    <a:pt x="30" y="31"/>
                  </a:lnTo>
                  <a:lnTo>
                    <a:pt x="30" y="31"/>
                  </a:lnTo>
                  <a:lnTo>
                    <a:pt x="34" y="32"/>
                  </a:lnTo>
                  <a:lnTo>
                    <a:pt x="34" y="32"/>
                  </a:lnTo>
                  <a:lnTo>
                    <a:pt x="40" y="36"/>
                  </a:lnTo>
                  <a:lnTo>
                    <a:pt x="40" y="36"/>
                  </a:lnTo>
                  <a:lnTo>
                    <a:pt x="42" y="37"/>
                  </a:lnTo>
                  <a:lnTo>
                    <a:pt x="42" y="37"/>
                  </a:lnTo>
                  <a:lnTo>
                    <a:pt x="47" y="39"/>
                  </a:lnTo>
                  <a:lnTo>
                    <a:pt x="47" y="39"/>
                  </a:lnTo>
                  <a:lnTo>
                    <a:pt x="51" y="41"/>
                  </a:lnTo>
                  <a:lnTo>
                    <a:pt x="51" y="41"/>
                  </a:lnTo>
                  <a:lnTo>
                    <a:pt x="57" y="42"/>
                  </a:lnTo>
                  <a:lnTo>
                    <a:pt x="57" y="42"/>
                  </a:lnTo>
                  <a:lnTo>
                    <a:pt x="60" y="43"/>
                  </a:lnTo>
                  <a:lnTo>
                    <a:pt x="60" y="43"/>
                  </a:lnTo>
                  <a:lnTo>
                    <a:pt x="67" y="44"/>
                  </a:lnTo>
                  <a:lnTo>
                    <a:pt x="67" y="44"/>
                  </a:lnTo>
                  <a:lnTo>
                    <a:pt x="71" y="46"/>
                  </a:lnTo>
                  <a:lnTo>
                    <a:pt x="71" y="46"/>
                  </a:lnTo>
                  <a:lnTo>
                    <a:pt x="76" y="46"/>
                  </a:lnTo>
                  <a:lnTo>
                    <a:pt x="76" y="46"/>
                  </a:lnTo>
                  <a:lnTo>
                    <a:pt x="73" y="34"/>
                  </a:lnTo>
                  <a:lnTo>
                    <a:pt x="73" y="34"/>
                  </a:lnTo>
                  <a:lnTo>
                    <a:pt x="58" y="30"/>
                  </a:lnTo>
                  <a:lnTo>
                    <a:pt x="45" y="21"/>
                  </a:lnTo>
                  <a:lnTo>
                    <a:pt x="34" y="11"/>
                  </a:lnTo>
                  <a:lnTo>
                    <a:pt x="23" y="0"/>
                  </a:lnTo>
                  <a:lnTo>
                    <a:pt x="23"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630892077"/>
      </p:ext>
    </p:extLst>
  </p:cSld>
  <p:clrMapOvr>
    <a:overrideClrMapping bg1="lt1" tx1="dk1" bg2="lt2" tx2="dk2" accent1="accent1" accent2="accent2" accent3="accent3" accent4="accent4" accent5="accent5" accent6="accent6" hlink="hlink" folHlink="folHlink"/>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46E2FDE-BF7B-883C-1214-B89AF8AC25EC}"/>
              </a:ext>
            </a:extLst>
          </p:cNvPr>
          <p:cNvSpPr txBox="1">
            <a:spLocks/>
          </p:cNvSpPr>
          <p:nvPr/>
        </p:nvSpPr>
        <p:spPr>
          <a:xfrm>
            <a:off x="228600" y="176586"/>
            <a:ext cx="11124959" cy="6596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200" b="1" dirty="0">
                <a:latin typeface="Open Sans"/>
                <a:ea typeface="Open Sans"/>
                <a:cs typeface="Open Sans"/>
              </a:rPr>
              <a:t>Principali richieste di chiarimento delle Scuole (4/9)</a:t>
            </a:r>
            <a:endParaRPr lang="it-IT" sz="2000" b="1" i="1" dirty="0"/>
          </a:p>
        </p:txBody>
      </p:sp>
      <p:sp>
        <p:nvSpPr>
          <p:cNvPr id="63" name="Rectangle 27">
            <a:extLst>
              <a:ext uri="{FF2B5EF4-FFF2-40B4-BE49-F238E27FC236}">
                <a16:creationId xmlns:a16="http://schemas.microsoft.com/office/drawing/2014/main" id="{76E926A8-9B60-98BC-71CD-4E9DC2AA9CDA}"/>
              </a:ext>
            </a:extLst>
          </p:cNvPr>
          <p:cNvSpPr/>
          <p:nvPr/>
        </p:nvSpPr>
        <p:spPr>
          <a:xfrm>
            <a:off x="1234200" y="1360800"/>
            <a:ext cx="9723600" cy="896727"/>
          </a:xfrm>
          <a:prstGeom prst="rect">
            <a:avLst/>
          </a:prstGeom>
          <a:solidFill>
            <a:schemeClr val="bg1"/>
          </a:solidFill>
          <a:ln w="19050">
            <a:solidFill>
              <a:srgbClr val="A6DAE9"/>
            </a:solidFill>
          </a:ln>
        </p:spPr>
        <p:style>
          <a:lnRef idx="2">
            <a:schemeClr val="accent1">
              <a:shade val="50000"/>
            </a:schemeClr>
          </a:lnRef>
          <a:fillRef idx="1">
            <a:schemeClr val="accent1"/>
          </a:fillRef>
          <a:effectRef idx="0">
            <a:schemeClr val="accent1"/>
          </a:effectRef>
          <a:fontRef idx="minor">
            <a:schemeClr val="lt1"/>
          </a:fontRef>
        </p:style>
        <p:txBody>
          <a:bodyPr lIns="216000" tIns="108000" rIns="216000" bIns="108000" rtlCol="0" anchor="ctr"/>
          <a:lstStyle/>
          <a:p>
            <a:pPr marL="0" marR="0" lvl="0" indent="0" algn="ctr" defTabSz="914400" rtl="0" eaLnBrk="1" fontAlgn="auto" latinLnBrk="0" hangingPunct="1">
              <a:lnSpc>
                <a:spcPct val="120000"/>
              </a:lnSpc>
              <a:spcBef>
                <a:spcPts val="300"/>
              </a:spcBef>
              <a:spcAft>
                <a:spcPts val="300"/>
              </a:spcAft>
              <a:buClrTx/>
              <a:buSzTx/>
              <a:buFontTx/>
              <a:buNone/>
              <a:tabLst/>
              <a:defRPr/>
            </a:pPr>
            <a:r>
              <a:rPr kumimoji="0" lang="it-IT" sz="1600" b="1"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Cosa succede quando il numero di docenti formati non consente di rispettare il valore minimo del compenso?</a:t>
            </a:r>
          </a:p>
        </p:txBody>
      </p:sp>
      <p:sp>
        <p:nvSpPr>
          <p:cNvPr id="80" name="Triangolo isoscele 79">
            <a:extLst>
              <a:ext uri="{FF2B5EF4-FFF2-40B4-BE49-F238E27FC236}">
                <a16:creationId xmlns:a16="http://schemas.microsoft.com/office/drawing/2014/main" id="{E6550B41-BCCE-6997-D3E2-733B043F0847}"/>
              </a:ext>
            </a:extLst>
          </p:cNvPr>
          <p:cNvSpPr/>
          <p:nvPr/>
        </p:nvSpPr>
        <p:spPr>
          <a:xfrm rot="10800000">
            <a:off x="5167735" y="2410723"/>
            <a:ext cx="1856531" cy="517721"/>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1" name="Rectangle 27">
            <a:extLst>
              <a:ext uri="{FF2B5EF4-FFF2-40B4-BE49-F238E27FC236}">
                <a16:creationId xmlns:a16="http://schemas.microsoft.com/office/drawing/2014/main" id="{857BA48E-8023-9F58-DC20-7E6F63F21941}"/>
              </a:ext>
            </a:extLst>
          </p:cNvPr>
          <p:cNvSpPr/>
          <p:nvPr/>
        </p:nvSpPr>
        <p:spPr>
          <a:xfrm>
            <a:off x="1234200" y="3079876"/>
            <a:ext cx="9723600" cy="3100856"/>
          </a:xfrm>
          <a:prstGeom prst="rect">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lIns="216000" tIns="108000" rIns="216000" bIns="108000" rtlCol="0" anchor="ctr"/>
          <a:lstStyle/>
          <a:p>
            <a:pPr marL="0" marR="0" lvl="0" indent="0" algn="just" defTabSz="914400" rtl="0" eaLnBrk="1" fontAlgn="auto" latinLnBrk="0" hangingPunct="1">
              <a:lnSpc>
                <a:spcPct val="120000"/>
              </a:lnSpc>
              <a:spcBef>
                <a:spcPts val="300"/>
              </a:spcBef>
              <a:spcAft>
                <a:spcPts val="300"/>
              </a:spcAft>
              <a:buClrTx/>
              <a:buSzTx/>
              <a:buFontTx/>
              <a:buNone/>
              <a:tabLst/>
              <a:defRPr/>
            </a:pPr>
            <a:r>
              <a:rPr kumimoji="0" lang="it-IT" sz="1400" i="0" u="none" strike="noStrike" kern="1200" cap="none" spc="0" normalizeH="0" baseline="0" noProof="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 limiti finanziari in materia di compensi fissati dal </a:t>
            </a:r>
            <a:r>
              <a:rPr kumimoji="0" lang="it-IT" sz="1400" b="1" i="0" u="none" strike="noStrike" kern="1200" cap="none" spc="0" normalizeH="0" baseline="0" noProof="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creto n. 63 del 5 aprile 2023 </a:t>
            </a:r>
            <a:r>
              <a:rPr kumimoji="0" lang="it-IT" sz="1400" i="0" u="none" strike="noStrike" kern="1200" cap="none" spc="0" normalizeH="0" baseline="0" noProof="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el caso dei docenti tutor, il compenso minimo ammonta a 2.850) sono da considerarsi </a:t>
            </a:r>
            <a:r>
              <a:rPr kumimoji="0" lang="it-IT" sz="1400" b="1" i="0" u="none" strike="noStrike" kern="1200" cap="none" spc="0" normalizeH="0" baseline="0" noProof="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derogabili</a:t>
            </a:r>
            <a:r>
              <a:rPr kumimoji="0" lang="it-IT" sz="1400" i="0" u="none" strike="noStrike" kern="1200" cap="none" spc="0" normalizeH="0" baseline="0" noProof="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p>
          <a:p>
            <a:pPr marL="0" marR="0" lvl="0" indent="0" algn="just" defTabSz="914400" rtl="0" eaLnBrk="1" fontAlgn="auto" latinLnBrk="0" hangingPunct="1">
              <a:lnSpc>
                <a:spcPct val="120000"/>
              </a:lnSpc>
              <a:spcBef>
                <a:spcPts val="300"/>
              </a:spcBef>
              <a:spcAft>
                <a:spcPts val="300"/>
              </a:spcAft>
              <a:buClrTx/>
              <a:buSzTx/>
              <a:buFontTx/>
              <a:buNone/>
              <a:tabLst/>
              <a:defRPr/>
            </a:pP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l fine di individuare quali docenti nominare per ricoprire il ruolo di docenti tutor, è sempre possibile considerare i </a:t>
            </a:r>
            <a:r>
              <a:rPr lang="it-IT" sz="1400" b="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riteri </a:t>
            </a: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già previsti dall’</a:t>
            </a:r>
            <a:r>
              <a:rPr lang="it-IT" sz="1400" b="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rt. 5 del DM n. 63 del 5 aprile 2023 </a:t>
            </a: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er l’avvio alla formazione dei docenti: </a:t>
            </a:r>
          </a:p>
          <a:p>
            <a:pPr marL="285750" marR="0" lvl="0" indent="-285750" algn="just" defTabSz="914400" rtl="0" eaLnBrk="1" fontAlgn="auto" latinLnBrk="0" hangingPunct="1">
              <a:lnSpc>
                <a:spcPct val="120000"/>
              </a:lnSpc>
              <a:spcBef>
                <a:spcPts val="300"/>
              </a:spcBef>
              <a:spcAft>
                <a:spcPts val="300"/>
              </a:spcAft>
              <a:buClrTx/>
              <a:buSzTx/>
              <a:buFont typeface="Arial" panose="020B0604020202020204" pitchFamily="34" charset="0"/>
              <a:buChar char="•"/>
              <a:tabLst/>
              <a:defRPr/>
            </a:pPr>
            <a:r>
              <a:rPr kumimoji="0" lang="it-IT" sz="1400" i="0" u="none" strike="noStrike" kern="1200" cap="none" spc="0" normalizeH="0" baseline="0" noProof="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ssere in servizio con contratto a tempo indeterminato con almeno cinque anni di anzianità di servizio maturata con contratto a tempo indeterminato/determinato; </a:t>
            </a:r>
          </a:p>
          <a:p>
            <a:pPr marL="285750" marR="0" lvl="0" indent="-285750" algn="just" defTabSz="914400" rtl="0" eaLnBrk="1" fontAlgn="auto" latinLnBrk="0" hangingPunct="1">
              <a:lnSpc>
                <a:spcPct val="120000"/>
              </a:lnSpc>
              <a:spcBef>
                <a:spcPts val="300"/>
              </a:spcBef>
              <a:spcAft>
                <a:spcPts val="300"/>
              </a:spcAft>
              <a:buClrTx/>
              <a:buSzTx/>
              <a:buFont typeface="Arial" panose="020B0604020202020204" pitchFamily="34" charset="0"/>
              <a:buChar char="•"/>
              <a:tabLst/>
              <a:defRPr/>
            </a:pPr>
            <a:r>
              <a:rPr kumimoji="0" lang="it-IT" sz="1400" i="0" u="none" strike="noStrike" kern="1200" cap="none" spc="0" normalizeH="0" baseline="0" noProof="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ver svolto, in via prioritaria, compiti rientranti tra quelli attribuiti al tutor scolastico e all’orientatore (funzione strumentale ovvero referente per l’orientamento, per il contrasto alla dispersione scolastica, nell’ambito del PCTO, per l’inclusione e attività similari e connesse a tali tematiche); </a:t>
            </a:r>
          </a:p>
          <a:p>
            <a:pPr marL="285750" marR="0" lvl="0" indent="-285750" algn="just" defTabSz="914400" rtl="0" eaLnBrk="1" fontAlgn="auto" latinLnBrk="0" hangingPunct="1">
              <a:lnSpc>
                <a:spcPct val="120000"/>
              </a:lnSpc>
              <a:spcBef>
                <a:spcPts val="300"/>
              </a:spcBef>
              <a:spcAft>
                <a:spcPts val="300"/>
              </a:spcAft>
              <a:buClrTx/>
              <a:buSzTx/>
              <a:buFont typeface="Arial" panose="020B0604020202020204" pitchFamily="34" charset="0"/>
              <a:buChar char="•"/>
              <a:tabLst/>
              <a:defRPr/>
            </a:pPr>
            <a:r>
              <a:rPr kumimoji="0" lang="it-IT" sz="1400" i="0" u="none" strike="noStrike" kern="1200" cap="none" spc="0" normalizeH="0" baseline="0" noProof="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isponibilità ad assumere la funzione di tutor e di orientatore per almeno un triennio scolastico.</a:t>
            </a:r>
          </a:p>
        </p:txBody>
      </p:sp>
      <p:grpSp>
        <p:nvGrpSpPr>
          <p:cNvPr id="3" name="Group 891">
            <a:extLst>
              <a:ext uri="{FF2B5EF4-FFF2-40B4-BE49-F238E27FC236}">
                <a16:creationId xmlns:a16="http://schemas.microsoft.com/office/drawing/2014/main" id="{640600A0-E15A-AAD9-0075-6081B96B6D96}"/>
              </a:ext>
            </a:extLst>
          </p:cNvPr>
          <p:cNvGrpSpPr/>
          <p:nvPr/>
        </p:nvGrpSpPr>
        <p:grpSpPr>
          <a:xfrm>
            <a:off x="10749599" y="5519798"/>
            <a:ext cx="684000" cy="684000"/>
            <a:chOff x="3338513" y="1341438"/>
            <a:chExt cx="838200" cy="836612"/>
          </a:xfrm>
        </p:grpSpPr>
        <p:sp>
          <p:nvSpPr>
            <p:cNvPr id="4" name="Freeform 321">
              <a:extLst>
                <a:ext uri="{FF2B5EF4-FFF2-40B4-BE49-F238E27FC236}">
                  <a16:creationId xmlns:a16="http://schemas.microsoft.com/office/drawing/2014/main" id="{0428048E-A6BB-4562-F77B-DC5EBA2A85F1}"/>
                </a:ext>
              </a:extLst>
            </p:cNvPr>
            <p:cNvSpPr>
              <a:spLocks/>
            </p:cNvSpPr>
            <p:nvPr/>
          </p:nvSpPr>
          <p:spPr bwMode="auto">
            <a:xfrm>
              <a:off x="3338513" y="1341438"/>
              <a:ext cx="838200" cy="836612"/>
            </a:xfrm>
            <a:custGeom>
              <a:avLst/>
              <a:gdLst/>
              <a:ahLst/>
              <a:cxnLst>
                <a:cxn ang="0">
                  <a:pos x="4215" y="2273"/>
                </a:cxn>
                <a:cxn ang="0">
                  <a:pos x="4179" y="2535"/>
                </a:cxn>
                <a:cxn ang="0">
                  <a:pos x="4111" y="2787"/>
                </a:cxn>
                <a:cxn ang="0">
                  <a:pos x="4013" y="3025"/>
                </a:cxn>
                <a:cxn ang="0">
                  <a:pos x="3888" y="3247"/>
                </a:cxn>
                <a:cxn ang="0">
                  <a:pos x="3739" y="3452"/>
                </a:cxn>
                <a:cxn ang="0">
                  <a:pos x="3567" y="3638"/>
                </a:cxn>
                <a:cxn ang="0">
                  <a:pos x="3373" y="3800"/>
                </a:cxn>
                <a:cxn ang="0">
                  <a:pos x="3162" y="3940"/>
                </a:cxn>
                <a:cxn ang="0">
                  <a:pos x="2932" y="4054"/>
                </a:cxn>
                <a:cxn ang="0">
                  <a:pos x="2689" y="4140"/>
                </a:cxn>
                <a:cxn ang="0">
                  <a:pos x="2432" y="4196"/>
                </a:cxn>
                <a:cxn ang="0">
                  <a:pos x="2165" y="4220"/>
                </a:cxn>
                <a:cxn ang="0">
                  <a:pos x="1949" y="4213"/>
                </a:cxn>
                <a:cxn ang="0">
                  <a:pos x="1685" y="4177"/>
                </a:cxn>
                <a:cxn ang="0">
                  <a:pos x="1434" y="4109"/>
                </a:cxn>
                <a:cxn ang="0">
                  <a:pos x="1196" y="4011"/>
                </a:cxn>
                <a:cxn ang="0">
                  <a:pos x="973" y="3888"/>
                </a:cxn>
                <a:cxn ang="0">
                  <a:pos x="768" y="3738"/>
                </a:cxn>
                <a:cxn ang="0">
                  <a:pos x="583" y="3565"/>
                </a:cxn>
                <a:cxn ang="0">
                  <a:pos x="420" y="3373"/>
                </a:cxn>
                <a:cxn ang="0">
                  <a:pos x="279" y="3161"/>
                </a:cxn>
                <a:cxn ang="0">
                  <a:pos x="166" y="2931"/>
                </a:cxn>
                <a:cxn ang="0">
                  <a:pos x="81" y="2688"/>
                </a:cxn>
                <a:cxn ang="0">
                  <a:pos x="25" y="2431"/>
                </a:cxn>
                <a:cxn ang="0">
                  <a:pos x="1" y="2164"/>
                </a:cxn>
                <a:cxn ang="0">
                  <a:pos x="6" y="1948"/>
                </a:cxn>
                <a:cxn ang="0">
                  <a:pos x="43" y="1684"/>
                </a:cxn>
                <a:cxn ang="0">
                  <a:pos x="111" y="1433"/>
                </a:cxn>
                <a:cxn ang="0">
                  <a:pos x="208" y="1195"/>
                </a:cxn>
                <a:cxn ang="0">
                  <a:pos x="333" y="972"/>
                </a:cxn>
                <a:cxn ang="0">
                  <a:pos x="482" y="767"/>
                </a:cxn>
                <a:cxn ang="0">
                  <a:pos x="655" y="583"/>
                </a:cxn>
                <a:cxn ang="0">
                  <a:pos x="848" y="419"/>
                </a:cxn>
                <a:cxn ang="0">
                  <a:pos x="1061" y="280"/>
                </a:cxn>
                <a:cxn ang="0">
                  <a:pos x="1289" y="166"/>
                </a:cxn>
                <a:cxn ang="0">
                  <a:pos x="1532" y="80"/>
                </a:cxn>
                <a:cxn ang="0">
                  <a:pos x="1789" y="25"/>
                </a:cxn>
                <a:cxn ang="0">
                  <a:pos x="2056" y="1"/>
                </a:cxn>
                <a:cxn ang="0">
                  <a:pos x="2273" y="6"/>
                </a:cxn>
                <a:cxn ang="0">
                  <a:pos x="2536" y="43"/>
                </a:cxn>
                <a:cxn ang="0">
                  <a:pos x="2788" y="111"/>
                </a:cxn>
                <a:cxn ang="0">
                  <a:pos x="3026" y="208"/>
                </a:cxn>
                <a:cxn ang="0">
                  <a:pos x="3248" y="333"/>
                </a:cxn>
                <a:cxn ang="0">
                  <a:pos x="3453" y="482"/>
                </a:cxn>
                <a:cxn ang="0">
                  <a:pos x="3639" y="654"/>
                </a:cxn>
                <a:cxn ang="0">
                  <a:pos x="3802" y="848"/>
                </a:cxn>
                <a:cxn ang="0">
                  <a:pos x="3942" y="1060"/>
                </a:cxn>
                <a:cxn ang="0">
                  <a:pos x="4055" y="1289"/>
                </a:cxn>
                <a:cxn ang="0">
                  <a:pos x="4141" y="1533"/>
                </a:cxn>
                <a:cxn ang="0">
                  <a:pos x="4197" y="1788"/>
                </a:cxn>
                <a:cxn ang="0">
                  <a:pos x="4220" y="2055"/>
                </a:cxn>
              </a:cxnLst>
              <a:rect l="0" t="0" r="r" b="b"/>
              <a:pathLst>
                <a:path w="4221" h="4220">
                  <a:moveTo>
                    <a:pt x="4221" y="2110"/>
                  </a:moveTo>
                  <a:lnTo>
                    <a:pt x="4221" y="2110"/>
                  </a:lnTo>
                  <a:lnTo>
                    <a:pt x="4220" y="2164"/>
                  </a:lnTo>
                  <a:lnTo>
                    <a:pt x="4218" y="2219"/>
                  </a:lnTo>
                  <a:lnTo>
                    <a:pt x="4215" y="2273"/>
                  </a:lnTo>
                  <a:lnTo>
                    <a:pt x="4211" y="2326"/>
                  </a:lnTo>
                  <a:lnTo>
                    <a:pt x="4204" y="2379"/>
                  </a:lnTo>
                  <a:lnTo>
                    <a:pt x="4197" y="2431"/>
                  </a:lnTo>
                  <a:lnTo>
                    <a:pt x="4188" y="2484"/>
                  </a:lnTo>
                  <a:lnTo>
                    <a:pt x="4179" y="2535"/>
                  </a:lnTo>
                  <a:lnTo>
                    <a:pt x="4167" y="2587"/>
                  </a:lnTo>
                  <a:lnTo>
                    <a:pt x="4155" y="2637"/>
                  </a:lnTo>
                  <a:lnTo>
                    <a:pt x="4141" y="2688"/>
                  </a:lnTo>
                  <a:lnTo>
                    <a:pt x="4126" y="2737"/>
                  </a:lnTo>
                  <a:lnTo>
                    <a:pt x="4111" y="2787"/>
                  </a:lnTo>
                  <a:lnTo>
                    <a:pt x="4093" y="2835"/>
                  </a:lnTo>
                  <a:lnTo>
                    <a:pt x="4075" y="2883"/>
                  </a:lnTo>
                  <a:lnTo>
                    <a:pt x="4055" y="2931"/>
                  </a:lnTo>
                  <a:lnTo>
                    <a:pt x="4034" y="2978"/>
                  </a:lnTo>
                  <a:lnTo>
                    <a:pt x="4013" y="3025"/>
                  </a:lnTo>
                  <a:lnTo>
                    <a:pt x="3990" y="3071"/>
                  </a:lnTo>
                  <a:lnTo>
                    <a:pt x="3966" y="3115"/>
                  </a:lnTo>
                  <a:lnTo>
                    <a:pt x="3942" y="3161"/>
                  </a:lnTo>
                  <a:lnTo>
                    <a:pt x="3916" y="3204"/>
                  </a:lnTo>
                  <a:lnTo>
                    <a:pt x="3888" y="3247"/>
                  </a:lnTo>
                  <a:lnTo>
                    <a:pt x="3860" y="3289"/>
                  </a:lnTo>
                  <a:lnTo>
                    <a:pt x="3831" y="3332"/>
                  </a:lnTo>
                  <a:lnTo>
                    <a:pt x="3802" y="3373"/>
                  </a:lnTo>
                  <a:lnTo>
                    <a:pt x="3771" y="3413"/>
                  </a:lnTo>
                  <a:lnTo>
                    <a:pt x="3739" y="3452"/>
                  </a:lnTo>
                  <a:lnTo>
                    <a:pt x="3707" y="3490"/>
                  </a:lnTo>
                  <a:lnTo>
                    <a:pt x="3673" y="3528"/>
                  </a:lnTo>
                  <a:lnTo>
                    <a:pt x="3639" y="3565"/>
                  </a:lnTo>
                  <a:lnTo>
                    <a:pt x="3603" y="3601"/>
                  </a:lnTo>
                  <a:lnTo>
                    <a:pt x="3567" y="3638"/>
                  </a:lnTo>
                  <a:lnTo>
                    <a:pt x="3529" y="3672"/>
                  </a:lnTo>
                  <a:lnTo>
                    <a:pt x="3491" y="3706"/>
                  </a:lnTo>
                  <a:lnTo>
                    <a:pt x="3453" y="3738"/>
                  </a:lnTo>
                  <a:lnTo>
                    <a:pt x="3414" y="3769"/>
                  </a:lnTo>
                  <a:lnTo>
                    <a:pt x="3373" y="3800"/>
                  </a:lnTo>
                  <a:lnTo>
                    <a:pt x="3333" y="3830"/>
                  </a:lnTo>
                  <a:lnTo>
                    <a:pt x="3290" y="3859"/>
                  </a:lnTo>
                  <a:lnTo>
                    <a:pt x="3248" y="3888"/>
                  </a:lnTo>
                  <a:lnTo>
                    <a:pt x="3205" y="3915"/>
                  </a:lnTo>
                  <a:lnTo>
                    <a:pt x="3162" y="3940"/>
                  </a:lnTo>
                  <a:lnTo>
                    <a:pt x="3116" y="3965"/>
                  </a:lnTo>
                  <a:lnTo>
                    <a:pt x="3071" y="3989"/>
                  </a:lnTo>
                  <a:lnTo>
                    <a:pt x="3026" y="4011"/>
                  </a:lnTo>
                  <a:lnTo>
                    <a:pt x="2979" y="4033"/>
                  </a:lnTo>
                  <a:lnTo>
                    <a:pt x="2932" y="4054"/>
                  </a:lnTo>
                  <a:lnTo>
                    <a:pt x="2884" y="4073"/>
                  </a:lnTo>
                  <a:lnTo>
                    <a:pt x="2836" y="4092"/>
                  </a:lnTo>
                  <a:lnTo>
                    <a:pt x="2788" y="4109"/>
                  </a:lnTo>
                  <a:lnTo>
                    <a:pt x="2738" y="4125"/>
                  </a:lnTo>
                  <a:lnTo>
                    <a:pt x="2689" y="4140"/>
                  </a:lnTo>
                  <a:lnTo>
                    <a:pt x="2638" y="4154"/>
                  </a:lnTo>
                  <a:lnTo>
                    <a:pt x="2588" y="4166"/>
                  </a:lnTo>
                  <a:lnTo>
                    <a:pt x="2536" y="4177"/>
                  </a:lnTo>
                  <a:lnTo>
                    <a:pt x="2485" y="4187"/>
                  </a:lnTo>
                  <a:lnTo>
                    <a:pt x="2432" y="4196"/>
                  </a:lnTo>
                  <a:lnTo>
                    <a:pt x="2379" y="4203"/>
                  </a:lnTo>
                  <a:lnTo>
                    <a:pt x="2327" y="4209"/>
                  </a:lnTo>
                  <a:lnTo>
                    <a:pt x="2273" y="4213"/>
                  </a:lnTo>
                  <a:lnTo>
                    <a:pt x="2220" y="4218"/>
                  </a:lnTo>
                  <a:lnTo>
                    <a:pt x="2165" y="4220"/>
                  </a:lnTo>
                  <a:lnTo>
                    <a:pt x="2111" y="4220"/>
                  </a:lnTo>
                  <a:lnTo>
                    <a:pt x="2111" y="4220"/>
                  </a:lnTo>
                  <a:lnTo>
                    <a:pt x="2056" y="4220"/>
                  </a:lnTo>
                  <a:lnTo>
                    <a:pt x="2002" y="4218"/>
                  </a:lnTo>
                  <a:lnTo>
                    <a:pt x="1949" y="4213"/>
                  </a:lnTo>
                  <a:lnTo>
                    <a:pt x="1895" y="4209"/>
                  </a:lnTo>
                  <a:lnTo>
                    <a:pt x="1842" y="4203"/>
                  </a:lnTo>
                  <a:lnTo>
                    <a:pt x="1789" y="4196"/>
                  </a:lnTo>
                  <a:lnTo>
                    <a:pt x="1738" y="4187"/>
                  </a:lnTo>
                  <a:lnTo>
                    <a:pt x="1685" y="4177"/>
                  </a:lnTo>
                  <a:lnTo>
                    <a:pt x="1634" y="4166"/>
                  </a:lnTo>
                  <a:lnTo>
                    <a:pt x="1583" y="4154"/>
                  </a:lnTo>
                  <a:lnTo>
                    <a:pt x="1532" y="4140"/>
                  </a:lnTo>
                  <a:lnTo>
                    <a:pt x="1483" y="4125"/>
                  </a:lnTo>
                  <a:lnTo>
                    <a:pt x="1434" y="4109"/>
                  </a:lnTo>
                  <a:lnTo>
                    <a:pt x="1385" y="4092"/>
                  </a:lnTo>
                  <a:lnTo>
                    <a:pt x="1337" y="4073"/>
                  </a:lnTo>
                  <a:lnTo>
                    <a:pt x="1289" y="4054"/>
                  </a:lnTo>
                  <a:lnTo>
                    <a:pt x="1242" y="4033"/>
                  </a:lnTo>
                  <a:lnTo>
                    <a:pt x="1196" y="4011"/>
                  </a:lnTo>
                  <a:lnTo>
                    <a:pt x="1150" y="3989"/>
                  </a:lnTo>
                  <a:lnTo>
                    <a:pt x="1105" y="3965"/>
                  </a:lnTo>
                  <a:lnTo>
                    <a:pt x="1061" y="3940"/>
                  </a:lnTo>
                  <a:lnTo>
                    <a:pt x="1016" y="3915"/>
                  </a:lnTo>
                  <a:lnTo>
                    <a:pt x="973" y="3888"/>
                  </a:lnTo>
                  <a:lnTo>
                    <a:pt x="931" y="3859"/>
                  </a:lnTo>
                  <a:lnTo>
                    <a:pt x="889" y="3830"/>
                  </a:lnTo>
                  <a:lnTo>
                    <a:pt x="848" y="3800"/>
                  </a:lnTo>
                  <a:lnTo>
                    <a:pt x="808" y="3769"/>
                  </a:lnTo>
                  <a:lnTo>
                    <a:pt x="768" y="3738"/>
                  </a:lnTo>
                  <a:lnTo>
                    <a:pt x="730" y="3706"/>
                  </a:lnTo>
                  <a:lnTo>
                    <a:pt x="692" y="3672"/>
                  </a:lnTo>
                  <a:lnTo>
                    <a:pt x="655" y="3638"/>
                  </a:lnTo>
                  <a:lnTo>
                    <a:pt x="618" y="3601"/>
                  </a:lnTo>
                  <a:lnTo>
                    <a:pt x="583" y="3565"/>
                  </a:lnTo>
                  <a:lnTo>
                    <a:pt x="548" y="3528"/>
                  </a:lnTo>
                  <a:lnTo>
                    <a:pt x="515" y="3490"/>
                  </a:lnTo>
                  <a:lnTo>
                    <a:pt x="482" y="3452"/>
                  </a:lnTo>
                  <a:lnTo>
                    <a:pt x="451" y="3413"/>
                  </a:lnTo>
                  <a:lnTo>
                    <a:pt x="420" y="3373"/>
                  </a:lnTo>
                  <a:lnTo>
                    <a:pt x="390" y="3332"/>
                  </a:lnTo>
                  <a:lnTo>
                    <a:pt x="361" y="3289"/>
                  </a:lnTo>
                  <a:lnTo>
                    <a:pt x="333" y="3247"/>
                  </a:lnTo>
                  <a:lnTo>
                    <a:pt x="306" y="3204"/>
                  </a:lnTo>
                  <a:lnTo>
                    <a:pt x="279" y="3161"/>
                  </a:lnTo>
                  <a:lnTo>
                    <a:pt x="255" y="3115"/>
                  </a:lnTo>
                  <a:lnTo>
                    <a:pt x="231" y="3071"/>
                  </a:lnTo>
                  <a:lnTo>
                    <a:pt x="208" y="3025"/>
                  </a:lnTo>
                  <a:lnTo>
                    <a:pt x="187" y="2978"/>
                  </a:lnTo>
                  <a:lnTo>
                    <a:pt x="166" y="2931"/>
                  </a:lnTo>
                  <a:lnTo>
                    <a:pt x="147" y="2883"/>
                  </a:lnTo>
                  <a:lnTo>
                    <a:pt x="128" y="2835"/>
                  </a:lnTo>
                  <a:lnTo>
                    <a:pt x="111" y="2787"/>
                  </a:lnTo>
                  <a:lnTo>
                    <a:pt x="95" y="2737"/>
                  </a:lnTo>
                  <a:lnTo>
                    <a:pt x="81" y="2688"/>
                  </a:lnTo>
                  <a:lnTo>
                    <a:pt x="67" y="2637"/>
                  </a:lnTo>
                  <a:lnTo>
                    <a:pt x="55" y="2587"/>
                  </a:lnTo>
                  <a:lnTo>
                    <a:pt x="43" y="2535"/>
                  </a:lnTo>
                  <a:lnTo>
                    <a:pt x="33" y="2484"/>
                  </a:lnTo>
                  <a:lnTo>
                    <a:pt x="25" y="2431"/>
                  </a:lnTo>
                  <a:lnTo>
                    <a:pt x="18" y="2379"/>
                  </a:lnTo>
                  <a:lnTo>
                    <a:pt x="12" y="2326"/>
                  </a:lnTo>
                  <a:lnTo>
                    <a:pt x="6" y="2273"/>
                  </a:lnTo>
                  <a:lnTo>
                    <a:pt x="3" y="2219"/>
                  </a:lnTo>
                  <a:lnTo>
                    <a:pt x="1" y="2164"/>
                  </a:lnTo>
                  <a:lnTo>
                    <a:pt x="0" y="2110"/>
                  </a:lnTo>
                  <a:lnTo>
                    <a:pt x="0" y="2110"/>
                  </a:lnTo>
                  <a:lnTo>
                    <a:pt x="1" y="2055"/>
                  </a:lnTo>
                  <a:lnTo>
                    <a:pt x="3" y="2002"/>
                  </a:lnTo>
                  <a:lnTo>
                    <a:pt x="6" y="1948"/>
                  </a:lnTo>
                  <a:lnTo>
                    <a:pt x="12" y="1894"/>
                  </a:lnTo>
                  <a:lnTo>
                    <a:pt x="18" y="1841"/>
                  </a:lnTo>
                  <a:lnTo>
                    <a:pt x="25" y="1788"/>
                  </a:lnTo>
                  <a:lnTo>
                    <a:pt x="33" y="1737"/>
                  </a:lnTo>
                  <a:lnTo>
                    <a:pt x="43" y="1684"/>
                  </a:lnTo>
                  <a:lnTo>
                    <a:pt x="55" y="1634"/>
                  </a:lnTo>
                  <a:lnTo>
                    <a:pt x="67" y="1582"/>
                  </a:lnTo>
                  <a:lnTo>
                    <a:pt x="81" y="1533"/>
                  </a:lnTo>
                  <a:lnTo>
                    <a:pt x="95" y="1482"/>
                  </a:lnTo>
                  <a:lnTo>
                    <a:pt x="111" y="1433"/>
                  </a:lnTo>
                  <a:lnTo>
                    <a:pt x="128" y="1385"/>
                  </a:lnTo>
                  <a:lnTo>
                    <a:pt x="147" y="1336"/>
                  </a:lnTo>
                  <a:lnTo>
                    <a:pt x="166" y="1289"/>
                  </a:lnTo>
                  <a:lnTo>
                    <a:pt x="187" y="1241"/>
                  </a:lnTo>
                  <a:lnTo>
                    <a:pt x="208" y="1195"/>
                  </a:lnTo>
                  <a:lnTo>
                    <a:pt x="231" y="1150"/>
                  </a:lnTo>
                  <a:lnTo>
                    <a:pt x="255" y="1104"/>
                  </a:lnTo>
                  <a:lnTo>
                    <a:pt x="279" y="1060"/>
                  </a:lnTo>
                  <a:lnTo>
                    <a:pt x="306" y="1016"/>
                  </a:lnTo>
                  <a:lnTo>
                    <a:pt x="333" y="972"/>
                  </a:lnTo>
                  <a:lnTo>
                    <a:pt x="361" y="930"/>
                  </a:lnTo>
                  <a:lnTo>
                    <a:pt x="390" y="889"/>
                  </a:lnTo>
                  <a:lnTo>
                    <a:pt x="420" y="848"/>
                  </a:lnTo>
                  <a:lnTo>
                    <a:pt x="451" y="808"/>
                  </a:lnTo>
                  <a:lnTo>
                    <a:pt x="482" y="767"/>
                  </a:lnTo>
                  <a:lnTo>
                    <a:pt x="515" y="729"/>
                  </a:lnTo>
                  <a:lnTo>
                    <a:pt x="548" y="691"/>
                  </a:lnTo>
                  <a:lnTo>
                    <a:pt x="583" y="654"/>
                  </a:lnTo>
                  <a:lnTo>
                    <a:pt x="618" y="618"/>
                  </a:lnTo>
                  <a:lnTo>
                    <a:pt x="655" y="583"/>
                  </a:lnTo>
                  <a:lnTo>
                    <a:pt x="692" y="548"/>
                  </a:lnTo>
                  <a:lnTo>
                    <a:pt x="730" y="515"/>
                  </a:lnTo>
                  <a:lnTo>
                    <a:pt x="768" y="482"/>
                  </a:lnTo>
                  <a:lnTo>
                    <a:pt x="808" y="450"/>
                  </a:lnTo>
                  <a:lnTo>
                    <a:pt x="848" y="419"/>
                  </a:lnTo>
                  <a:lnTo>
                    <a:pt x="889" y="389"/>
                  </a:lnTo>
                  <a:lnTo>
                    <a:pt x="931" y="361"/>
                  </a:lnTo>
                  <a:lnTo>
                    <a:pt x="973" y="333"/>
                  </a:lnTo>
                  <a:lnTo>
                    <a:pt x="1016" y="306"/>
                  </a:lnTo>
                  <a:lnTo>
                    <a:pt x="1061" y="280"/>
                  </a:lnTo>
                  <a:lnTo>
                    <a:pt x="1105" y="254"/>
                  </a:lnTo>
                  <a:lnTo>
                    <a:pt x="1150" y="231"/>
                  </a:lnTo>
                  <a:lnTo>
                    <a:pt x="1196" y="208"/>
                  </a:lnTo>
                  <a:lnTo>
                    <a:pt x="1242" y="186"/>
                  </a:lnTo>
                  <a:lnTo>
                    <a:pt x="1289" y="166"/>
                  </a:lnTo>
                  <a:lnTo>
                    <a:pt x="1337" y="146"/>
                  </a:lnTo>
                  <a:lnTo>
                    <a:pt x="1385" y="128"/>
                  </a:lnTo>
                  <a:lnTo>
                    <a:pt x="1434" y="111"/>
                  </a:lnTo>
                  <a:lnTo>
                    <a:pt x="1483" y="95"/>
                  </a:lnTo>
                  <a:lnTo>
                    <a:pt x="1532" y="80"/>
                  </a:lnTo>
                  <a:lnTo>
                    <a:pt x="1583" y="67"/>
                  </a:lnTo>
                  <a:lnTo>
                    <a:pt x="1634" y="55"/>
                  </a:lnTo>
                  <a:lnTo>
                    <a:pt x="1685" y="43"/>
                  </a:lnTo>
                  <a:lnTo>
                    <a:pt x="1738" y="33"/>
                  </a:lnTo>
                  <a:lnTo>
                    <a:pt x="1789" y="25"/>
                  </a:lnTo>
                  <a:lnTo>
                    <a:pt x="1842" y="18"/>
                  </a:lnTo>
                  <a:lnTo>
                    <a:pt x="1895" y="11"/>
                  </a:lnTo>
                  <a:lnTo>
                    <a:pt x="1949" y="6"/>
                  </a:lnTo>
                  <a:lnTo>
                    <a:pt x="2002" y="3"/>
                  </a:lnTo>
                  <a:lnTo>
                    <a:pt x="2056" y="1"/>
                  </a:lnTo>
                  <a:lnTo>
                    <a:pt x="2111" y="0"/>
                  </a:lnTo>
                  <a:lnTo>
                    <a:pt x="2111" y="0"/>
                  </a:lnTo>
                  <a:lnTo>
                    <a:pt x="2165" y="1"/>
                  </a:lnTo>
                  <a:lnTo>
                    <a:pt x="2220" y="3"/>
                  </a:lnTo>
                  <a:lnTo>
                    <a:pt x="2273" y="6"/>
                  </a:lnTo>
                  <a:lnTo>
                    <a:pt x="2327" y="11"/>
                  </a:lnTo>
                  <a:lnTo>
                    <a:pt x="2379" y="18"/>
                  </a:lnTo>
                  <a:lnTo>
                    <a:pt x="2432" y="25"/>
                  </a:lnTo>
                  <a:lnTo>
                    <a:pt x="2485" y="33"/>
                  </a:lnTo>
                  <a:lnTo>
                    <a:pt x="2536" y="43"/>
                  </a:lnTo>
                  <a:lnTo>
                    <a:pt x="2588" y="55"/>
                  </a:lnTo>
                  <a:lnTo>
                    <a:pt x="2638" y="67"/>
                  </a:lnTo>
                  <a:lnTo>
                    <a:pt x="2689" y="80"/>
                  </a:lnTo>
                  <a:lnTo>
                    <a:pt x="2738" y="95"/>
                  </a:lnTo>
                  <a:lnTo>
                    <a:pt x="2788" y="111"/>
                  </a:lnTo>
                  <a:lnTo>
                    <a:pt x="2836" y="128"/>
                  </a:lnTo>
                  <a:lnTo>
                    <a:pt x="2884" y="146"/>
                  </a:lnTo>
                  <a:lnTo>
                    <a:pt x="2932" y="166"/>
                  </a:lnTo>
                  <a:lnTo>
                    <a:pt x="2979" y="186"/>
                  </a:lnTo>
                  <a:lnTo>
                    <a:pt x="3026" y="208"/>
                  </a:lnTo>
                  <a:lnTo>
                    <a:pt x="3071" y="231"/>
                  </a:lnTo>
                  <a:lnTo>
                    <a:pt x="3116" y="254"/>
                  </a:lnTo>
                  <a:lnTo>
                    <a:pt x="3162" y="280"/>
                  </a:lnTo>
                  <a:lnTo>
                    <a:pt x="3205" y="306"/>
                  </a:lnTo>
                  <a:lnTo>
                    <a:pt x="3248" y="333"/>
                  </a:lnTo>
                  <a:lnTo>
                    <a:pt x="3290" y="361"/>
                  </a:lnTo>
                  <a:lnTo>
                    <a:pt x="3333" y="389"/>
                  </a:lnTo>
                  <a:lnTo>
                    <a:pt x="3373" y="419"/>
                  </a:lnTo>
                  <a:lnTo>
                    <a:pt x="3414" y="450"/>
                  </a:lnTo>
                  <a:lnTo>
                    <a:pt x="3453" y="482"/>
                  </a:lnTo>
                  <a:lnTo>
                    <a:pt x="3491" y="515"/>
                  </a:lnTo>
                  <a:lnTo>
                    <a:pt x="3529" y="548"/>
                  </a:lnTo>
                  <a:lnTo>
                    <a:pt x="3567" y="583"/>
                  </a:lnTo>
                  <a:lnTo>
                    <a:pt x="3603" y="618"/>
                  </a:lnTo>
                  <a:lnTo>
                    <a:pt x="3639" y="654"/>
                  </a:lnTo>
                  <a:lnTo>
                    <a:pt x="3673" y="691"/>
                  </a:lnTo>
                  <a:lnTo>
                    <a:pt x="3707" y="729"/>
                  </a:lnTo>
                  <a:lnTo>
                    <a:pt x="3739" y="767"/>
                  </a:lnTo>
                  <a:lnTo>
                    <a:pt x="3771" y="808"/>
                  </a:lnTo>
                  <a:lnTo>
                    <a:pt x="3802" y="848"/>
                  </a:lnTo>
                  <a:lnTo>
                    <a:pt x="3831" y="889"/>
                  </a:lnTo>
                  <a:lnTo>
                    <a:pt x="3860" y="930"/>
                  </a:lnTo>
                  <a:lnTo>
                    <a:pt x="3888" y="972"/>
                  </a:lnTo>
                  <a:lnTo>
                    <a:pt x="3916" y="1016"/>
                  </a:lnTo>
                  <a:lnTo>
                    <a:pt x="3942" y="1060"/>
                  </a:lnTo>
                  <a:lnTo>
                    <a:pt x="3966" y="1104"/>
                  </a:lnTo>
                  <a:lnTo>
                    <a:pt x="3990" y="1150"/>
                  </a:lnTo>
                  <a:lnTo>
                    <a:pt x="4013" y="1195"/>
                  </a:lnTo>
                  <a:lnTo>
                    <a:pt x="4034" y="1241"/>
                  </a:lnTo>
                  <a:lnTo>
                    <a:pt x="4055" y="1289"/>
                  </a:lnTo>
                  <a:lnTo>
                    <a:pt x="4075" y="1336"/>
                  </a:lnTo>
                  <a:lnTo>
                    <a:pt x="4093" y="1385"/>
                  </a:lnTo>
                  <a:lnTo>
                    <a:pt x="4111" y="1433"/>
                  </a:lnTo>
                  <a:lnTo>
                    <a:pt x="4126" y="1482"/>
                  </a:lnTo>
                  <a:lnTo>
                    <a:pt x="4141" y="1533"/>
                  </a:lnTo>
                  <a:lnTo>
                    <a:pt x="4155" y="1582"/>
                  </a:lnTo>
                  <a:lnTo>
                    <a:pt x="4167" y="1634"/>
                  </a:lnTo>
                  <a:lnTo>
                    <a:pt x="4179" y="1684"/>
                  </a:lnTo>
                  <a:lnTo>
                    <a:pt x="4188" y="1737"/>
                  </a:lnTo>
                  <a:lnTo>
                    <a:pt x="4197" y="1788"/>
                  </a:lnTo>
                  <a:lnTo>
                    <a:pt x="4204" y="1841"/>
                  </a:lnTo>
                  <a:lnTo>
                    <a:pt x="4211" y="1894"/>
                  </a:lnTo>
                  <a:lnTo>
                    <a:pt x="4215" y="1948"/>
                  </a:lnTo>
                  <a:lnTo>
                    <a:pt x="4218" y="2002"/>
                  </a:lnTo>
                  <a:lnTo>
                    <a:pt x="4220" y="2055"/>
                  </a:lnTo>
                  <a:lnTo>
                    <a:pt x="4221" y="2110"/>
                  </a:lnTo>
                  <a:close/>
                </a:path>
              </a:pathLst>
            </a:custGeom>
            <a:solidFill>
              <a:srgbClr val="4CC5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322">
              <a:extLst>
                <a:ext uri="{FF2B5EF4-FFF2-40B4-BE49-F238E27FC236}">
                  <a16:creationId xmlns:a16="http://schemas.microsoft.com/office/drawing/2014/main" id="{DB5643EE-7178-A3EA-C851-BE5AA4B50160}"/>
                </a:ext>
              </a:extLst>
            </p:cNvPr>
            <p:cNvSpPr>
              <a:spLocks/>
            </p:cNvSpPr>
            <p:nvPr/>
          </p:nvSpPr>
          <p:spPr bwMode="auto">
            <a:xfrm>
              <a:off x="3338513" y="1341438"/>
              <a:ext cx="838200" cy="836612"/>
            </a:xfrm>
            <a:custGeom>
              <a:avLst/>
              <a:gdLst/>
              <a:ahLst/>
              <a:cxnLst>
                <a:cxn ang="0">
                  <a:pos x="4215" y="2273"/>
                </a:cxn>
                <a:cxn ang="0">
                  <a:pos x="4179" y="2535"/>
                </a:cxn>
                <a:cxn ang="0">
                  <a:pos x="4111" y="2787"/>
                </a:cxn>
                <a:cxn ang="0">
                  <a:pos x="4013" y="3025"/>
                </a:cxn>
                <a:cxn ang="0">
                  <a:pos x="3888" y="3247"/>
                </a:cxn>
                <a:cxn ang="0">
                  <a:pos x="3739" y="3452"/>
                </a:cxn>
                <a:cxn ang="0">
                  <a:pos x="3567" y="3638"/>
                </a:cxn>
                <a:cxn ang="0">
                  <a:pos x="3373" y="3800"/>
                </a:cxn>
                <a:cxn ang="0">
                  <a:pos x="3162" y="3940"/>
                </a:cxn>
                <a:cxn ang="0">
                  <a:pos x="2932" y="4054"/>
                </a:cxn>
                <a:cxn ang="0">
                  <a:pos x="2689" y="4140"/>
                </a:cxn>
                <a:cxn ang="0">
                  <a:pos x="2432" y="4196"/>
                </a:cxn>
                <a:cxn ang="0">
                  <a:pos x="2165" y="4220"/>
                </a:cxn>
                <a:cxn ang="0">
                  <a:pos x="1949" y="4213"/>
                </a:cxn>
                <a:cxn ang="0">
                  <a:pos x="1685" y="4177"/>
                </a:cxn>
                <a:cxn ang="0">
                  <a:pos x="1434" y="4109"/>
                </a:cxn>
                <a:cxn ang="0">
                  <a:pos x="1196" y="4011"/>
                </a:cxn>
                <a:cxn ang="0">
                  <a:pos x="973" y="3888"/>
                </a:cxn>
                <a:cxn ang="0">
                  <a:pos x="768" y="3738"/>
                </a:cxn>
                <a:cxn ang="0">
                  <a:pos x="583" y="3565"/>
                </a:cxn>
                <a:cxn ang="0">
                  <a:pos x="420" y="3373"/>
                </a:cxn>
                <a:cxn ang="0">
                  <a:pos x="279" y="3161"/>
                </a:cxn>
                <a:cxn ang="0">
                  <a:pos x="166" y="2931"/>
                </a:cxn>
                <a:cxn ang="0">
                  <a:pos x="81" y="2688"/>
                </a:cxn>
                <a:cxn ang="0">
                  <a:pos x="25" y="2431"/>
                </a:cxn>
                <a:cxn ang="0">
                  <a:pos x="1" y="2164"/>
                </a:cxn>
                <a:cxn ang="0">
                  <a:pos x="6" y="1948"/>
                </a:cxn>
                <a:cxn ang="0">
                  <a:pos x="43" y="1684"/>
                </a:cxn>
                <a:cxn ang="0">
                  <a:pos x="111" y="1433"/>
                </a:cxn>
                <a:cxn ang="0">
                  <a:pos x="208" y="1195"/>
                </a:cxn>
                <a:cxn ang="0">
                  <a:pos x="333" y="972"/>
                </a:cxn>
                <a:cxn ang="0">
                  <a:pos x="482" y="767"/>
                </a:cxn>
                <a:cxn ang="0">
                  <a:pos x="655" y="583"/>
                </a:cxn>
                <a:cxn ang="0">
                  <a:pos x="848" y="419"/>
                </a:cxn>
                <a:cxn ang="0">
                  <a:pos x="1061" y="280"/>
                </a:cxn>
                <a:cxn ang="0">
                  <a:pos x="1289" y="166"/>
                </a:cxn>
                <a:cxn ang="0">
                  <a:pos x="1532" y="80"/>
                </a:cxn>
                <a:cxn ang="0">
                  <a:pos x="1789" y="25"/>
                </a:cxn>
                <a:cxn ang="0">
                  <a:pos x="2056" y="1"/>
                </a:cxn>
                <a:cxn ang="0">
                  <a:pos x="2273" y="6"/>
                </a:cxn>
                <a:cxn ang="0">
                  <a:pos x="2536" y="43"/>
                </a:cxn>
                <a:cxn ang="0">
                  <a:pos x="2788" y="111"/>
                </a:cxn>
                <a:cxn ang="0">
                  <a:pos x="3026" y="208"/>
                </a:cxn>
                <a:cxn ang="0">
                  <a:pos x="3248" y="333"/>
                </a:cxn>
                <a:cxn ang="0">
                  <a:pos x="3453" y="482"/>
                </a:cxn>
                <a:cxn ang="0">
                  <a:pos x="3639" y="654"/>
                </a:cxn>
                <a:cxn ang="0">
                  <a:pos x="3802" y="848"/>
                </a:cxn>
                <a:cxn ang="0">
                  <a:pos x="3942" y="1060"/>
                </a:cxn>
                <a:cxn ang="0">
                  <a:pos x="4055" y="1289"/>
                </a:cxn>
                <a:cxn ang="0">
                  <a:pos x="4141" y="1533"/>
                </a:cxn>
                <a:cxn ang="0">
                  <a:pos x="4197" y="1788"/>
                </a:cxn>
                <a:cxn ang="0">
                  <a:pos x="4220" y="2055"/>
                </a:cxn>
              </a:cxnLst>
              <a:rect l="0" t="0" r="r" b="b"/>
              <a:pathLst>
                <a:path w="4221" h="4220">
                  <a:moveTo>
                    <a:pt x="4221" y="2110"/>
                  </a:moveTo>
                  <a:lnTo>
                    <a:pt x="4221" y="2110"/>
                  </a:lnTo>
                  <a:lnTo>
                    <a:pt x="4220" y="2164"/>
                  </a:lnTo>
                  <a:lnTo>
                    <a:pt x="4218" y="2219"/>
                  </a:lnTo>
                  <a:lnTo>
                    <a:pt x="4215" y="2273"/>
                  </a:lnTo>
                  <a:lnTo>
                    <a:pt x="4211" y="2326"/>
                  </a:lnTo>
                  <a:lnTo>
                    <a:pt x="4204" y="2379"/>
                  </a:lnTo>
                  <a:lnTo>
                    <a:pt x="4197" y="2431"/>
                  </a:lnTo>
                  <a:lnTo>
                    <a:pt x="4188" y="2484"/>
                  </a:lnTo>
                  <a:lnTo>
                    <a:pt x="4179" y="2535"/>
                  </a:lnTo>
                  <a:lnTo>
                    <a:pt x="4167" y="2587"/>
                  </a:lnTo>
                  <a:lnTo>
                    <a:pt x="4155" y="2637"/>
                  </a:lnTo>
                  <a:lnTo>
                    <a:pt x="4141" y="2688"/>
                  </a:lnTo>
                  <a:lnTo>
                    <a:pt x="4126" y="2737"/>
                  </a:lnTo>
                  <a:lnTo>
                    <a:pt x="4111" y="2787"/>
                  </a:lnTo>
                  <a:lnTo>
                    <a:pt x="4093" y="2835"/>
                  </a:lnTo>
                  <a:lnTo>
                    <a:pt x="4075" y="2883"/>
                  </a:lnTo>
                  <a:lnTo>
                    <a:pt x="4055" y="2931"/>
                  </a:lnTo>
                  <a:lnTo>
                    <a:pt x="4034" y="2978"/>
                  </a:lnTo>
                  <a:lnTo>
                    <a:pt x="4013" y="3025"/>
                  </a:lnTo>
                  <a:lnTo>
                    <a:pt x="3990" y="3071"/>
                  </a:lnTo>
                  <a:lnTo>
                    <a:pt x="3966" y="3115"/>
                  </a:lnTo>
                  <a:lnTo>
                    <a:pt x="3942" y="3161"/>
                  </a:lnTo>
                  <a:lnTo>
                    <a:pt x="3916" y="3204"/>
                  </a:lnTo>
                  <a:lnTo>
                    <a:pt x="3888" y="3247"/>
                  </a:lnTo>
                  <a:lnTo>
                    <a:pt x="3860" y="3289"/>
                  </a:lnTo>
                  <a:lnTo>
                    <a:pt x="3831" y="3332"/>
                  </a:lnTo>
                  <a:lnTo>
                    <a:pt x="3802" y="3373"/>
                  </a:lnTo>
                  <a:lnTo>
                    <a:pt x="3771" y="3413"/>
                  </a:lnTo>
                  <a:lnTo>
                    <a:pt x="3739" y="3452"/>
                  </a:lnTo>
                  <a:lnTo>
                    <a:pt x="3707" y="3490"/>
                  </a:lnTo>
                  <a:lnTo>
                    <a:pt x="3673" y="3528"/>
                  </a:lnTo>
                  <a:lnTo>
                    <a:pt x="3639" y="3565"/>
                  </a:lnTo>
                  <a:lnTo>
                    <a:pt x="3603" y="3601"/>
                  </a:lnTo>
                  <a:lnTo>
                    <a:pt x="3567" y="3638"/>
                  </a:lnTo>
                  <a:lnTo>
                    <a:pt x="3529" y="3672"/>
                  </a:lnTo>
                  <a:lnTo>
                    <a:pt x="3491" y="3706"/>
                  </a:lnTo>
                  <a:lnTo>
                    <a:pt x="3453" y="3738"/>
                  </a:lnTo>
                  <a:lnTo>
                    <a:pt x="3414" y="3769"/>
                  </a:lnTo>
                  <a:lnTo>
                    <a:pt x="3373" y="3800"/>
                  </a:lnTo>
                  <a:lnTo>
                    <a:pt x="3333" y="3830"/>
                  </a:lnTo>
                  <a:lnTo>
                    <a:pt x="3290" y="3859"/>
                  </a:lnTo>
                  <a:lnTo>
                    <a:pt x="3248" y="3888"/>
                  </a:lnTo>
                  <a:lnTo>
                    <a:pt x="3205" y="3915"/>
                  </a:lnTo>
                  <a:lnTo>
                    <a:pt x="3162" y="3940"/>
                  </a:lnTo>
                  <a:lnTo>
                    <a:pt x="3116" y="3965"/>
                  </a:lnTo>
                  <a:lnTo>
                    <a:pt x="3071" y="3989"/>
                  </a:lnTo>
                  <a:lnTo>
                    <a:pt x="3026" y="4011"/>
                  </a:lnTo>
                  <a:lnTo>
                    <a:pt x="2979" y="4033"/>
                  </a:lnTo>
                  <a:lnTo>
                    <a:pt x="2932" y="4054"/>
                  </a:lnTo>
                  <a:lnTo>
                    <a:pt x="2884" y="4073"/>
                  </a:lnTo>
                  <a:lnTo>
                    <a:pt x="2836" y="4092"/>
                  </a:lnTo>
                  <a:lnTo>
                    <a:pt x="2788" y="4109"/>
                  </a:lnTo>
                  <a:lnTo>
                    <a:pt x="2738" y="4125"/>
                  </a:lnTo>
                  <a:lnTo>
                    <a:pt x="2689" y="4140"/>
                  </a:lnTo>
                  <a:lnTo>
                    <a:pt x="2638" y="4154"/>
                  </a:lnTo>
                  <a:lnTo>
                    <a:pt x="2588" y="4166"/>
                  </a:lnTo>
                  <a:lnTo>
                    <a:pt x="2536" y="4177"/>
                  </a:lnTo>
                  <a:lnTo>
                    <a:pt x="2485" y="4187"/>
                  </a:lnTo>
                  <a:lnTo>
                    <a:pt x="2432" y="4196"/>
                  </a:lnTo>
                  <a:lnTo>
                    <a:pt x="2379" y="4203"/>
                  </a:lnTo>
                  <a:lnTo>
                    <a:pt x="2327" y="4209"/>
                  </a:lnTo>
                  <a:lnTo>
                    <a:pt x="2273" y="4213"/>
                  </a:lnTo>
                  <a:lnTo>
                    <a:pt x="2220" y="4218"/>
                  </a:lnTo>
                  <a:lnTo>
                    <a:pt x="2165" y="4220"/>
                  </a:lnTo>
                  <a:lnTo>
                    <a:pt x="2111" y="4220"/>
                  </a:lnTo>
                  <a:lnTo>
                    <a:pt x="2111" y="4220"/>
                  </a:lnTo>
                  <a:lnTo>
                    <a:pt x="2056" y="4220"/>
                  </a:lnTo>
                  <a:lnTo>
                    <a:pt x="2002" y="4218"/>
                  </a:lnTo>
                  <a:lnTo>
                    <a:pt x="1949" y="4213"/>
                  </a:lnTo>
                  <a:lnTo>
                    <a:pt x="1895" y="4209"/>
                  </a:lnTo>
                  <a:lnTo>
                    <a:pt x="1842" y="4203"/>
                  </a:lnTo>
                  <a:lnTo>
                    <a:pt x="1789" y="4196"/>
                  </a:lnTo>
                  <a:lnTo>
                    <a:pt x="1738" y="4187"/>
                  </a:lnTo>
                  <a:lnTo>
                    <a:pt x="1685" y="4177"/>
                  </a:lnTo>
                  <a:lnTo>
                    <a:pt x="1634" y="4166"/>
                  </a:lnTo>
                  <a:lnTo>
                    <a:pt x="1583" y="4154"/>
                  </a:lnTo>
                  <a:lnTo>
                    <a:pt x="1532" y="4140"/>
                  </a:lnTo>
                  <a:lnTo>
                    <a:pt x="1483" y="4125"/>
                  </a:lnTo>
                  <a:lnTo>
                    <a:pt x="1434" y="4109"/>
                  </a:lnTo>
                  <a:lnTo>
                    <a:pt x="1385" y="4092"/>
                  </a:lnTo>
                  <a:lnTo>
                    <a:pt x="1337" y="4073"/>
                  </a:lnTo>
                  <a:lnTo>
                    <a:pt x="1289" y="4054"/>
                  </a:lnTo>
                  <a:lnTo>
                    <a:pt x="1242" y="4033"/>
                  </a:lnTo>
                  <a:lnTo>
                    <a:pt x="1196" y="4011"/>
                  </a:lnTo>
                  <a:lnTo>
                    <a:pt x="1150" y="3989"/>
                  </a:lnTo>
                  <a:lnTo>
                    <a:pt x="1105" y="3965"/>
                  </a:lnTo>
                  <a:lnTo>
                    <a:pt x="1061" y="3940"/>
                  </a:lnTo>
                  <a:lnTo>
                    <a:pt x="1016" y="3915"/>
                  </a:lnTo>
                  <a:lnTo>
                    <a:pt x="973" y="3888"/>
                  </a:lnTo>
                  <a:lnTo>
                    <a:pt x="931" y="3859"/>
                  </a:lnTo>
                  <a:lnTo>
                    <a:pt x="889" y="3830"/>
                  </a:lnTo>
                  <a:lnTo>
                    <a:pt x="848" y="3800"/>
                  </a:lnTo>
                  <a:lnTo>
                    <a:pt x="808" y="3769"/>
                  </a:lnTo>
                  <a:lnTo>
                    <a:pt x="768" y="3738"/>
                  </a:lnTo>
                  <a:lnTo>
                    <a:pt x="730" y="3706"/>
                  </a:lnTo>
                  <a:lnTo>
                    <a:pt x="692" y="3672"/>
                  </a:lnTo>
                  <a:lnTo>
                    <a:pt x="655" y="3638"/>
                  </a:lnTo>
                  <a:lnTo>
                    <a:pt x="618" y="3601"/>
                  </a:lnTo>
                  <a:lnTo>
                    <a:pt x="583" y="3565"/>
                  </a:lnTo>
                  <a:lnTo>
                    <a:pt x="548" y="3528"/>
                  </a:lnTo>
                  <a:lnTo>
                    <a:pt x="515" y="3490"/>
                  </a:lnTo>
                  <a:lnTo>
                    <a:pt x="482" y="3452"/>
                  </a:lnTo>
                  <a:lnTo>
                    <a:pt x="451" y="3413"/>
                  </a:lnTo>
                  <a:lnTo>
                    <a:pt x="420" y="3373"/>
                  </a:lnTo>
                  <a:lnTo>
                    <a:pt x="390" y="3332"/>
                  </a:lnTo>
                  <a:lnTo>
                    <a:pt x="361" y="3289"/>
                  </a:lnTo>
                  <a:lnTo>
                    <a:pt x="333" y="3247"/>
                  </a:lnTo>
                  <a:lnTo>
                    <a:pt x="306" y="3204"/>
                  </a:lnTo>
                  <a:lnTo>
                    <a:pt x="279" y="3161"/>
                  </a:lnTo>
                  <a:lnTo>
                    <a:pt x="255" y="3115"/>
                  </a:lnTo>
                  <a:lnTo>
                    <a:pt x="231" y="3071"/>
                  </a:lnTo>
                  <a:lnTo>
                    <a:pt x="208" y="3025"/>
                  </a:lnTo>
                  <a:lnTo>
                    <a:pt x="187" y="2978"/>
                  </a:lnTo>
                  <a:lnTo>
                    <a:pt x="166" y="2931"/>
                  </a:lnTo>
                  <a:lnTo>
                    <a:pt x="147" y="2883"/>
                  </a:lnTo>
                  <a:lnTo>
                    <a:pt x="128" y="2835"/>
                  </a:lnTo>
                  <a:lnTo>
                    <a:pt x="111" y="2787"/>
                  </a:lnTo>
                  <a:lnTo>
                    <a:pt x="95" y="2737"/>
                  </a:lnTo>
                  <a:lnTo>
                    <a:pt x="81" y="2688"/>
                  </a:lnTo>
                  <a:lnTo>
                    <a:pt x="67" y="2637"/>
                  </a:lnTo>
                  <a:lnTo>
                    <a:pt x="55" y="2587"/>
                  </a:lnTo>
                  <a:lnTo>
                    <a:pt x="43" y="2535"/>
                  </a:lnTo>
                  <a:lnTo>
                    <a:pt x="33" y="2484"/>
                  </a:lnTo>
                  <a:lnTo>
                    <a:pt x="25" y="2431"/>
                  </a:lnTo>
                  <a:lnTo>
                    <a:pt x="18" y="2379"/>
                  </a:lnTo>
                  <a:lnTo>
                    <a:pt x="12" y="2326"/>
                  </a:lnTo>
                  <a:lnTo>
                    <a:pt x="6" y="2273"/>
                  </a:lnTo>
                  <a:lnTo>
                    <a:pt x="3" y="2219"/>
                  </a:lnTo>
                  <a:lnTo>
                    <a:pt x="1" y="2164"/>
                  </a:lnTo>
                  <a:lnTo>
                    <a:pt x="0" y="2110"/>
                  </a:lnTo>
                  <a:lnTo>
                    <a:pt x="0" y="2110"/>
                  </a:lnTo>
                  <a:lnTo>
                    <a:pt x="1" y="2055"/>
                  </a:lnTo>
                  <a:lnTo>
                    <a:pt x="3" y="2002"/>
                  </a:lnTo>
                  <a:lnTo>
                    <a:pt x="6" y="1948"/>
                  </a:lnTo>
                  <a:lnTo>
                    <a:pt x="12" y="1894"/>
                  </a:lnTo>
                  <a:lnTo>
                    <a:pt x="18" y="1841"/>
                  </a:lnTo>
                  <a:lnTo>
                    <a:pt x="25" y="1788"/>
                  </a:lnTo>
                  <a:lnTo>
                    <a:pt x="33" y="1737"/>
                  </a:lnTo>
                  <a:lnTo>
                    <a:pt x="43" y="1684"/>
                  </a:lnTo>
                  <a:lnTo>
                    <a:pt x="55" y="1634"/>
                  </a:lnTo>
                  <a:lnTo>
                    <a:pt x="67" y="1582"/>
                  </a:lnTo>
                  <a:lnTo>
                    <a:pt x="81" y="1533"/>
                  </a:lnTo>
                  <a:lnTo>
                    <a:pt x="95" y="1482"/>
                  </a:lnTo>
                  <a:lnTo>
                    <a:pt x="111" y="1433"/>
                  </a:lnTo>
                  <a:lnTo>
                    <a:pt x="128" y="1385"/>
                  </a:lnTo>
                  <a:lnTo>
                    <a:pt x="147" y="1336"/>
                  </a:lnTo>
                  <a:lnTo>
                    <a:pt x="166" y="1289"/>
                  </a:lnTo>
                  <a:lnTo>
                    <a:pt x="187" y="1241"/>
                  </a:lnTo>
                  <a:lnTo>
                    <a:pt x="208" y="1195"/>
                  </a:lnTo>
                  <a:lnTo>
                    <a:pt x="231" y="1150"/>
                  </a:lnTo>
                  <a:lnTo>
                    <a:pt x="255" y="1104"/>
                  </a:lnTo>
                  <a:lnTo>
                    <a:pt x="279" y="1060"/>
                  </a:lnTo>
                  <a:lnTo>
                    <a:pt x="306" y="1016"/>
                  </a:lnTo>
                  <a:lnTo>
                    <a:pt x="333" y="972"/>
                  </a:lnTo>
                  <a:lnTo>
                    <a:pt x="361" y="930"/>
                  </a:lnTo>
                  <a:lnTo>
                    <a:pt x="390" y="889"/>
                  </a:lnTo>
                  <a:lnTo>
                    <a:pt x="420" y="848"/>
                  </a:lnTo>
                  <a:lnTo>
                    <a:pt x="451" y="808"/>
                  </a:lnTo>
                  <a:lnTo>
                    <a:pt x="482" y="767"/>
                  </a:lnTo>
                  <a:lnTo>
                    <a:pt x="515" y="729"/>
                  </a:lnTo>
                  <a:lnTo>
                    <a:pt x="548" y="691"/>
                  </a:lnTo>
                  <a:lnTo>
                    <a:pt x="583" y="654"/>
                  </a:lnTo>
                  <a:lnTo>
                    <a:pt x="618" y="618"/>
                  </a:lnTo>
                  <a:lnTo>
                    <a:pt x="655" y="583"/>
                  </a:lnTo>
                  <a:lnTo>
                    <a:pt x="692" y="548"/>
                  </a:lnTo>
                  <a:lnTo>
                    <a:pt x="730" y="515"/>
                  </a:lnTo>
                  <a:lnTo>
                    <a:pt x="768" y="482"/>
                  </a:lnTo>
                  <a:lnTo>
                    <a:pt x="808" y="450"/>
                  </a:lnTo>
                  <a:lnTo>
                    <a:pt x="848" y="419"/>
                  </a:lnTo>
                  <a:lnTo>
                    <a:pt x="889" y="389"/>
                  </a:lnTo>
                  <a:lnTo>
                    <a:pt x="931" y="361"/>
                  </a:lnTo>
                  <a:lnTo>
                    <a:pt x="973" y="333"/>
                  </a:lnTo>
                  <a:lnTo>
                    <a:pt x="1016" y="306"/>
                  </a:lnTo>
                  <a:lnTo>
                    <a:pt x="1061" y="280"/>
                  </a:lnTo>
                  <a:lnTo>
                    <a:pt x="1105" y="254"/>
                  </a:lnTo>
                  <a:lnTo>
                    <a:pt x="1150" y="231"/>
                  </a:lnTo>
                  <a:lnTo>
                    <a:pt x="1196" y="208"/>
                  </a:lnTo>
                  <a:lnTo>
                    <a:pt x="1242" y="186"/>
                  </a:lnTo>
                  <a:lnTo>
                    <a:pt x="1289" y="166"/>
                  </a:lnTo>
                  <a:lnTo>
                    <a:pt x="1337" y="146"/>
                  </a:lnTo>
                  <a:lnTo>
                    <a:pt x="1385" y="128"/>
                  </a:lnTo>
                  <a:lnTo>
                    <a:pt x="1434" y="111"/>
                  </a:lnTo>
                  <a:lnTo>
                    <a:pt x="1483" y="95"/>
                  </a:lnTo>
                  <a:lnTo>
                    <a:pt x="1532" y="80"/>
                  </a:lnTo>
                  <a:lnTo>
                    <a:pt x="1583" y="67"/>
                  </a:lnTo>
                  <a:lnTo>
                    <a:pt x="1634" y="55"/>
                  </a:lnTo>
                  <a:lnTo>
                    <a:pt x="1685" y="43"/>
                  </a:lnTo>
                  <a:lnTo>
                    <a:pt x="1738" y="33"/>
                  </a:lnTo>
                  <a:lnTo>
                    <a:pt x="1789" y="25"/>
                  </a:lnTo>
                  <a:lnTo>
                    <a:pt x="1842" y="18"/>
                  </a:lnTo>
                  <a:lnTo>
                    <a:pt x="1895" y="11"/>
                  </a:lnTo>
                  <a:lnTo>
                    <a:pt x="1949" y="6"/>
                  </a:lnTo>
                  <a:lnTo>
                    <a:pt x="2002" y="3"/>
                  </a:lnTo>
                  <a:lnTo>
                    <a:pt x="2056" y="1"/>
                  </a:lnTo>
                  <a:lnTo>
                    <a:pt x="2111" y="0"/>
                  </a:lnTo>
                  <a:lnTo>
                    <a:pt x="2111" y="0"/>
                  </a:lnTo>
                  <a:lnTo>
                    <a:pt x="2165" y="1"/>
                  </a:lnTo>
                  <a:lnTo>
                    <a:pt x="2220" y="3"/>
                  </a:lnTo>
                  <a:lnTo>
                    <a:pt x="2273" y="6"/>
                  </a:lnTo>
                  <a:lnTo>
                    <a:pt x="2327" y="11"/>
                  </a:lnTo>
                  <a:lnTo>
                    <a:pt x="2379" y="18"/>
                  </a:lnTo>
                  <a:lnTo>
                    <a:pt x="2432" y="25"/>
                  </a:lnTo>
                  <a:lnTo>
                    <a:pt x="2485" y="33"/>
                  </a:lnTo>
                  <a:lnTo>
                    <a:pt x="2536" y="43"/>
                  </a:lnTo>
                  <a:lnTo>
                    <a:pt x="2588" y="55"/>
                  </a:lnTo>
                  <a:lnTo>
                    <a:pt x="2638" y="67"/>
                  </a:lnTo>
                  <a:lnTo>
                    <a:pt x="2689" y="80"/>
                  </a:lnTo>
                  <a:lnTo>
                    <a:pt x="2738" y="95"/>
                  </a:lnTo>
                  <a:lnTo>
                    <a:pt x="2788" y="111"/>
                  </a:lnTo>
                  <a:lnTo>
                    <a:pt x="2836" y="128"/>
                  </a:lnTo>
                  <a:lnTo>
                    <a:pt x="2884" y="146"/>
                  </a:lnTo>
                  <a:lnTo>
                    <a:pt x="2932" y="166"/>
                  </a:lnTo>
                  <a:lnTo>
                    <a:pt x="2979" y="186"/>
                  </a:lnTo>
                  <a:lnTo>
                    <a:pt x="3026" y="208"/>
                  </a:lnTo>
                  <a:lnTo>
                    <a:pt x="3071" y="231"/>
                  </a:lnTo>
                  <a:lnTo>
                    <a:pt x="3116" y="254"/>
                  </a:lnTo>
                  <a:lnTo>
                    <a:pt x="3162" y="280"/>
                  </a:lnTo>
                  <a:lnTo>
                    <a:pt x="3205" y="306"/>
                  </a:lnTo>
                  <a:lnTo>
                    <a:pt x="3248" y="333"/>
                  </a:lnTo>
                  <a:lnTo>
                    <a:pt x="3290" y="361"/>
                  </a:lnTo>
                  <a:lnTo>
                    <a:pt x="3333" y="389"/>
                  </a:lnTo>
                  <a:lnTo>
                    <a:pt x="3373" y="419"/>
                  </a:lnTo>
                  <a:lnTo>
                    <a:pt x="3414" y="450"/>
                  </a:lnTo>
                  <a:lnTo>
                    <a:pt x="3453" y="482"/>
                  </a:lnTo>
                  <a:lnTo>
                    <a:pt x="3491" y="515"/>
                  </a:lnTo>
                  <a:lnTo>
                    <a:pt x="3529" y="548"/>
                  </a:lnTo>
                  <a:lnTo>
                    <a:pt x="3567" y="583"/>
                  </a:lnTo>
                  <a:lnTo>
                    <a:pt x="3603" y="618"/>
                  </a:lnTo>
                  <a:lnTo>
                    <a:pt x="3639" y="654"/>
                  </a:lnTo>
                  <a:lnTo>
                    <a:pt x="3673" y="691"/>
                  </a:lnTo>
                  <a:lnTo>
                    <a:pt x="3707" y="729"/>
                  </a:lnTo>
                  <a:lnTo>
                    <a:pt x="3739" y="767"/>
                  </a:lnTo>
                  <a:lnTo>
                    <a:pt x="3771" y="808"/>
                  </a:lnTo>
                  <a:lnTo>
                    <a:pt x="3802" y="848"/>
                  </a:lnTo>
                  <a:lnTo>
                    <a:pt x="3831" y="889"/>
                  </a:lnTo>
                  <a:lnTo>
                    <a:pt x="3860" y="930"/>
                  </a:lnTo>
                  <a:lnTo>
                    <a:pt x="3888" y="972"/>
                  </a:lnTo>
                  <a:lnTo>
                    <a:pt x="3916" y="1016"/>
                  </a:lnTo>
                  <a:lnTo>
                    <a:pt x="3942" y="1060"/>
                  </a:lnTo>
                  <a:lnTo>
                    <a:pt x="3966" y="1104"/>
                  </a:lnTo>
                  <a:lnTo>
                    <a:pt x="3990" y="1150"/>
                  </a:lnTo>
                  <a:lnTo>
                    <a:pt x="4013" y="1195"/>
                  </a:lnTo>
                  <a:lnTo>
                    <a:pt x="4034" y="1241"/>
                  </a:lnTo>
                  <a:lnTo>
                    <a:pt x="4055" y="1289"/>
                  </a:lnTo>
                  <a:lnTo>
                    <a:pt x="4075" y="1336"/>
                  </a:lnTo>
                  <a:lnTo>
                    <a:pt x="4093" y="1385"/>
                  </a:lnTo>
                  <a:lnTo>
                    <a:pt x="4111" y="1433"/>
                  </a:lnTo>
                  <a:lnTo>
                    <a:pt x="4126" y="1482"/>
                  </a:lnTo>
                  <a:lnTo>
                    <a:pt x="4141" y="1533"/>
                  </a:lnTo>
                  <a:lnTo>
                    <a:pt x="4155" y="1582"/>
                  </a:lnTo>
                  <a:lnTo>
                    <a:pt x="4167" y="1634"/>
                  </a:lnTo>
                  <a:lnTo>
                    <a:pt x="4179" y="1684"/>
                  </a:lnTo>
                  <a:lnTo>
                    <a:pt x="4188" y="1737"/>
                  </a:lnTo>
                  <a:lnTo>
                    <a:pt x="4197" y="1788"/>
                  </a:lnTo>
                  <a:lnTo>
                    <a:pt x="4204" y="1841"/>
                  </a:lnTo>
                  <a:lnTo>
                    <a:pt x="4211" y="1894"/>
                  </a:lnTo>
                  <a:lnTo>
                    <a:pt x="4215" y="1948"/>
                  </a:lnTo>
                  <a:lnTo>
                    <a:pt x="4218" y="2002"/>
                  </a:lnTo>
                  <a:lnTo>
                    <a:pt x="4220" y="2055"/>
                  </a:lnTo>
                  <a:lnTo>
                    <a:pt x="4221" y="211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 name="Rectangle 323">
              <a:extLst>
                <a:ext uri="{FF2B5EF4-FFF2-40B4-BE49-F238E27FC236}">
                  <a16:creationId xmlns:a16="http://schemas.microsoft.com/office/drawing/2014/main" id="{FC4748AC-4591-118C-6B92-6BFAF0B6BC10}"/>
                </a:ext>
              </a:extLst>
            </p:cNvPr>
            <p:cNvSpPr>
              <a:spLocks noChangeArrowheads="1"/>
            </p:cNvSpPr>
            <p:nvPr/>
          </p:nvSpPr>
          <p:spPr bwMode="auto">
            <a:xfrm>
              <a:off x="3678238" y="1865313"/>
              <a:ext cx="157163" cy="130175"/>
            </a:xfrm>
            <a:prstGeom prst="rect">
              <a:avLst/>
            </a:prstGeom>
            <a:solidFill>
              <a:srgbClr val="CCBEAC"/>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7" name="Rectangle 324">
              <a:extLst>
                <a:ext uri="{FF2B5EF4-FFF2-40B4-BE49-F238E27FC236}">
                  <a16:creationId xmlns:a16="http://schemas.microsoft.com/office/drawing/2014/main" id="{1896E2EF-5942-DD2F-BA0A-0646C6E8CFD6}"/>
                </a:ext>
              </a:extLst>
            </p:cNvPr>
            <p:cNvSpPr>
              <a:spLocks noChangeArrowheads="1"/>
            </p:cNvSpPr>
            <p:nvPr/>
          </p:nvSpPr>
          <p:spPr bwMode="auto">
            <a:xfrm>
              <a:off x="3678238" y="1865313"/>
              <a:ext cx="157163" cy="1301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8" name="Rectangle 325">
              <a:extLst>
                <a:ext uri="{FF2B5EF4-FFF2-40B4-BE49-F238E27FC236}">
                  <a16:creationId xmlns:a16="http://schemas.microsoft.com/office/drawing/2014/main" id="{2C3B0135-D680-EBEE-7BF9-70E6CB8E28D0}"/>
                </a:ext>
              </a:extLst>
            </p:cNvPr>
            <p:cNvSpPr>
              <a:spLocks noChangeArrowheads="1"/>
            </p:cNvSpPr>
            <p:nvPr/>
          </p:nvSpPr>
          <p:spPr bwMode="auto">
            <a:xfrm>
              <a:off x="3652838" y="1970088"/>
              <a:ext cx="209550" cy="25400"/>
            </a:xfrm>
            <a:prstGeom prst="rect">
              <a:avLst/>
            </a:prstGeom>
            <a:solidFill>
              <a:srgbClr val="E1CEB9"/>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 name="Rectangle 326">
              <a:extLst>
                <a:ext uri="{FF2B5EF4-FFF2-40B4-BE49-F238E27FC236}">
                  <a16:creationId xmlns:a16="http://schemas.microsoft.com/office/drawing/2014/main" id="{5C37354E-8F16-3EC7-1B62-9B8735F9190C}"/>
                </a:ext>
              </a:extLst>
            </p:cNvPr>
            <p:cNvSpPr>
              <a:spLocks noChangeArrowheads="1"/>
            </p:cNvSpPr>
            <p:nvPr/>
          </p:nvSpPr>
          <p:spPr bwMode="auto">
            <a:xfrm>
              <a:off x="3652838" y="1970088"/>
              <a:ext cx="209550" cy="2540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327">
              <a:extLst>
                <a:ext uri="{FF2B5EF4-FFF2-40B4-BE49-F238E27FC236}">
                  <a16:creationId xmlns:a16="http://schemas.microsoft.com/office/drawing/2014/main" id="{5323C177-B761-960B-506D-952827A6E8FE}"/>
                </a:ext>
              </a:extLst>
            </p:cNvPr>
            <p:cNvSpPr>
              <a:spLocks/>
            </p:cNvSpPr>
            <p:nvPr/>
          </p:nvSpPr>
          <p:spPr bwMode="auto">
            <a:xfrm>
              <a:off x="3494088" y="1524000"/>
              <a:ext cx="525463" cy="314325"/>
            </a:xfrm>
            <a:custGeom>
              <a:avLst/>
              <a:gdLst/>
              <a:ahLst/>
              <a:cxnLst>
                <a:cxn ang="0">
                  <a:pos x="2645" y="132"/>
                </a:cxn>
                <a:cxn ang="0">
                  <a:pos x="2645" y="132"/>
                </a:cxn>
                <a:cxn ang="0">
                  <a:pos x="2643" y="119"/>
                </a:cxn>
                <a:cxn ang="0">
                  <a:pos x="2641" y="105"/>
                </a:cxn>
                <a:cxn ang="0">
                  <a:pos x="2638" y="93"/>
                </a:cxn>
                <a:cxn ang="0">
                  <a:pos x="2634" y="81"/>
                </a:cxn>
                <a:cxn ang="0">
                  <a:pos x="2628" y="69"/>
                </a:cxn>
                <a:cxn ang="0">
                  <a:pos x="2622" y="59"/>
                </a:cxn>
                <a:cxn ang="0">
                  <a:pos x="2614" y="48"/>
                </a:cxn>
                <a:cxn ang="0">
                  <a:pos x="2605" y="39"/>
                </a:cxn>
                <a:cxn ang="0">
                  <a:pos x="2596" y="31"/>
                </a:cxn>
                <a:cxn ang="0">
                  <a:pos x="2586" y="23"/>
                </a:cxn>
                <a:cxn ang="0">
                  <a:pos x="2574" y="17"/>
                </a:cxn>
                <a:cxn ang="0">
                  <a:pos x="2563" y="10"/>
                </a:cxn>
                <a:cxn ang="0">
                  <a:pos x="2552" y="6"/>
                </a:cxn>
                <a:cxn ang="0">
                  <a:pos x="2538" y="3"/>
                </a:cxn>
                <a:cxn ang="0">
                  <a:pos x="2526" y="1"/>
                </a:cxn>
                <a:cxn ang="0">
                  <a:pos x="2513" y="0"/>
                </a:cxn>
                <a:cxn ang="0">
                  <a:pos x="132" y="0"/>
                </a:cxn>
                <a:cxn ang="0">
                  <a:pos x="132" y="0"/>
                </a:cxn>
                <a:cxn ang="0">
                  <a:pos x="119" y="1"/>
                </a:cxn>
                <a:cxn ang="0">
                  <a:pos x="106" y="3"/>
                </a:cxn>
                <a:cxn ang="0">
                  <a:pos x="93" y="6"/>
                </a:cxn>
                <a:cxn ang="0">
                  <a:pos x="81" y="10"/>
                </a:cxn>
                <a:cxn ang="0">
                  <a:pos x="69" y="17"/>
                </a:cxn>
                <a:cxn ang="0">
                  <a:pos x="59" y="23"/>
                </a:cxn>
                <a:cxn ang="0">
                  <a:pos x="49" y="31"/>
                </a:cxn>
                <a:cxn ang="0">
                  <a:pos x="40" y="39"/>
                </a:cxn>
                <a:cxn ang="0">
                  <a:pos x="30" y="48"/>
                </a:cxn>
                <a:cxn ang="0">
                  <a:pos x="23" y="59"/>
                </a:cxn>
                <a:cxn ang="0">
                  <a:pos x="17" y="69"/>
                </a:cxn>
                <a:cxn ang="0">
                  <a:pos x="11" y="81"/>
                </a:cxn>
                <a:cxn ang="0">
                  <a:pos x="7" y="93"/>
                </a:cxn>
                <a:cxn ang="0">
                  <a:pos x="3" y="105"/>
                </a:cxn>
                <a:cxn ang="0">
                  <a:pos x="1" y="119"/>
                </a:cxn>
                <a:cxn ang="0">
                  <a:pos x="0" y="132"/>
                </a:cxn>
                <a:cxn ang="0">
                  <a:pos x="0" y="1578"/>
                </a:cxn>
                <a:cxn ang="0">
                  <a:pos x="2645" y="1578"/>
                </a:cxn>
                <a:cxn ang="0">
                  <a:pos x="2645" y="132"/>
                </a:cxn>
              </a:cxnLst>
              <a:rect l="0" t="0" r="r" b="b"/>
              <a:pathLst>
                <a:path w="2645" h="1578">
                  <a:moveTo>
                    <a:pt x="2645" y="132"/>
                  </a:moveTo>
                  <a:lnTo>
                    <a:pt x="2645" y="132"/>
                  </a:lnTo>
                  <a:lnTo>
                    <a:pt x="2643" y="119"/>
                  </a:lnTo>
                  <a:lnTo>
                    <a:pt x="2641" y="105"/>
                  </a:lnTo>
                  <a:lnTo>
                    <a:pt x="2638" y="93"/>
                  </a:lnTo>
                  <a:lnTo>
                    <a:pt x="2634" y="81"/>
                  </a:lnTo>
                  <a:lnTo>
                    <a:pt x="2628" y="69"/>
                  </a:lnTo>
                  <a:lnTo>
                    <a:pt x="2622" y="59"/>
                  </a:lnTo>
                  <a:lnTo>
                    <a:pt x="2614" y="48"/>
                  </a:lnTo>
                  <a:lnTo>
                    <a:pt x="2605" y="39"/>
                  </a:lnTo>
                  <a:lnTo>
                    <a:pt x="2596" y="31"/>
                  </a:lnTo>
                  <a:lnTo>
                    <a:pt x="2586" y="23"/>
                  </a:lnTo>
                  <a:lnTo>
                    <a:pt x="2574" y="17"/>
                  </a:lnTo>
                  <a:lnTo>
                    <a:pt x="2563" y="10"/>
                  </a:lnTo>
                  <a:lnTo>
                    <a:pt x="2552" y="6"/>
                  </a:lnTo>
                  <a:lnTo>
                    <a:pt x="2538" y="3"/>
                  </a:lnTo>
                  <a:lnTo>
                    <a:pt x="2526" y="1"/>
                  </a:lnTo>
                  <a:lnTo>
                    <a:pt x="2513" y="0"/>
                  </a:lnTo>
                  <a:lnTo>
                    <a:pt x="132" y="0"/>
                  </a:lnTo>
                  <a:lnTo>
                    <a:pt x="132" y="0"/>
                  </a:lnTo>
                  <a:lnTo>
                    <a:pt x="119" y="1"/>
                  </a:lnTo>
                  <a:lnTo>
                    <a:pt x="106" y="3"/>
                  </a:lnTo>
                  <a:lnTo>
                    <a:pt x="93" y="6"/>
                  </a:lnTo>
                  <a:lnTo>
                    <a:pt x="81" y="10"/>
                  </a:lnTo>
                  <a:lnTo>
                    <a:pt x="69" y="17"/>
                  </a:lnTo>
                  <a:lnTo>
                    <a:pt x="59" y="23"/>
                  </a:lnTo>
                  <a:lnTo>
                    <a:pt x="49" y="31"/>
                  </a:lnTo>
                  <a:lnTo>
                    <a:pt x="40" y="39"/>
                  </a:lnTo>
                  <a:lnTo>
                    <a:pt x="30" y="48"/>
                  </a:lnTo>
                  <a:lnTo>
                    <a:pt x="23" y="59"/>
                  </a:lnTo>
                  <a:lnTo>
                    <a:pt x="17" y="69"/>
                  </a:lnTo>
                  <a:lnTo>
                    <a:pt x="11" y="81"/>
                  </a:lnTo>
                  <a:lnTo>
                    <a:pt x="7" y="93"/>
                  </a:lnTo>
                  <a:lnTo>
                    <a:pt x="3" y="105"/>
                  </a:lnTo>
                  <a:lnTo>
                    <a:pt x="1" y="119"/>
                  </a:lnTo>
                  <a:lnTo>
                    <a:pt x="0" y="132"/>
                  </a:lnTo>
                  <a:lnTo>
                    <a:pt x="0" y="1578"/>
                  </a:lnTo>
                  <a:lnTo>
                    <a:pt x="2645" y="1578"/>
                  </a:lnTo>
                  <a:lnTo>
                    <a:pt x="2645" y="132"/>
                  </a:lnTo>
                  <a:close/>
                </a:path>
              </a:pathLst>
            </a:custGeom>
            <a:solidFill>
              <a:srgbClr val="FAAB1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328">
              <a:extLst>
                <a:ext uri="{FF2B5EF4-FFF2-40B4-BE49-F238E27FC236}">
                  <a16:creationId xmlns:a16="http://schemas.microsoft.com/office/drawing/2014/main" id="{EC9E10B1-FBC1-81EB-EF7D-14638967DBF2}"/>
                </a:ext>
              </a:extLst>
            </p:cNvPr>
            <p:cNvSpPr>
              <a:spLocks/>
            </p:cNvSpPr>
            <p:nvPr/>
          </p:nvSpPr>
          <p:spPr bwMode="auto">
            <a:xfrm>
              <a:off x="3494088" y="1524000"/>
              <a:ext cx="525463" cy="314325"/>
            </a:xfrm>
            <a:custGeom>
              <a:avLst/>
              <a:gdLst/>
              <a:ahLst/>
              <a:cxnLst>
                <a:cxn ang="0">
                  <a:pos x="2645" y="132"/>
                </a:cxn>
                <a:cxn ang="0">
                  <a:pos x="2645" y="132"/>
                </a:cxn>
                <a:cxn ang="0">
                  <a:pos x="2643" y="119"/>
                </a:cxn>
                <a:cxn ang="0">
                  <a:pos x="2641" y="105"/>
                </a:cxn>
                <a:cxn ang="0">
                  <a:pos x="2638" y="93"/>
                </a:cxn>
                <a:cxn ang="0">
                  <a:pos x="2634" y="81"/>
                </a:cxn>
                <a:cxn ang="0">
                  <a:pos x="2628" y="69"/>
                </a:cxn>
                <a:cxn ang="0">
                  <a:pos x="2622" y="59"/>
                </a:cxn>
                <a:cxn ang="0">
                  <a:pos x="2614" y="48"/>
                </a:cxn>
                <a:cxn ang="0">
                  <a:pos x="2605" y="39"/>
                </a:cxn>
                <a:cxn ang="0">
                  <a:pos x="2596" y="31"/>
                </a:cxn>
                <a:cxn ang="0">
                  <a:pos x="2586" y="23"/>
                </a:cxn>
                <a:cxn ang="0">
                  <a:pos x="2574" y="17"/>
                </a:cxn>
                <a:cxn ang="0">
                  <a:pos x="2563" y="10"/>
                </a:cxn>
                <a:cxn ang="0">
                  <a:pos x="2552" y="6"/>
                </a:cxn>
                <a:cxn ang="0">
                  <a:pos x="2538" y="3"/>
                </a:cxn>
                <a:cxn ang="0">
                  <a:pos x="2526" y="1"/>
                </a:cxn>
                <a:cxn ang="0">
                  <a:pos x="2513" y="0"/>
                </a:cxn>
                <a:cxn ang="0">
                  <a:pos x="132" y="0"/>
                </a:cxn>
                <a:cxn ang="0">
                  <a:pos x="132" y="0"/>
                </a:cxn>
                <a:cxn ang="0">
                  <a:pos x="119" y="1"/>
                </a:cxn>
                <a:cxn ang="0">
                  <a:pos x="106" y="3"/>
                </a:cxn>
                <a:cxn ang="0">
                  <a:pos x="93" y="6"/>
                </a:cxn>
                <a:cxn ang="0">
                  <a:pos x="81" y="10"/>
                </a:cxn>
                <a:cxn ang="0">
                  <a:pos x="69" y="17"/>
                </a:cxn>
                <a:cxn ang="0">
                  <a:pos x="59" y="23"/>
                </a:cxn>
                <a:cxn ang="0">
                  <a:pos x="49" y="31"/>
                </a:cxn>
                <a:cxn ang="0">
                  <a:pos x="40" y="39"/>
                </a:cxn>
                <a:cxn ang="0">
                  <a:pos x="30" y="48"/>
                </a:cxn>
                <a:cxn ang="0">
                  <a:pos x="23" y="59"/>
                </a:cxn>
                <a:cxn ang="0">
                  <a:pos x="17" y="69"/>
                </a:cxn>
                <a:cxn ang="0">
                  <a:pos x="11" y="81"/>
                </a:cxn>
                <a:cxn ang="0">
                  <a:pos x="7" y="93"/>
                </a:cxn>
                <a:cxn ang="0">
                  <a:pos x="3" y="105"/>
                </a:cxn>
                <a:cxn ang="0">
                  <a:pos x="1" y="119"/>
                </a:cxn>
                <a:cxn ang="0">
                  <a:pos x="0" y="132"/>
                </a:cxn>
                <a:cxn ang="0">
                  <a:pos x="0" y="1578"/>
                </a:cxn>
                <a:cxn ang="0">
                  <a:pos x="2645" y="1578"/>
                </a:cxn>
                <a:cxn ang="0">
                  <a:pos x="2645" y="132"/>
                </a:cxn>
              </a:cxnLst>
              <a:rect l="0" t="0" r="r" b="b"/>
              <a:pathLst>
                <a:path w="2645" h="1578">
                  <a:moveTo>
                    <a:pt x="2645" y="132"/>
                  </a:moveTo>
                  <a:lnTo>
                    <a:pt x="2645" y="132"/>
                  </a:lnTo>
                  <a:lnTo>
                    <a:pt x="2643" y="119"/>
                  </a:lnTo>
                  <a:lnTo>
                    <a:pt x="2641" y="105"/>
                  </a:lnTo>
                  <a:lnTo>
                    <a:pt x="2638" y="93"/>
                  </a:lnTo>
                  <a:lnTo>
                    <a:pt x="2634" y="81"/>
                  </a:lnTo>
                  <a:lnTo>
                    <a:pt x="2628" y="69"/>
                  </a:lnTo>
                  <a:lnTo>
                    <a:pt x="2622" y="59"/>
                  </a:lnTo>
                  <a:lnTo>
                    <a:pt x="2614" y="48"/>
                  </a:lnTo>
                  <a:lnTo>
                    <a:pt x="2605" y="39"/>
                  </a:lnTo>
                  <a:lnTo>
                    <a:pt x="2596" y="31"/>
                  </a:lnTo>
                  <a:lnTo>
                    <a:pt x="2586" y="23"/>
                  </a:lnTo>
                  <a:lnTo>
                    <a:pt x="2574" y="17"/>
                  </a:lnTo>
                  <a:lnTo>
                    <a:pt x="2563" y="10"/>
                  </a:lnTo>
                  <a:lnTo>
                    <a:pt x="2552" y="6"/>
                  </a:lnTo>
                  <a:lnTo>
                    <a:pt x="2538" y="3"/>
                  </a:lnTo>
                  <a:lnTo>
                    <a:pt x="2526" y="1"/>
                  </a:lnTo>
                  <a:lnTo>
                    <a:pt x="2513" y="0"/>
                  </a:lnTo>
                  <a:lnTo>
                    <a:pt x="132" y="0"/>
                  </a:lnTo>
                  <a:lnTo>
                    <a:pt x="132" y="0"/>
                  </a:lnTo>
                  <a:lnTo>
                    <a:pt x="119" y="1"/>
                  </a:lnTo>
                  <a:lnTo>
                    <a:pt x="106" y="3"/>
                  </a:lnTo>
                  <a:lnTo>
                    <a:pt x="93" y="6"/>
                  </a:lnTo>
                  <a:lnTo>
                    <a:pt x="81" y="10"/>
                  </a:lnTo>
                  <a:lnTo>
                    <a:pt x="69" y="17"/>
                  </a:lnTo>
                  <a:lnTo>
                    <a:pt x="59" y="23"/>
                  </a:lnTo>
                  <a:lnTo>
                    <a:pt x="49" y="31"/>
                  </a:lnTo>
                  <a:lnTo>
                    <a:pt x="40" y="39"/>
                  </a:lnTo>
                  <a:lnTo>
                    <a:pt x="30" y="48"/>
                  </a:lnTo>
                  <a:lnTo>
                    <a:pt x="23" y="59"/>
                  </a:lnTo>
                  <a:lnTo>
                    <a:pt x="17" y="69"/>
                  </a:lnTo>
                  <a:lnTo>
                    <a:pt x="11" y="81"/>
                  </a:lnTo>
                  <a:lnTo>
                    <a:pt x="7" y="93"/>
                  </a:lnTo>
                  <a:lnTo>
                    <a:pt x="3" y="105"/>
                  </a:lnTo>
                  <a:lnTo>
                    <a:pt x="1" y="119"/>
                  </a:lnTo>
                  <a:lnTo>
                    <a:pt x="0" y="132"/>
                  </a:lnTo>
                  <a:lnTo>
                    <a:pt x="0" y="1578"/>
                  </a:lnTo>
                  <a:lnTo>
                    <a:pt x="2645" y="1578"/>
                  </a:lnTo>
                  <a:lnTo>
                    <a:pt x="2645" y="132"/>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329">
              <a:extLst>
                <a:ext uri="{FF2B5EF4-FFF2-40B4-BE49-F238E27FC236}">
                  <a16:creationId xmlns:a16="http://schemas.microsoft.com/office/drawing/2014/main" id="{A9C93C3D-7092-EF29-1BB4-7EE4B060EEF3}"/>
                </a:ext>
              </a:extLst>
            </p:cNvPr>
            <p:cNvSpPr>
              <a:spLocks/>
            </p:cNvSpPr>
            <p:nvPr/>
          </p:nvSpPr>
          <p:spPr bwMode="auto">
            <a:xfrm>
              <a:off x="3495676" y="1838325"/>
              <a:ext cx="525463" cy="79375"/>
            </a:xfrm>
            <a:custGeom>
              <a:avLst/>
              <a:gdLst/>
              <a:ahLst/>
              <a:cxnLst>
                <a:cxn ang="0">
                  <a:pos x="0" y="0"/>
                </a:cxn>
                <a:cxn ang="0">
                  <a:pos x="0" y="268"/>
                </a:cxn>
                <a:cxn ang="0">
                  <a:pos x="0" y="268"/>
                </a:cxn>
                <a:cxn ang="0">
                  <a:pos x="1" y="281"/>
                </a:cxn>
                <a:cxn ang="0">
                  <a:pos x="3" y="295"/>
                </a:cxn>
                <a:cxn ang="0">
                  <a:pos x="6" y="307"/>
                </a:cxn>
                <a:cxn ang="0">
                  <a:pos x="10" y="320"/>
                </a:cxn>
                <a:cxn ang="0">
                  <a:pos x="16" y="331"/>
                </a:cxn>
                <a:cxn ang="0">
                  <a:pos x="22" y="342"/>
                </a:cxn>
                <a:cxn ang="0">
                  <a:pos x="30" y="352"/>
                </a:cxn>
                <a:cxn ang="0">
                  <a:pos x="39" y="362"/>
                </a:cxn>
                <a:cxn ang="0">
                  <a:pos x="48" y="370"/>
                </a:cxn>
                <a:cxn ang="0">
                  <a:pos x="58" y="377"/>
                </a:cxn>
                <a:cxn ang="0">
                  <a:pos x="69" y="385"/>
                </a:cxn>
                <a:cxn ang="0">
                  <a:pos x="81" y="390"/>
                </a:cxn>
                <a:cxn ang="0">
                  <a:pos x="92" y="394"/>
                </a:cxn>
                <a:cxn ang="0">
                  <a:pos x="106" y="398"/>
                </a:cxn>
                <a:cxn ang="0">
                  <a:pos x="118" y="400"/>
                </a:cxn>
                <a:cxn ang="0">
                  <a:pos x="131" y="400"/>
                </a:cxn>
                <a:cxn ang="0">
                  <a:pos x="2512" y="400"/>
                </a:cxn>
                <a:cxn ang="0">
                  <a:pos x="2512" y="400"/>
                </a:cxn>
                <a:cxn ang="0">
                  <a:pos x="2525" y="400"/>
                </a:cxn>
                <a:cxn ang="0">
                  <a:pos x="2539" y="398"/>
                </a:cxn>
                <a:cxn ang="0">
                  <a:pos x="2551" y="394"/>
                </a:cxn>
                <a:cxn ang="0">
                  <a:pos x="2563" y="390"/>
                </a:cxn>
                <a:cxn ang="0">
                  <a:pos x="2575" y="385"/>
                </a:cxn>
                <a:cxn ang="0">
                  <a:pos x="2585" y="377"/>
                </a:cxn>
                <a:cxn ang="0">
                  <a:pos x="2595" y="370"/>
                </a:cxn>
                <a:cxn ang="0">
                  <a:pos x="2605" y="362"/>
                </a:cxn>
                <a:cxn ang="0">
                  <a:pos x="2614" y="352"/>
                </a:cxn>
                <a:cxn ang="0">
                  <a:pos x="2621" y="342"/>
                </a:cxn>
                <a:cxn ang="0">
                  <a:pos x="2627" y="331"/>
                </a:cxn>
                <a:cxn ang="0">
                  <a:pos x="2633" y="320"/>
                </a:cxn>
                <a:cxn ang="0">
                  <a:pos x="2637" y="307"/>
                </a:cxn>
                <a:cxn ang="0">
                  <a:pos x="2641" y="295"/>
                </a:cxn>
                <a:cxn ang="0">
                  <a:pos x="2643" y="281"/>
                </a:cxn>
                <a:cxn ang="0">
                  <a:pos x="2644" y="268"/>
                </a:cxn>
                <a:cxn ang="0">
                  <a:pos x="2644" y="0"/>
                </a:cxn>
                <a:cxn ang="0">
                  <a:pos x="0" y="0"/>
                </a:cxn>
              </a:cxnLst>
              <a:rect l="0" t="0" r="r" b="b"/>
              <a:pathLst>
                <a:path w="2644" h="400">
                  <a:moveTo>
                    <a:pt x="0" y="0"/>
                  </a:moveTo>
                  <a:lnTo>
                    <a:pt x="0" y="268"/>
                  </a:lnTo>
                  <a:lnTo>
                    <a:pt x="0" y="268"/>
                  </a:lnTo>
                  <a:lnTo>
                    <a:pt x="1" y="281"/>
                  </a:lnTo>
                  <a:lnTo>
                    <a:pt x="3" y="295"/>
                  </a:lnTo>
                  <a:lnTo>
                    <a:pt x="6" y="307"/>
                  </a:lnTo>
                  <a:lnTo>
                    <a:pt x="10" y="320"/>
                  </a:lnTo>
                  <a:lnTo>
                    <a:pt x="16" y="331"/>
                  </a:lnTo>
                  <a:lnTo>
                    <a:pt x="22" y="342"/>
                  </a:lnTo>
                  <a:lnTo>
                    <a:pt x="30" y="352"/>
                  </a:lnTo>
                  <a:lnTo>
                    <a:pt x="39" y="362"/>
                  </a:lnTo>
                  <a:lnTo>
                    <a:pt x="48" y="370"/>
                  </a:lnTo>
                  <a:lnTo>
                    <a:pt x="58" y="377"/>
                  </a:lnTo>
                  <a:lnTo>
                    <a:pt x="69" y="385"/>
                  </a:lnTo>
                  <a:lnTo>
                    <a:pt x="81" y="390"/>
                  </a:lnTo>
                  <a:lnTo>
                    <a:pt x="92" y="394"/>
                  </a:lnTo>
                  <a:lnTo>
                    <a:pt x="106" y="398"/>
                  </a:lnTo>
                  <a:lnTo>
                    <a:pt x="118" y="400"/>
                  </a:lnTo>
                  <a:lnTo>
                    <a:pt x="131" y="400"/>
                  </a:lnTo>
                  <a:lnTo>
                    <a:pt x="2512" y="400"/>
                  </a:lnTo>
                  <a:lnTo>
                    <a:pt x="2512" y="400"/>
                  </a:lnTo>
                  <a:lnTo>
                    <a:pt x="2525" y="400"/>
                  </a:lnTo>
                  <a:lnTo>
                    <a:pt x="2539" y="398"/>
                  </a:lnTo>
                  <a:lnTo>
                    <a:pt x="2551" y="394"/>
                  </a:lnTo>
                  <a:lnTo>
                    <a:pt x="2563" y="390"/>
                  </a:lnTo>
                  <a:lnTo>
                    <a:pt x="2575" y="385"/>
                  </a:lnTo>
                  <a:lnTo>
                    <a:pt x="2585" y="377"/>
                  </a:lnTo>
                  <a:lnTo>
                    <a:pt x="2595" y="370"/>
                  </a:lnTo>
                  <a:lnTo>
                    <a:pt x="2605" y="362"/>
                  </a:lnTo>
                  <a:lnTo>
                    <a:pt x="2614" y="352"/>
                  </a:lnTo>
                  <a:lnTo>
                    <a:pt x="2621" y="342"/>
                  </a:lnTo>
                  <a:lnTo>
                    <a:pt x="2627" y="331"/>
                  </a:lnTo>
                  <a:lnTo>
                    <a:pt x="2633" y="320"/>
                  </a:lnTo>
                  <a:lnTo>
                    <a:pt x="2637" y="307"/>
                  </a:lnTo>
                  <a:lnTo>
                    <a:pt x="2641" y="295"/>
                  </a:lnTo>
                  <a:lnTo>
                    <a:pt x="2643" y="281"/>
                  </a:lnTo>
                  <a:lnTo>
                    <a:pt x="2644" y="268"/>
                  </a:lnTo>
                  <a:lnTo>
                    <a:pt x="2644" y="0"/>
                  </a:lnTo>
                  <a:lnTo>
                    <a:pt x="0" y="0"/>
                  </a:lnTo>
                  <a:close/>
                </a:path>
              </a:pathLst>
            </a:custGeom>
            <a:solidFill>
              <a:srgbClr val="E1CEB9"/>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Freeform 330">
              <a:extLst>
                <a:ext uri="{FF2B5EF4-FFF2-40B4-BE49-F238E27FC236}">
                  <a16:creationId xmlns:a16="http://schemas.microsoft.com/office/drawing/2014/main" id="{031C58B1-4332-7B54-8CCC-61C2F6F845D5}"/>
                </a:ext>
              </a:extLst>
            </p:cNvPr>
            <p:cNvSpPr>
              <a:spLocks/>
            </p:cNvSpPr>
            <p:nvPr/>
          </p:nvSpPr>
          <p:spPr bwMode="auto">
            <a:xfrm>
              <a:off x="3495676" y="1838325"/>
              <a:ext cx="525463" cy="79375"/>
            </a:xfrm>
            <a:custGeom>
              <a:avLst/>
              <a:gdLst/>
              <a:ahLst/>
              <a:cxnLst>
                <a:cxn ang="0">
                  <a:pos x="0" y="0"/>
                </a:cxn>
                <a:cxn ang="0">
                  <a:pos x="0" y="268"/>
                </a:cxn>
                <a:cxn ang="0">
                  <a:pos x="0" y="268"/>
                </a:cxn>
                <a:cxn ang="0">
                  <a:pos x="1" y="281"/>
                </a:cxn>
                <a:cxn ang="0">
                  <a:pos x="3" y="295"/>
                </a:cxn>
                <a:cxn ang="0">
                  <a:pos x="6" y="307"/>
                </a:cxn>
                <a:cxn ang="0">
                  <a:pos x="10" y="320"/>
                </a:cxn>
                <a:cxn ang="0">
                  <a:pos x="16" y="331"/>
                </a:cxn>
                <a:cxn ang="0">
                  <a:pos x="22" y="342"/>
                </a:cxn>
                <a:cxn ang="0">
                  <a:pos x="30" y="352"/>
                </a:cxn>
                <a:cxn ang="0">
                  <a:pos x="39" y="362"/>
                </a:cxn>
                <a:cxn ang="0">
                  <a:pos x="48" y="370"/>
                </a:cxn>
                <a:cxn ang="0">
                  <a:pos x="58" y="377"/>
                </a:cxn>
                <a:cxn ang="0">
                  <a:pos x="69" y="385"/>
                </a:cxn>
                <a:cxn ang="0">
                  <a:pos x="81" y="390"/>
                </a:cxn>
                <a:cxn ang="0">
                  <a:pos x="92" y="394"/>
                </a:cxn>
                <a:cxn ang="0">
                  <a:pos x="106" y="398"/>
                </a:cxn>
                <a:cxn ang="0">
                  <a:pos x="118" y="400"/>
                </a:cxn>
                <a:cxn ang="0">
                  <a:pos x="131" y="400"/>
                </a:cxn>
                <a:cxn ang="0">
                  <a:pos x="2512" y="400"/>
                </a:cxn>
                <a:cxn ang="0">
                  <a:pos x="2512" y="400"/>
                </a:cxn>
                <a:cxn ang="0">
                  <a:pos x="2525" y="400"/>
                </a:cxn>
                <a:cxn ang="0">
                  <a:pos x="2539" y="398"/>
                </a:cxn>
                <a:cxn ang="0">
                  <a:pos x="2551" y="394"/>
                </a:cxn>
                <a:cxn ang="0">
                  <a:pos x="2563" y="390"/>
                </a:cxn>
                <a:cxn ang="0">
                  <a:pos x="2575" y="385"/>
                </a:cxn>
                <a:cxn ang="0">
                  <a:pos x="2585" y="377"/>
                </a:cxn>
                <a:cxn ang="0">
                  <a:pos x="2595" y="370"/>
                </a:cxn>
                <a:cxn ang="0">
                  <a:pos x="2605" y="362"/>
                </a:cxn>
                <a:cxn ang="0">
                  <a:pos x="2614" y="352"/>
                </a:cxn>
                <a:cxn ang="0">
                  <a:pos x="2621" y="342"/>
                </a:cxn>
                <a:cxn ang="0">
                  <a:pos x="2627" y="331"/>
                </a:cxn>
                <a:cxn ang="0">
                  <a:pos x="2633" y="320"/>
                </a:cxn>
                <a:cxn ang="0">
                  <a:pos x="2637" y="307"/>
                </a:cxn>
                <a:cxn ang="0">
                  <a:pos x="2641" y="295"/>
                </a:cxn>
                <a:cxn ang="0">
                  <a:pos x="2643" y="281"/>
                </a:cxn>
                <a:cxn ang="0">
                  <a:pos x="2644" y="268"/>
                </a:cxn>
                <a:cxn ang="0">
                  <a:pos x="2644" y="0"/>
                </a:cxn>
                <a:cxn ang="0">
                  <a:pos x="0" y="0"/>
                </a:cxn>
              </a:cxnLst>
              <a:rect l="0" t="0" r="r" b="b"/>
              <a:pathLst>
                <a:path w="2644" h="400">
                  <a:moveTo>
                    <a:pt x="0" y="0"/>
                  </a:moveTo>
                  <a:lnTo>
                    <a:pt x="0" y="268"/>
                  </a:lnTo>
                  <a:lnTo>
                    <a:pt x="0" y="268"/>
                  </a:lnTo>
                  <a:lnTo>
                    <a:pt x="1" y="281"/>
                  </a:lnTo>
                  <a:lnTo>
                    <a:pt x="3" y="295"/>
                  </a:lnTo>
                  <a:lnTo>
                    <a:pt x="6" y="307"/>
                  </a:lnTo>
                  <a:lnTo>
                    <a:pt x="10" y="320"/>
                  </a:lnTo>
                  <a:lnTo>
                    <a:pt x="16" y="331"/>
                  </a:lnTo>
                  <a:lnTo>
                    <a:pt x="22" y="342"/>
                  </a:lnTo>
                  <a:lnTo>
                    <a:pt x="30" y="352"/>
                  </a:lnTo>
                  <a:lnTo>
                    <a:pt x="39" y="362"/>
                  </a:lnTo>
                  <a:lnTo>
                    <a:pt x="48" y="370"/>
                  </a:lnTo>
                  <a:lnTo>
                    <a:pt x="58" y="377"/>
                  </a:lnTo>
                  <a:lnTo>
                    <a:pt x="69" y="385"/>
                  </a:lnTo>
                  <a:lnTo>
                    <a:pt x="81" y="390"/>
                  </a:lnTo>
                  <a:lnTo>
                    <a:pt x="92" y="394"/>
                  </a:lnTo>
                  <a:lnTo>
                    <a:pt x="106" y="398"/>
                  </a:lnTo>
                  <a:lnTo>
                    <a:pt x="118" y="400"/>
                  </a:lnTo>
                  <a:lnTo>
                    <a:pt x="131" y="400"/>
                  </a:lnTo>
                  <a:lnTo>
                    <a:pt x="2512" y="400"/>
                  </a:lnTo>
                  <a:lnTo>
                    <a:pt x="2512" y="400"/>
                  </a:lnTo>
                  <a:lnTo>
                    <a:pt x="2525" y="400"/>
                  </a:lnTo>
                  <a:lnTo>
                    <a:pt x="2539" y="398"/>
                  </a:lnTo>
                  <a:lnTo>
                    <a:pt x="2551" y="394"/>
                  </a:lnTo>
                  <a:lnTo>
                    <a:pt x="2563" y="390"/>
                  </a:lnTo>
                  <a:lnTo>
                    <a:pt x="2575" y="385"/>
                  </a:lnTo>
                  <a:lnTo>
                    <a:pt x="2585" y="377"/>
                  </a:lnTo>
                  <a:lnTo>
                    <a:pt x="2595" y="370"/>
                  </a:lnTo>
                  <a:lnTo>
                    <a:pt x="2605" y="362"/>
                  </a:lnTo>
                  <a:lnTo>
                    <a:pt x="2614" y="352"/>
                  </a:lnTo>
                  <a:lnTo>
                    <a:pt x="2621" y="342"/>
                  </a:lnTo>
                  <a:lnTo>
                    <a:pt x="2627" y="331"/>
                  </a:lnTo>
                  <a:lnTo>
                    <a:pt x="2633" y="320"/>
                  </a:lnTo>
                  <a:lnTo>
                    <a:pt x="2637" y="307"/>
                  </a:lnTo>
                  <a:lnTo>
                    <a:pt x="2641" y="295"/>
                  </a:lnTo>
                  <a:lnTo>
                    <a:pt x="2643" y="281"/>
                  </a:lnTo>
                  <a:lnTo>
                    <a:pt x="2644" y="268"/>
                  </a:lnTo>
                  <a:lnTo>
                    <a:pt x="2644"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331">
              <a:extLst>
                <a:ext uri="{FF2B5EF4-FFF2-40B4-BE49-F238E27FC236}">
                  <a16:creationId xmlns:a16="http://schemas.microsoft.com/office/drawing/2014/main" id="{C5DA56CB-A06B-CE92-3F86-2203D177FD2E}"/>
                </a:ext>
              </a:extLst>
            </p:cNvPr>
            <p:cNvSpPr>
              <a:spLocks/>
            </p:cNvSpPr>
            <p:nvPr/>
          </p:nvSpPr>
          <p:spPr bwMode="auto">
            <a:xfrm>
              <a:off x="3600451" y="1550988"/>
              <a:ext cx="103188" cy="209550"/>
            </a:xfrm>
            <a:custGeom>
              <a:avLst/>
              <a:gdLst/>
              <a:ahLst/>
              <a:cxnLst>
                <a:cxn ang="0">
                  <a:pos x="528" y="1055"/>
                </a:cxn>
                <a:cxn ang="0">
                  <a:pos x="528" y="0"/>
                </a:cxn>
                <a:cxn ang="0">
                  <a:pos x="0" y="0"/>
                </a:cxn>
                <a:cxn ang="0">
                  <a:pos x="0" y="791"/>
                </a:cxn>
                <a:cxn ang="0">
                  <a:pos x="528" y="1055"/>
                </a:cxn>
              </a:cxnLst>
              <a:rect l="0" t="0" r="r" b="b"/>
              <a:pathLst>
                <a:path w="528" h="1055">
                  <a:moveTo>
                    <a:pt x="528" y="1055"/>
                  </a:moveTo>
                  <a:lnTo>
                    <a:pt x="528" y="0"/>
                  </a:lnTo>
                  <a:lnTo>
                    <a:pt x="0" y="0"/>
                  </a:lnTo>
                  <a:lnTo>
                    <a:pt x="0" y="791"/>
                  </a:lnTo>
                  <a:lnTo>
                    <a:pt x="528" y="1055"/>
                  </a:lnTo>
                  <a:close/>
                </a:path>
              </a:pathLst>
            </a:custGeom>
            <a:solidFill>
              <a:srgbClr val="FAAB1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332">
              <a:extLst>
                <a:ext uri="{FF2B5EF4-FFF2-40B4-BE49-F238E27FC236}">
                  <a16:creationId xmlns:a16="http://schemas.microsoft.com/office/drawing/2014/main" id="{58DEF976-BD2C-1948-EB26-A189E6A3412E}"/>
                </a:ext>
              </a:extLst>
            </p:cNvPr>
            <p:cNvSpPr>
              <a:spLocks/>
            </p:cNvSpPr>
            <p:nvPr/>
          </p:nvSpPr>
          <p:spPr bwMode="auto">
            <a:xfrm>
              <a:off x="3600451" y="1550988"/>
              <a:ext cx="103188" cy="209550"/>
            </a:xfrm>
            <a:custGeom>
              <a:avLst/>
              <a:gdLst/>
              <a:ahLst/>
              <a:cxnLst>
                <a:cxn ang="0">
                  <a:pos x="528" y="1055"/>
                </a:cxn>
                <a:cxn ang="0">
                  <a:pos x="528" y="0"/>
                </a:cxn>
                <a:cxn ang="0">
                  <a:pos x="0" y="0"/>
                </a:cxn>
                <a:cxn ang="0">
                  <a:pos x="0" y="791"/>
                </a:cxn>
                <a:cxn ang="0">
                  <a:pos x="528" y="1055"/>
                </a:cxn>
              </a:cxnLst>
              <a:rect l="0" t="0" r="r" b="b"/>
              <a:pathLst>
                <a:path w="528" h="1055">
                  <a:moveTo>
                    <a:pt x="528" y="1055"/>
                  </a:moveTo>
                  <a:lnTo>
                    <a:pt x="528" y="0"/>
                  </a:lnTo>
                  <a:lnTo>
                    <a:pt x="0" y="0"/>
                  </a:lnTo>
                  <a:lnTo>
                    <a:pt x="0" y="791"/>
                  </a:lnTo>
                  <a:lnTo>
                    <a:pt x="528" y="1055"/>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333">
              <a:extLst>
                <a:ext uri="{FF2B5EF4-FFF2-40B4-BE49-F238E27FC236}">
                  <a16:creationId xmlns:a16="http://schemas.microsoft.com/office/drawing/2014/main" id="{CFA46B45-9496-8F88-8D6F-4F37349E0651}"/>
                </a:ext>
              </a:extLst>
            </p:cNvPr>
            <p:cNvSpPr>
              <a:spLocks/>
            </p:cNvSpPr>
            <p:nvPr/>
          </p:nvSpPr>
          <p:spPr bwMode="auto">
            <a:xfrm>
              <a:off x="3703638" y="1550988"/>
              <a:ext cx="104775" cy="209550"/>
            </a:xfrm>
            <a:custGeom>
              <a:avLst/>
              <a:gdLst/>
              <a:ahLst/>
              <a:cxnLst>
                <a:cxn ang="0">
                  <a:pos x="527" y="264"/>
                </a:cxn>
                <a:cxn ang="0">
                  <a:pos x="527" y="0"/>
                </a:cxn>
                <a:cxn ang="0">
                  <a:pos x="0" y="0"/>
                </a:cxn>
                <a:cxn ang="0">
                  <a:pos x="0" y="1055"/>
                </a:cxn>
                <a:cxn ang="0">
                  <a:pos x="527" y="264"/>
                </a:cxn>
              </a:cxnLst>
              <a:rect l="0" t="0" r="r" b="b"/>
              <a:pathLst>
                <a:path w="527" h="1055">
                  <a:moveTo>
                    <a:pt x="527" y="264"/>
                  </a:moveTo>
                  <a:lnTo>
                    <a:pt x="527" y="0"/>
                  </a:lnTo>
                  <a:lnTo>
                    <a:pt x="0" y="0"/>
                  </a:lnTo>
                  <a:lnTo>
                    <a:pt x="0" y="1055"/>
                  </a:lnTo>
                  <a:lnTo>
                    <a:pt x="527" y="264"/>
                  </a:lnTo>
                  <a:close/>
                </a:path>
              </a:pathLst>
            </a:custGeom>
            <a:solidFill>
              <a:srgbClr val="FAAB1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334">
              <a:extLst>
                <a:ext uri="{FF2B5EF4-FFF2-40B4-BE49-F238E27FC236}">
                  <a16:creationId xmlns:a16="http://schemas.microsoft.com/office/drawing/2014/main" id="{CD34A425-111D-125D-BF99-AA35A0BA1917}"/>
                </a:ext>
              </a:extLst>
            </p:cNvPr>
            <p:cNvSpPr>
              <a:spLocks/>
            </p:cNvSpPr>
            <p:nvPr/>
          </p:nvSpPr>
          <p:spPr bwMode="auto">
            <a:xfrm>
              <a:off x="3703638" y="1550988"/>
              <a:ext cx="104775" cy="209550"/>
            </a:xfrm>
            <a:custGeom>
              <a:avLst/>
              <a:gdLst/>
              <a:ahLst/>
              <a:cxnLst>
                <a:cxn ang="0">
                  <a:pos x="527" y="264"/>
                </a:cxn>
                <a:cxn ang="0">
                  <a:pos x="527" y="0"/>
                </a:cxn>
                <a:cxn ang="0">
                  <a:pos x="0" y="0"/>
                </a:cxn>
                <a:cxn ang="0">
                  <a:pos x="0" y="1055"/>
                </a:cxn>
                <a:cxn ang="0">
                  <a:pos x="527" y="264"/>
                </a:cxn>
              </a:cxnLst>
              <a:rect l="0" t="0" r="r" b="b"/>
              <a:pathLst>
                <a:path w="527" h="1055">
                  <a:moveTo>
                    <a:pt x="527" y="264"/>
                  </a:moveTo>
                  <a:lnTo>
                    <a:pt x="527" y="0"/>
                  </a:lnTo>
                  <a:lnTo>
                    <a:pt x="0" y="0"/>
                  </a:lnTo>
                  <a:lnTo>
                    <a:pt x="0" y="1055"/>
                  </a:lnTo>
                  <a:lnTo>
                    <a:pt x="527" y="26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335">
              <a:extLst>
                <a:ext uri="{FF2B5EF4-FFF2-40B4-BE49-F238E27FC236}">
                  <a16:creationId xmlns:a16="http://schemas.microsoft.com/office/drawing/2014/main" id="{62B34E46-799C-9015-F757-62426726FC64}"/>
                </a:ext>
              </a:extLst>
            </p:cNvPr>
            <p:cNvSpPr>
              <a:spLocks/>
            </p:cNvSpPr>
            <p:nvPr/>
          </p:nvSpPr>
          <p:spPr bwMode="auto">
            <a:xfrm>
              <a:off x="3913188" y="1550988"/>
              <a:ext cx="79375" cy="157162"/>
            </a:xfrm>
            <a:custGeom>
              <a:avLst/>
              <a:gdLst/>
              <a:ahLst/>
              <a:cxnLst>
                <a:cxn ang="0">
                  <a:pos x="401" y="394"/>
                </a:cxn>
                <a:cxn ang="0">
                  <a:pos x="401" y="0"/>
                </a:cxn>
                <a:cxn ang="0">
                  <a:pos x="0" y="0"/>
                </a:cxn>
                <a:cxn ang="0">
                  <a:pos x="0" y="791"/>
                </a:cxn>
                <a:cxn ang="0">
                  <a:pos x="401" y="394"/>
                </a:cxn>
              </a:cxnLst>
              <a:rect l="0" t="0" r="r" b="b"/>
              <a:pathLst>
                <a:path w="401" h="791">
                  <a:moveTo>
                    <a:pt x="401" y="394"/>
                  </a:moveTo>
                  <a:lnTo>
                    <a:pt x="401" y="0"/>
                  </a:lnTo>
                  <a:lnTo>
                    <a:pt x="0" y="0"/>
                  </a:lnTo>
                  <a:lnTo>
                    <a:pt x="0" y="791"/>
                  </a:lnTo>
                  <a:lnTo>
                    <a:pt x="401" y="394"/>
                  </a:lnTo>
                  <a:close/>
                </a:path>
              </a:pathLst>
            </a:custGeom>
            <a:solidFill>
              <a:srgbClr val="FAAB1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336">
              <a:extLst>
                <a:ext uri="{FF2B5EF4-FFF2-40B4-BE49-F238E27FC236}">
                  <a16:creationId xmlns:a16="http://schemas.microsoft.com/office/drawing/2014/main" id="{0DF658EF-D08E-F58D-1F0B-B7090BD4833C}"/>
                </a:ext>
              </a:extLst>
            </p:cNvPr>
            <p:cNvSpPr>
              <a:spLocks/>
            </p:cNvSpPr>
            <p:nvPr/>
          </p:nvSpPr>
          <p:spPr bwMode="auto">
            <a:xfrm>
              <a:off x="3808413" y="1550988"/>
              <a:ext cx="104775" cy="157162"/>
            </a:xfrm>
            <a:custGeom>
              <a:avLst/>
              <a:gdLst/>
              <a:ahLst/>
              <a:cxnLst>
                <a:cxn ang="0">
                  <a:pos x="528" y="791"/>
                </a:cxn>
                <a:cxn ang="0">
                  <a:pos x="528" y="0"/>
                </a:cxn>
                <a:cxn ang="0">
                  <a:pos x="0" y="0"/>
                </a:cxn>
                <a:cxn ang="0">
                  <a:pos x="0" y="264"/>
                </a:cxn>
                <a:cxn ang="0">
                  <a:pos x="528" y="791"/>
                </a:cxn>
              </a:cxnLst>
              <a:rect l="0" t="0" r="r" b="b"/>
              <a:pathLst>
                <a:path w="528" h="791">
                  <a:moveTo>
                    <a:pt x="528" y="791"/>
                  </a:moveTo>
                  <a:lnTo>
                    <a:pt x="528" y="0"/>
                  </a:lnTo>
                  <a:lnTo>
                    <a:pt x="0" y="0"/>
                  </a:lnTo>
                  <a:lnTo>
                    <a:pt x="0" y="264"/>
                  </a:lnTo>
                  <a:lnTo>
                    <a:pt x="528" y="791"/>
                  </a:lnTo>
                  <a:close/>
                </a:path>
              </a:pathLst>
            </a:custGeom>
            <a:solidFill>
              <a:srgbClr val="FAAB1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337">
              <a:extLst>
                <a:ext uri="{FF2B5EF4-FFF2-40B4-BE49-F238E27FC236}">
                  <a16:creationId xmlns:a16="http://schemas.microsoft.com/office/drawing/2014/main" id="{E3A3A857-7719-BE8F-830C-60C714C84254}"/>
                </a:ext>
              </a:extLst>
            </p:cNvPr>
            <p:cNvSpPr>
              <a:spLocks/>
            </p:cNvSpPr>
            <p:nvPr/>
          </p:nvSpPr>
          <p:spPr bwMode="auto">
            <a:xfrm>
              <a:off x="3521076" y="1550988"/>
              <a:ext cx="79375" cy="196850"/>
            </a:xfrm>
            <a:custGeom>
              <a:avLst/>
              <a:gdLst/>
              <a:ahLst/>
              <a:cxnLst>
                <a:cxn ang="0">
                  <a:pos x="397" y="0"/>
                </a:cxn>
                <a:cxn ang="0">
                  <a:pos x="0" y="0"/>
                </a:cxn>
                <a:cxn ang="0">
                  <a:pos x="0" y="990"/>
                </a:cxn>
                <a:cxn ang="0">
                  <a:pos x="397" y="791"/>
                </a:cxn>
                <a:cxn ang="0">
                  <a:pos x="397" y="0"/>
                </a:cxn>
              </a:cxnLst>
              <a:rect l="0" t="0" r="r" b="b"/>
              <a:pathLst>
                <a:path w="397" h="990">
                  <a:moveTo>
                    <a:pt x="397" y="0"/>
                  </a:moveTo>
                  <a:lnTo>
                    <a:pt x="0" y="0"/>
                  </a:lnTo>
                  <a:lnTo>
                    <a:pt x="0" y="990"/>
                  </a:lnTo>
                  <a:lnTo>
                    <a:pt x="397" y="791"/>
                  </a:lnTo>
                  <a:lnTo>
                    <a:pt x="397" y="0"/>
                  </a:lnTo>
                  <a:close/>
                </a:path>
              </a:pathLst>
            </a:custGeom>
            <a:solidFill>
              <a:srgbClr val="FAAB1F"/>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338">
              <a:extLst>
                <a:ext uri="{FF2B5EF4-FFF2-40B4-BE49-F238E27FC236}">
                  <a16:creationId xmlns:a16="http://schemas.microsoft.com/office/drawing/2014/main" id="{3E792E45-9A68-AE14-1D96-BA8D23A12FEA}"/>
                </a:ext>
              </a:extLst>
            </p:cNvPr>
            <p:cNvSpPr>
              <a:spLocks/>
            </p:cNvSpPr>
            <p:nvPr/>
          </p:nvSpPr>
          <p:spPr bwMode="auto">
            <a:xfrm>
              <a:off x="3521076" y="1550988"/>
              <a:ext cx="79375" cy="196850"/>
            </a:xfrm>
            <a:custGeom>
              <a:avLst/>
              <a:gdLst/>
              <a:ahLst/>
              <a:cxnLst>
                <a:cxn ang="0">
                  <a:pos x="397" y="0"/>
                </a:cxn>
                <a:cxn ang="0">
                  <a:pos x="0" y="0"/>
                </a:cxn>
                <a:cxn ang="0">
                  <a:pos x="0" y="990"/>
                </a:cxn>
                <a:cxn ang="0">
                  <a:pos x="397" y="791"/>
                </a:cxn>
                <a:cxn ang="0">
                  <a:pos x="397" y="0"/>
                </a:cxn>
              </a:cxnLst>
              <a:rect l="0" t="0" r="r" b="b"/>
              <a:pathLst>
                <a:path w="397" h="990">
                  <a:moveTo>
                    <a:pt x="397" y="0"/>
                  </a:moveTo>
                  <a:lnTo>
                    <a:pt x="0" y="0"/>
                  </a:lnTo>
                  <a:lnTo>
                    <a:pt x="0" y="990"/>
                  </a:lnTo>
                  <a:lnTo>
                    <a:pt x="397" y="791"/>
                  </a:lnTo>
                  <a:lnTo>
                    <a:pt x="397"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339">
              <a:extLst>
                <a:ext uri="{FF2B5EF4-FFF2-40B4-BE49-F238E27FC236}">
                  <a16:creationId xmlns:a16="http://schemas.microsoft.com/office/drawing/2014/main" id="{8D03748C-834D-7643-D3D5-CF06AF3E3E9F}"/>
                </a:ext>
              </a:extLst>
            </p:cNvPr>
            <p:cNvSpPr>
              <a:spLocks/>
            </p:cNvSpPr>
            <p:nvPr/>
          </p:nvSpPr>
          <p:spPr bwMode="auto">
            <a:xfrm>
              <a:off x="3808413" y="1603375"/>
              <a:ext cx="104775" cy="207962"/>
            </a:xfrm>
            <a:custGeom>
              <a:avLst/>
              <a:gdLst/>
              <a:ahLst/>
              <a:cxnLst>
                <a:cxn ang="0">
                  <a:pos x="0" y="0"/>
                </a:cxn>
                <a:cxn ang="0">
                  <a:pos x="0" y="1050"/>
                </a:cxn>
                <a:cxn ang="0">
                  <a:pos x="528" y="1050"/>
                </a:cxn>
                <a:cxn ang="0">
                  <a:pos x="528" y="527"/>
                </a:cxn>
                <a:cxn ang="0">
                  <a:pos x="0" y="0"/>
                </a:cxn>
              </a:cxnLst>
              <a:rect l="0" t="0" r="r" b="b"/>
              <a:pathLst>
                <a:path w="528" h="1050">
                  <a:moveTo>
                    <a:pt x="0" y="0"/>
                  </a:moveTo>
                  <a:lnTo>
                    <a:pt x="0" y="1050"/>
                  </a:lnTo>
                  <a:lnTo>
                    <a:pt x="528" y="1050"/>
                  </a:lnTo>
                  <a:lnTo>
                    <a:pt x="528" y="527"/>
                  </a:lnTo>
                  <a:lnTo>
                    <a:pt x="0" y="0"/>
                  </a:lnTo>
                  <a:close/>
                </a:path>
              </a:pathLst>
            </a:custGeom>
            <a:solidFill>
              <a:srgbClr val="CC881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340">
              <a:extLst>
                <a:ext uri="{FF2B5EF4-FFF2-40B4-BE49-F238E27FC236}">
                  <a16:creationId xmlns:a16="http://schemas.microsoft.com/office/drawing/2014/main" id="{8A5DF032-FD89-CCD0-FDB6-4689C886779D}"/>
                </a:ext>
              </a:extLst>
            </p:cNvPr>
            <p:cNvSpPr>
              <a:spLocks/>
            </p:cNvSpPr>
            <p:nvPr/>
          </p:nvSpPr>
          <p:spPr bwMode="auto">
            <a:xfrm>
              <a:off x="3703638" y="1603375"/>
              <a:ext cx="104775" cy="207962"/>
            </a:xfrm>
            <a:custGeom>
              <a:avLst/>
              <a:gdLst/>
              <a:ahLst/>
              <a:cxnLst>
                <a:cxn ang="0">
                  <a:pos x="0" y="791"/>
                </a:cxn>
                <a:cxn ang="0">
                  <a:pos x="0" y="1050"/>
                </a:cxn>
                <a:cxn ang="0">
                  <a:pos x="527" y="1050"/>
                </a:cxn>
                <a:cxn ang="0">
                  <a:pos x="527" y="0"/>
                </a:cxn>
                <a:cxn ang="0">
                  <a:pos x="0" y="791"/>
                </a:cxn>
              </a:cxnLst>
              <a:rect l="0" t="0" r="r" b="b"/>
              <a:pathLst>
                <a:path w="527" h="1050">
                  <a:moveTo>
                    <a:pt x="0" y="791"/>
                  </a:moveTo>
                  <a:lnTo>
                    <a:pt x="0" y="1050"/>
                  </a:lnTo>
                  <a:lnTo>
                    <a:pt x="527" y="1050"/>
                  </a:lnTo>
                  <a:lnTo>
                    <a:pt x="527" y="0"/>
                  </a:lnTo>
                  <a:lnTo>
                    <a:pt x="0" y="791"/>
                  </a:lnTo>
                  <a:close/>
                </a:path>
              </a:pathLst>
            </a:custGeom>
            <a:solidFill>
              <a:srgbClr val="CC881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341">
              <a:extLst>
                <a:ext uri="{FF2B5EF4-FFF2-40B4-BE49-F238E27FC236}">
                  <a16:creationId xmlns:a16="http://schemas.microsoft.com/office/drawing/2014/main" id="{EA9F83BC-D960-56CC-E25B-08EEC5C690A7}"/>
                </a:ext>
              </a:extLst>
            </p:cNvPr>
            <p:cNvSpPr>
              <a:spLocks/>
            </p:cNvSpPr>
            <p:nvPr/>
          </p:nvSpPr>
          <p:spPr bwMode="auto">
            <a:xfrm>
              <a:off x="3703638" y="1603375"/>
              <a:ext cx="104775" cy="207962"/>
            </a:xfrm>
            <a:custGeom>
              <a:avLst/>
              <a:gdLst/>
              <a:ahLst/>
              <a:cxnLst>
                <a:cxn ang="0">
                  <a:pos x="0" y="791"/>
                </a:cxn>
                <a:cxn ang="0">
                  <a:pos x="0" y="1050"/>
                </a:cxn>
                <a:cxn ang="0">
                  <a:pos x="527" y="1050"/>
                </a:cxn>
                <a:cxn ang="0">
                  <a:pos x="527" y="0"/>
                </a:cxn>
                <a:cxn ang="0">
                  <a:pos x="0" y="791"/>
                </a:cxn>
              </a:cxnLst>
              <a:rect l="0" t="0" r="r" b="b"/>
              <a:pathLst>
                <a:path w="527" h="1050">
                  <a:moveTo>
                    <a:pt x="0" y="791"/>
                  </a:moveTo>
                  <a:lnTo>
                    <a:pt x="0" y="1050"/>
                  </a:lnTo>
                  <a:lnTo>
                    <a:pt x="527" y="1050"/>
                  </a:lnTo>
                  <a:lnTo>
                    <a:pt x="527" y="0"/>
                  </a:lnTo>
                  <a:lnTo>
                    <a:pt x="0" y="791"/>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342">
              <a:extLst>
                <a:ext uri="{FF2B5EF4-FFF2-40B4-BE49-F238E27FC236}">
                  <a16:creationId xmlns:a16="http://schemas.microsoft.com/office/drawing/2014/main" id="{45A147C8-EE55-F2B5-B595-F8DC5F566550}"/>
                </a:ext>
              </a:extLst>
            </p:cNvPr>
            <p:cNvSpPr>
              <a:spLocks/>
            </p:cNvSpPr>
            <p:nvPr/>
          </p:nvSpPr>
          <p:spPr bwMode="auto">
            <a:xfrm>
              <a:off x="3521076" y="1708150"/>
              <a:ext cx="79375" cy="103187"/>
            </a:xfrm>
            <a:custGeom>
              <a:avLst/>
              <a:gdLst/>
              <a:ahLst/>
              <a:cxnLst>
                <a:cxn ang="0">
                  <a:pos x="0" y="199"/>
                </a:cxn>
                <a:cxn ang="0">
                  <a:pos x="0" y="523"/>
                </a:cxn>
                <a:cxn ang="0">
                  <a:pos x="397" y="523"/>
                </a:cxn>
                <a:cxn ang="0">
                  <a:pos x="397" y="0"/>
                </a:cxn>
                <a:cxn ang="0">
                  <a:pos x="0" y="199"/>
                </a:cxn>
              </a:cxnLst>
              <a:rect l="0" t="0" r="r" b="b"/>
              <a:pathLst>
                <a:path w="397" h="523">
                  <a:moveTo>
                    <a:pt x="0" y="199"/>
                  </a:moveTo>
                  <a:lnTo>
                    <a:pt x="0" y="523"/>
                  </a:lnTo>
                  <a:lnTo>
                    <a:pt x="397" y="523"/>
                  </a:lnTo>
                  <a:lnTo>
                    <a:pt x="397" y="0"/>
                  </a:lnTo>
                  <a:lnTo>
                    <a:pt x="0" y="199"/>
                  </a:lnTo>
                  <a:close/>
                </a:path>
              </a:pathLst>
            </a:custGeom>
            <a:solidFill>
              <a:srgbClr val="CC881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343">
              <a:extLst>
                <a:ext uri="{FF2B5EF4-FFF2-40B4-BE49-F238E27FC236}">
                  <a16:creationId xmlns:a16="http://schemas.microsoft.com/office/drawing/2014/main" id="{B04041B0-D935-3E60-98D4-A51687652834}"/>
                </a:ext>
              </a:extLst>
            </p:cNvPr>
            <p:cNvSpPr>
              <a:spLocks/>
            </p:cNvSpPr>
            <p:nvPr/>
          </p:nvSpPr>
          <p:spPr bwMode="auto">
            <a:xfrm>
              <a:off x="3521076" y="1708150"/>
              <a:ext cx="79375" cy="103187"/>
            </a:xfrm>
            <a:custGeom>
              <a:avLst/>
              <a:gdLst/>
              <a:ahLst/>
              <a:cxnLst>
                <a:cxn ang="0">
                  <a:pos x="0" y="199"/>
                </a:cxn>
                <a:cxn ang="0">
                  <a:pos x="0" y="523"/>
                </a:cxn>
                <a:cxn ang="0">
                  <a:pos x="397" y="523"/>
                </a:cxn>
                <a:cxn ang="0">
                  <a:pos x="397" y="0"/>
                </a:cxn>
                <a:cxn ang="0">
                  <a:pos x="0" y="199"/>
                </a:cxn>
              </a:cxnLst>
              <a:rect l="0" t="0" r="r" b="b"/>
              <a:pathLst>
                <a:path w="397" h="523">
                  <a:moveTo>
                    <a:pt x="0" y="199"/>
                  </a:moveTo>
                  <a:lnTo>
                    <a:pt x="0" y="523"/>
                  </a:lnTo>
                  <a:lnTo>
                    <a:pt x="397" y="523"/>
                  </a:lnTo>
                  <a:lnTo>
                    <a:pt x="397" y="0"/>
                  </a:lnTo>
                  <a:lnTo>
                    <a:pt x="0" y="199"/>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344">
              <a:extLst>
                <a:ext uri="{FF2B5EF4-FFF2-40B4-BE49-F238E27FC236}">
                  <a16:creationId xmlns:a16="http://schemas.microsoft.com/office/drawing/2014/main" id="{D210FA0B-52F7-BD66-D185-17D79A38AB8E}"/>
                </a:ext>
              </a:extLst>
            </p:cNvPr>
            <p:cNvSpPr>
              <a:spLocks/>
            </p:cNvSpPr>
            <p:nvPr/>
          </p:nvSpPr>
          <p:spPr bwMode="auto">
            <a:xfrm>
              <a:off x="3913188" y="1628775"/>
              <a:ext cx="79375" cy="182562"/>
            </a:xfrm>
            <a:custGeom>
              <a:avLst/>
              <a:gdLst/>
              <a:ahLst/>
              <a:cxnLst>
                <a:cxn ang="0">
                  <a:pos x="401" y="0"/>
                </a:cxn>
                <a:cxn ang="0">
                  <a:pos x="0" y="397"/>
                </a:cxn>
                <a:cxn ang="0">
                  <a:pos x="0" y="920"/>
                </a:cxn>
                <a:cxn ang="0">
                  <a:pos x="401" y="920"/>
                </a:cxn>
                <a:cxn ang="0">
                  <a:pos x="401" y="0"/>
                </a:cxn>
              </a:cxnLst>
              <a:rect l="0" t="0" r="r" b="b"/>
              <a:pathLst>
                <a:path w="401" h="920">
                  <a:moveTo>
                    <a:pt x="401" y="0"/>
                  </a:moveTo>
                  <a:lnTo>
                    <a:pt x="0" y="397"/>
                  </a:lnTo>
                  <a:lnTo>
                    <a:pt x="0" y="920"/>
                  </a:lnTo>
                  <a:lnTo>
                    <a:pt x="401" y="920"/>
                  </a:lnTo>
                  <a:lnTo>
                    <a:pt x="401" y="0"/>
                  </a:lnTo>
                  <a:close/>
                </a:path>
              </a:pathLst>
            </a:custGeom>
            <a:solidFill>
              <a:srgbClr val="CC881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Freeform 345">
              <a:extLst>
                <a:ext uri="{FF2B5EF4-FFF2-40B4-BE49-F238E27FC236}">
                  <a16:creationId xmlns:a16="http://schemas.microsoft.com/office/drawing/2014/main" id="{C6AB2B85-C048-A161-434D-20322E47BE5B}"/>
                </a:ext>
              </a:extLst>
            </p:cNvPr>
            <p:cNvSpPr>
              <a:spLocks/>
            </p:cNvSpPr>
            <p:nvPr/>
          </p:nvSpPr>
          <p:spPr bwMode="auto">
            <a:xfrm>
              <a:off x="3600451" y="1708150"/>
              <a:ext cx="103188" cy="103187"/>
            </a:xfrm>
            <a:custGeom>
              <a:avLst/>
              <a:gdLst/>
              <a:ahLst/>
              <a:cxnLst>
                <a:cxn ang="0">
                  <a:pos x="0" y="0"/>
                </a:cxn>
                <a:cxn ang="0">
                  <a:pos x="0" y="523"/>
                </a:cxn>
                <a:cxn ang="0">
                  <a:pos x="528" y="523"/>
                </a:cxn>
                <a:cxn ang="0">
                  <a:pos x="528" y="264"/>
                </a:cxn>
                <a:cxn ang="0">
                  <a:pos x="0" y="0"/>
                </a:cxn>
              </a:cxnLst>
              <a:rect l="0" t="0" r="r" b="b"/>
              <a:pathLst>
                <a:path w="528" h="523">
                  <a:moveTo>
                    <a:pt x="0" y="0"/>
                  </a:moveTo>
                  <a:lnTo>
                    <a:pt x="0" y="523"/>
                  </a:lnTo>
                  <a:lnTo>
                    <a:pt x="528" y="523"/>
                  </a:lnTo>
                  <a:lnTo>
                    <a:pt x="528" y="264"/>
                  </a:lnTo>
                  <a:lnTo>
                    <a:pt x="0" y="0"/>
                  </a:lnTo>
                  <a:close/>
                </a:path>
              </a:pathLst>
            </a:custGeom>
            <a:solidFill>
              <a:srgbClr val="CC881B"/>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Freeform 346">
              <a:extLst>
                <a:ext uri="{FF2B5EF4-FFF2-40B4-BE49-F238E27FC236}">
                  <a16:creationId xmlns:a16="http://schemas.microsoft.com/office/drawing/2014/main" id="{4023D915-0D29-6E09-E159-2381D646C4C7}"/>
                </a:ext>
              </a:extLst>
            </p:cNvPr>
            <p:cNvSpPr>
              <a:spLocks/>
            </p:cNvSpPr>
            <p:nvPr/>
          </p:nvSpPr>
          <p:spPr bwMode="auto">
            <a:xfrm>
              <a:off x="3600451" y="1708150"/>
              <a:ext cx="103188" cy="103187"/>
            </a:xfrm>
            <a:custGeom>
              <a:avLst/>
              <a:gdLst/>
              <a:ahLst/>
              <a:cxnLst>
                <a:cxn ang="0">
                  <a:pos x="0" y="0"/>
                </a:cxn>
                <a:cxn ang="0">
                  <a:pos x="0" y="523"/>
                </a:cxn>
                <a:cxn ang="0">
                  <a:pos x="528" y="523"/>
                </a:cxn>
                <a:cxn ang="0">
                  <a:pos x="528" y="264"/>
                </a:cxn>
                <a:cxn ang="0">
                  <a:pos x="0" y="0"/>
                </a:cxn>
              </a:cxnLst>
              <a:rect l="0" t="0" r="r" b="b"/>
              <a:pathLst>
                <a:path w="528" h="523">
                  <a:moveTo>
                    <a:pt x="0" y="0"/>
                  </a:moveTo>
                  <a:lnTo>
                    <a:pt x="0" y="523"/>
                  </a:lnTo>
                  <a:lnTo>
                    <a:pt x="528" y="523"/>
                  </a:lnTo>
                  <a:lnTo>
                    <a:pt x="528" y="264"/>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Rectangle 347">
              <a:extLst>
                <a:ext uri="{FF2B5EF4-FFF2-40B4-BE49-F238E27FC236}">
                  <a16:creationId xmlns:a16="http://schemas.microsoft.com/office/drawing/2014/main" id="{C64E0224-6109-DCA3-1A61-750655F6609F}"/>
                </a:ext>
              </a:extLst>
            </p:cNvPr>
            <p:cNvSpPr>
              <a:spLocks noChangeArrowheads="1"/>
            </p:cNvSpPr>
            <p:nvPr/>
          </p:nvSpPr>
          <p:spPr bwMode="auto">
            <a:xfrm>
              <a:off x="3598863" y="1550988"/>
              <a:ext cx="1588" cy="260350"/>
            </a:xfrm>
            <a:prstGeom prst="rect">
              <a:avLst/>
            </a:prstGeom>
            <a:solidFill>
              <a:srgbClr val="E2971E"/>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1" name="Rectangle 348">
              <a:extLst>
                <a:ext uri="{FF2B5EF4-FFF2-40B4-BE49-F238E27FC236}">
                  <a16:creationId xmlns:a16="http://schemas.microsoft.com/office/drawing/2014/main" id="{0EA41EFD-1B65-0972-D0EE-0932CC6C5AD2}"/>
                </a:ext>
              </a:extLst>
            </p:cNvPr>
            <p:cNvSpPr>
              <a:spLocks noChangeArrowheads="1"/>
            </p:cNvSpPr>
            <p:nvPr/>
          </p:nvSpPr>
          <p:spPr bwMode="auto">
            <a:xfrm>
              <a:off x="3598863" y="1550988"/>
              <a:ext cx="1588" cy="2603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2" name="Rectangle 349">
              <a:extLst>
                <a:ext uri="{FF2B5EF4-FFF2-40B4-BE49-F238E27FC236}">
                  <a16:creationId xmlns:a16="http://schemas.microsoft.com/office/drawing/2014/main" id="{07963CD5-84B4-A92A-BD26-58FC6B25A2DB}"/>
                </a:ext>
              </a:extLst>
            </p:cNvPr>
            <p:cNvSpPr>
              <a:spLocks noChangeArrowheads="1"/>
            </p:cNvSpPr>
            <p:nvPr/>
          </p:nvSpPr>
          <p:spPr bwMode="auto">
            <a:xfrm>
              <a:off x="3703638" y="1550988"/>
              <a:ext cx="1588" cy="260350"/>
            </a:xfrm>
            <a:prstGeom prst="rect">
              <a:avLst/>
            </a:prstGeom>
            <a:solidFill>
              <a:srgbClr val="E2971E"/>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3" name="Rectangle 350">
              <a:extLst>
                <a:ext uri="{FF2B5EF4-FFF2-40B4-BE49-F238E27FC236}">
                  <a16:creationId xmlns:a16="http://schemas.microsoft.com/office/drawing/2014/main" id="{E83F71F2-E388-32FB-51F3-4AC4CC885FB2}"/>
                </a:ext>
              </a:extLst>
            </p:cNvPr>
            <p:cNvSpPr>
              <a:spLocks noChangeArrowheads="1"/>
            </p:cNvSpPr>
            <p:nvPr/>
          </p:nvSpPr>
          <p:spPr bwMode="auto">
            <a:xfrm>
              <a:off x="3703638" y="1550988"/>
              <a:ext cx="1588" cy="260350"/>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4" name="Rectangle 351">
              <a:extLst>
                <a:ext uri="{FF2B5EF4-FFF2-40B4-BE49-F238E27FC236}">
                  <a16:creationId xmlns:a16="http://schemas.microsoft.com/office/drawing/2014/main" id="{903D2951-300E-9C7C-D2DE-F3130B1AEC06}"/>
                </a:ext>
              </a:extLst>
            </p:cNvPr>
            <p:cNvSpPr>
              <a:spLocks noChangeArrowheads="1"/>
            </p:cNvSpPr>
            <p:nvPr/>
          </p:nvSpPr>
          <p:spPr bwMode="auto">
            <a:xfrm>
              <a:off x="3808413" y="1550988"/>
              <a:ext cx="1588" cy="260350"/>
            </a:xfrm>
            <a:prstGeom prst="rect">
              <a:avLst/>
            </a:prstGeom>
            <a:solidFill>
              <a:srgbClr val="E2971E"/>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5" name="Rectangle 352">
              <a:extLst>
                <a:ext uri="{FF2B5EF4-FFF2-40B4-BE49-F238E27FC236}">
                  <a16:creationId xmlns:a16="http://schemas.microsoft.com/office/drawing/2014/main" id="{647EB947-7CA2-AC61-911D-F7132EB3C549}"/>
                </a:ext>
              </a:extLst>
            </p:cNvPr>
            <p:cNvSpPr>
              <a:spLocks noChangeArrowheads="1"/>
            </p:cNvSpPr>
            <p:nvPr/>
          </p:nvSpPr>
          <p:spPr bwMode="auto">
            <a:xfrm>
              <a:off x="3913188" y="1550988"/>
              <a:ext cx="1588" cy="260350"/>
            </a:xfrm>
            <a:prstGeom prst="rect">
              <a:avLst/>
            </a:prstGeom>
            <a:solidFill>
              <a:srgbClr val="E2971E"/>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36" name="Freeform 353">
              <a:extLst>
                <a:ext uri="{FF2B5EF4-FFF2-40B4-BE49-F238E27FC236}">
                  <a16:creationId xmlns:a16="http://schemas.microsoft.com/office/drawing/2014/main" id="{2716F537-15E2-8D19-8A44-D7C721C483A0}"/>
                </a:ext>
              </a:extLst>
            </p:cNvPr>
            <p:cNvSpPr>
              <a:spLocks/>
            </p:cNvSpPr>
            <p:nvPr/>
          </p:nvSpPr>
          <p:spPr bwMode="auto">
            <a:xfrm>
              <a:off x="3500438" y="1597025"/>
              <a:ext cx="508000" cy="169862"/>
            </a:xfrm>
            <a:custGeom>
              <a:avLst/>
              <a:gdLst/>
              <a:ahLst/>
              <a:cxnLst>
                <a:cxn ang="0">
                  <a:pos x="1028" y="857"/>
                </a:cxn>
                <a:cxn ang="0">
                  <a:pos x="1013" y="854"/>
                </a:cxn>
                <a:cxn ang="0">
                  <a:pos x="48" y="823"/>
                </a:cxn>
                <a:cxn ang="0">
                  <a:pos x="41" y="826"/>
                </a:cxn>
                <a:cxn ang="0">
                  <a:pos x="29" y="826"/>
                </a:cxn>
                <a:cxn ang="0">
                  <a:pos x="17" y="822"/>
                </a:cxn>
                <a:cxn ang="0">
                  <a:pos x="7" y="813"/>
                </a:cxn>
                <a:cxn ang="0">
                  <a:pos x="3" y="808"/>
                </a:cxn>
                <a:cxn ang="0">
                  <a:pos x="0" y="796"/>
                </a:cxn>
                <a:cxn ang="0">
                  <a:pos x="2" y="783"/>
                </a:cxn>
                <a:cxn ang="0">
                  <a:pos x="9" y="772"/>
                </a:cxn>
                <a:cxn ang="0">
                  <a:pos x="19" y="764"/>
                </a:cxn>
                <a:cxn ang="0">
                  <a:pos x="486" y="531"/>
                </a:cxn>
                <a:cxn ang="0">
                  <a:pos x="500" y="527"/>
                </a:cxn>
                <a:cxn ang="0">
                  <a:pos x="514" y="531"/>
                </a:cxn>
                <a:cxn ang="0">
                  <a:pos x="1527" y="14"/>
                </a:cxn>
                <a:cxn ang="0">
                  <a:pos x="1533" y="9"/>
                </a:cxn>
                <a:cxn ang="0">
                  <a:pos x="1545" y="2"/>
                </a:cxn>
                <a:cxn ang="0">
                  <a:pos x="1552" y="0"/>
                </a:cxn>
                <a:cxn ang="0">
                  <a:pos x="1567" y="2"/>
                </a:cxn>
                <a:cxn ang="0">
                  <a:pos x="1579" y="10"/>
                </a:cxn>
                <a:cxn ang="0">
                  <a:pos x="2506" y="93"/>
                </a:cxn>
                <a:cxn ang="0">
                  <a:pos x="2511" y="89"/>
                </a:cxn>
                <a:cxn ang="0">
                  <a:pos x="2524" y="85"/>
                </a:cxn>
                <a:cxn ang="0">
                  <a:pos x="2536" y="85"/>
                </a:cxn>
                <a:cxn ang="0">
                  <a:pos x="2549" y="90"/>
                </a:cxn>
                <a:cxn ang="0">
                  <a:pos x="2554" y="94"/>
                </a:cxn>
                <a:cxn ang="0">
                  <a:pos x="2561" y="105"/>
                </a:cxn>
                <a:cxn ang="0">
                  <a:pos x="2563" y="117"/>
                </a:cxn>
                <a:cxn ang="0">
                  <a:pos x="2560" y="129"/>
                </a:cxn>
                <a:cxn ang="0">
                  <a:pos x="2553" y="141"/>
                </a:cxn>
                <a:cxn ang="0">
                  <a:pos x="2105" y="584"/>
                </a:cxn>
                <a:cxn ang="0">
                  <a:pos x="2095" y="591"/>
                </a:cxn>
                <a:cxn ang="0">
                  <a:pos x="2083" y="593"/>
                </a:cxn>
                <a:cxn ang="0">
                  <a:pos x="2070" y="591"/>
                </a:cxn>
                <a:cxn ang="0">
                  <a:pos x="2059" y="584"/>
                </a:cxn>
                <a:cxn ang="0">
                  <a:pos x="1055" y="842"/>
                </a:cxn>
                <a:cxn ang="0">
                  <a:pos x="1049" y="849"/>
                </a:cxn>
                <a:cxn ang="0">
                  <a:pos x="1036" y="856"/>
                </a:cxn>
              </a:cxnLst>
              <a:rect l="0" t="0" r="r" b="b"/>
              <a:pathLst>
                <a:path w="2563" h="857">
                  <a:moveTo>
                    <a:pt x="1028" y="857"/>
                  </a:moveTo>
                  <a:lnTo>
                    <a:pt x="1028" y="857"/>
                  </a:lnTo>
                  <a:lnTo>
                    <a:pt x="1020" y="856"/>
                  </a:lnTo>
                  <a:lnTo>
                    <a:pt x="1013" y="854"/>
                  </a:lnTo>
                  <a:lnTo>
                    <a:pt x="500" y="597"/>
                  </a:lnTo>
                  <a:lnTo>
                    <a:pt x="48" y="823"/>
                  </a:lnTo>
                  <a:lnTo>
                    <a:pt x="48" y="823"/>
                  </a:lnTo>
                  <a:lnTo>
                    <a:pt x="41" y="826"/>
                  </a:lnTo>
                  <a:lnTo>
                    <a:pt x="35" y="827"/>
                  </a:lnTo>
                  <a:lnTo>
                    <a:pt x="29" y="826"/>
                  </a:lnTo>
                  <a:lnTo>
                    <a:pt x="23" y="825"/>
                  </a:lnTo>
                  <a:lnTo>
                    <a:pt x="17" y="822"/>
                  </a:lnTo>
                  <a:lnTo>
                    <a:pt x="12" y="819"/>
                  </a:lnTo>
                  <a:lnTo>
                    <a:pt x="7" y="813"/>
                  </a:lnTo>
                  <a:lnTo>
                    <a:pt x="3" y="808"/>
                  </a:lnTo>
                  <a:lnTo>
                    <a:pt x="3" y="808"/>
                  </a:lnTo>
                  <a:lnTo>
                    <a:pt x="1" y="802"/>
                  </a:lnTo>
                  <a:lnTo>
                    <a:pt x="0" y="796"/>
                  </a:lnTo>
                  <a:lnTo>
                    <a:pt x="0" y="789"/>
                  </a:lnTo>
                  <a:lnTo>
                    <a:pt x="2" y="783"/>
                  </a:lnTo>
                  <a:lnTo>
                    <a:pt x="4" y="777"/>
                  </a:lnTo>
                  <a:lnTo>
                    <a:pt x="9" y="772"/>
                  </a:lnTo>
                  <a:lnTo>
                    <a:pt x="13" y="767"/>
                  </a:lnTo>
                  <a:lnTo>
                    <a:pt x="19" y="764"/>
                  </a:lnTo>
                  <a:lnTo>
                    <a:pt x="486" y="531"/>
                  </a:lnTo>
                  <a:lnTo>
                    <a:pt x="486" y="531"/>
                  </a:lnTo>
                  <a:lnTo>
                    <a:pt x="493" y="528"/>
                  </a:lnTo>
                  <a:lnTo>
                    <a:pt x="500" y="527"/>
                  </a:lnTo>
                  <a:lnTo>
                    <a:pt x="507" y="528"/>
                  </a:lnTo>
                  <a:lnTo>
                    <a:pt x="514" y="531"/>
                  </a:lnTo>
                  <a:lnTo>
                    <a:pt x="1016" y="782"/>
                  </a:lnTo>
                  <a:lnTo>
                    <a:pt x="1527" y="14"/>
                  </a:lnTo>
                  <a:lnTo>
                    <a:pt x="1527" y="14"/>
                  </a:lnTo>
                  <a:lnTo>
                    <a:pt x="1533" y="9"/>
                  </a:lnTo>
                  <a:lnTo>
                    <a:pt x="1538" y="5"/>
                  </a:lnTo>
                  <a:lnTo>
                    <a:pt x="1545" y="2"/>
                  </a:lnTo>
                  <a:lnTo>
                    <a:pt x="1552" y="0"/>
                  </a:lnTo>
                  <a:lnTo>
                    <a:pt x="1552" y="0"/>
                  </a:lnTo>
                  <a:lnTo>
                    <a:pt x="1559" y="0"/>
                  </a:lnTo>
                  <a:lnTo>
                    <a:pt x="1567" y="2"/>
                  </a:lnTo>
                  <a:lnTo>
                    <a:pt x="1573" y="5"/>
                  </a:lnTo>
                  <a:lnTo>
                    <a:pt x="1579" y="10"/>
                  </a:lnTo>
                  <a:lnTo>
                    <a:pt x="2083" y="514"/>
                  </a:lnTo>
                  <a:lnTo>
                    <a:pt x="2506" y="93"/>
                  </a:lnTo>
                  <a:lnTo>
                    <a:pt x="2506" y="93"/>
                  </a:lnTo>
                  <a:lnTo>
                    <a:pt x="2511" y="89"/>
                  </a:lnTo>
                  <a:lnTo>
                    <a:pt x="2518" y="86"/>
                  </a:lnTo>
                  <a:lnTo>
                    <a:pt x="2524" y="85"/>
                  </a:lnTo>
                  <a:lnTo>
                    <a:pt x="2530" y="84"/>
                  </a:lnTo>
                  <a:lnTo>
                    <a:pt x="2536" y="85"/>
                  </a:lnTo>
                  <a:lnTo>
                    <a:pt x="2542" y="87"/>
                  </a:lnTo>
                  <a:lnTo>
                    <a:pt x="2549" y="90"/>
                  </a:lnTo>
                  <a:lnTo>
                    <a:pt x="2554" y="94"/>
                  </a:lnTo>
                  <a:lnTo>
                    <a:pt x="2554" y="94"/>
                  </a:lnTo>
                  <a:lnTo>
                    <a:pt x="2558" y="100"/>
                  </a:lnTo>
                  <a:lnTo>
                    <a:pt x="2561" y="105"/>
                  </a:lnTo>
                  <a:lnTo>
                    <a:pt x="2562" y="111"/>
                  </a:lnTo>
                  <a:lnTo>
                    <a:pt x="2563" y="117"/>
                  </a:lnTo>
                  <a:lnTo>
                    <a:pt x="2562" y="123"/>
                  </a:lnTo>
                  <a:lnTo>
                    <a:pt x="2560" y="129"/>
                  </a:lnTo>
                  <a:lnTo>
                    <a:pt x="2558" y="136"/>
                  </a:lnTo>
                  <a:lnTo>
                    <a:pt x="2553" y="141"/>
                  </a:lnTo>
                  <a:lnTo>
                    <a:pt x="2105" y="584"/>
                  </a:lnTo>
                  <a:lnTo>
                    <a:pt x="2105" y="584"/>
                  </a:lnTo>
                  <a:lnTo>
                    <a:pt x="2100" y="588"/>
                  </a:lnTo>
                  <a:lnTo>
                    <a:pt x="2095" y="591"/>
                  </a:lnTo>
                  <a:lnTo>
                    <a:pt x="2089" y="593"/>
                  </a:lnTo>
                  <a:lnTo>
                    <a:pt x="2083" y="593"/>
                  </a:lnTo>
                  <a:lnTo>
                    <a:pt x="2077" y="593"/>
                  </a:lnTo>
                  <a:lnTo>
                    <a:pt x="2070" y="591"/>
                  </a:lnTo>
                  <a:lnTo>
                    <a:pt x="2064" y="588"/>
                  </a:lnTo>
                  <a:lnTo>
                    <a:pt x="2059" y="584"/>
                  </a:lnTo>
                  <a:lnTo>
                    <a:pt x="1560" y="84"/>
                  </a:lnTo>
                  <a:lnTo>
                    <a:pt x="1055" y="842"/>
                  </a:lnTo>
                  <a:lnTo>
                    <a:pt x="1055" y="842"/>
                  </a:lnTo>
                  <a:lnTo>
                    <a:pt x="1049" y="849"/>
                  </a:lnTo>
                  <a:lnTo>
                    <a:pt x="1043" y="854"/>
                  </a:lnTo>
                  <a:lnTo>
                    <a:pt x="1036" y="856"/>
                  </a:lnTo>
                  <a:lnTo>
                    <a:pt x="1028" y="857"/>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7" name="Freeform 354">
              <a:extLst>
                <a:ext uri="{FF2B5EF4-FFF2-40B4-BE49-F238E27FC236}">
                  <a16:creationId xmlns:a16="http://schemas.microsoft.com/office/drawing/2014/main" id="{7227C38C-9692-A6B0-39F6-232548B11973}"/>
                </a:ext>
              </a:extLst>
            </p:cNvPr>
            <p:cNvSpPr>
              <a:spLocks/>
            </p:cNvSpPr>
            <p:nvPr/>
          </p:nvSpPr>
          <p:spPr bwMode="auto">
            <a:xfrm>
              <a:off x="3500438" y="1597025"/>
              <a:ext cx="508000" cy="169862"/>
            </a:xfrm>
            <a:custGeom>
              <a:avLst/>
              <a:gdLst/>
              <a:ahLst/>
              <a:cxnLst>
                <a:cxn ang="0">
                  <a:pos x="1028" y="857"/>
                </a:cxn>
                <a:cxn ang="0">
                  <a:pos x="1013" y="854"/>
                </a:cxn>
                <a:cxn ang="0">
                  <a:pos x="48" y="823"/>
                </a:cxn>
                <a:cxn ang="0">
                  <a:pos x="41" y="826"/>
                </a:cxn>
                <a:cxn ang="0">
                  <a:pos x="29" y="826"/>
                </a:cxn>
                <a:cxn ang="0">
                  <a:pos x="17" y="822"/>
                </a:cxn>
                <a:cxn ang="0">
                  <a:pos x="7" y="813"/>
                </a:cxn>
                <a:cxn ang="0">
                  <a:pos x="3" y="808"/>
                </a:cxn>
                <a:cxn ang="0">
                  <a:pos x="0" y="796"/>
                </a:cxn>
                <a:cxn ang="0">
                  <a:pos x="2" y="783"/>
                </a:cxn>
                <a:cxn ang="0">
                  <a:pos x="9" y="772"/>
                </a:cxn>
                <a:cxn ang="0">
                  <a:pos x="19" y="764"/>
                </a:cxn>
                <a:cxn ang="0">
                  <a:pos x="486" y="531"/>
                </a:cxn>
                <a:cxn ang="0">
                  <a:pos x="500" y="527"/>
                </a:cxn>
                <a:cxn ang="0">
                  <a:pos x="514" y="531"/>
                </a:cxn>
                <a:cxn ang="0">
                  <a:pos x="1527" y="14"/>
                </a:cxn>
                <a:cxn ang="0">
                  <a:pos x="1533" y="9"/>
                </a:cxn>
                <a:cxn ang="0">
                  <a:pos x="1545" y="2"/>
                </a:cxn>
                <a:cxn ang="0">
                  <a:pos x="1552" y="0"/>
                </a:cxn>
                <a:cxn ang="0">
                  <a:pos x="1567" y="2"/>
                </a:cxn>
                <a:cxn ang="0">
                  <a:pos x="1579" y="10"/>
                </a:cxn>
                <a:cxn ang="0">
                  <a:pos x="2506" y="93"/>
                </a:cxn>
                <a:cxn ang="0">
                  <a:pos x="2511" y="89"/>
                </a:cxn>
                <a:cxn ang="0">
                  <a:pos x="2524" y="85"/>
                </a:cxn>
                <a:cxn ang="0">
                  <a:pos x="2536" y="85"/>
                </a:cxn>
                <a:cxn ang="0">
                  <a:pos x="2549" y="90"/>
                </a:cxn>
                <a:cxn ang="0">
                  <a:pos x="2554" y="94"/>
                </a:cxn>
                <a:cxn ang="0">
                  <a:pos x="2561" y="105"/>
                </a:cxn>
                <a:cxn ang="0">
                  <a:pos x="2563" y="117"/>
                </a:cxn>
                <a:cxn ang="0">
                  <a:pos x="2560" y="129"/>
                </a:cxn>
                <a:cxn ang="0">
                  <a:pos x="2553" y="141"/>
                </a:cxn>
                <a:cxn ang="0">
                  <a:pos x="2105" y="584"/>
                </a:cxn>
                <a:cxn ang="0">
                  <a:pos x="2095" y="591"/>
                </a:cxn>
                <a:cxn ang="0">
                  <a:pos x="2083" y="593"/>
                </a:cxn>
                <a:cxn ang="0">
                  <a:pos x="2070" y="591"/>
                </a:cxn>
                <a:cxn ang="0">
                  <a:pos x="2059" y="584"/>
                </a:cxn>
                <a:cxn ang="0">
                  <a:pos x="1055" y="842"/>
                </a:cxn>
                <a:cxn ang="0">
                  <a:pos x="1049" y="849"/>
                </a:cxn>
                <a:cxn ang="0">
                  <a:pos x="1036" y="856"/>
                </a:cxn>
              </a:cxnLst>
              <a:rect l="0" t="0" r="r" b="b"/>
              <a:pathLst>
                <a:path w="2563" h="857">
                  <a:moveTo>
                    <a:pt x="1028" y="857"/>
                  </a:moveTo>
                  <a:lnTo>
                    <a:pt x="1028" y="857"/>
                  </a:lnTo>
                  <a:lnTo>
                    <a:pt x="1020" y="856"/>
                  </a:lnTo>
                  <a:lnTo>
                    <a:pt x="1013" y="854"/>
                  </a:lnTo>
                  <a:lnTo>
                    <a:pt x="500" y="597"/>
                  </a:lnTo>
                  <a:lnTo>
                    <a:pt x="48" y="823"/>
                  </a:lnTo>
                  <a:lnTo>
                    <a:pt x="48" y="823"/>
                  </a:lnTo>
                  <a:lnTo>
                    <a:pt x="41" y="826"/>
                  </a:lnTo>
                  <a:lnTo>
                    <a:pt x="35" y="827"/>
                  </a:lnTo>
                  <a:lnTo>
                    <a:pt x="29" y="826"/>
                  </a:lnTo>
                  <a:lnTo>
                    <a:pt x="23" y="825"/>
                  </a:lnTo>
                  <a:lnTo>
                    <a:pt x="17" y="822"/>
                  </a:lnTo>
                  <a:lnTo>
                    <a:pt x="12" y="819"/>
                  </a:lnTo>
                  <a:lnTo>
                    <a:pt x="7" y="813"/>
                  </a:lnTo>
                  <a:lnTo>
                    <a:pt x="3" y="808"/>
                  </a:lnTo>
                  <a:lnTo>
                    <a:pt x="3" y="808"/>
                  </a:lnTo>
                  <a:lnTo>
                    <a:pt x="1" y="802"/>
                  </a:lnTo>
                  <a:lnTo>
                    <a:pt x="0" y="796"/>
                  </a:lnTo>
                  <a:lnTo>
                    <a:pt x="0" y="789"/>
                  </a:lnTo>
                  <a:lnTo>
                    <a:pt x="2" y="783"/>
                  </a:lnTo>
                  <a:lnTo>
                    <a:pt x="4" y="777"/>
                  </a:lnTo>
                  <a:lnTo>
                    <a:pt x="9" y="772"/>
                  </a:lnTo>
                  <a:lnTo>
                    <a:pt x="13" y="767"/>
                  </a:lnTo>
                  <a:lnTo>
                    <a:pt x="19" y="764"/>
                  </a:lnTo>
                  <a:lnTo>
                    <a:pt x="486" y="531"/>
                  </a:lnTo>
                  <a:lnTo>
                    <a:pt x="486" y="531"/>
                  </a:lnTo>
                  <a:lnTo>
                    <a:pt x="493" y="528"/>
                  </a:lnTo>
                  <a:lnTo>
                    <a:pt x="500" y="527"/>
                  </a:lnTo>
                  <a:lnTo>
                    <a:pt x="507" y="528"/>
                  </a:lnTo>
                  <a:lnTo>
                    <a:pt x="514" y="531"/>
                  </a:lnTo>
                  <a:lnTo>
                    <a:pt x="1016" y="782"/>
                  </a:lnTo>
                  <a:lnTo>
                    <a:pt x="1527" y="14"/>
                  </a:lnTo>
                  <a:lnTo>
                    <a:pt x="1527" y="14"/>
                  </a:lnTo>
                  <a:lnTo>
                    <a:pt x="1533" y="9"/>
                  </a:lnTo>
                  <a:lnTo>
                    <a:pt x="1538" y="5"/>
                  </a:lnTo>
                  <a:lnTo>
                    <a:pt x="1545" y="2"/>
                  </a:lnTo>
                  <a:lnTo>
                    <a:pt x="1552" y="0"/>
                  </a:lnTo>
                  <a:lnTo>
                    <a:pt x="1552" y="0"/>
                  </a:lnTo>
                  <a:lnTo>
                    <a:pt x="1559" y="0"/>
                  </a:lnTo>
                  <a:lnTo>
                    <a:pt x="1567" y="2"/>
                  </a:lnTo>
                  <a:lnTo>
                    <a:pt x="1573" y="5"/>
                  </a:lnTo>
                  <a:lnTo>
                    <a:pt x="1579" y="10"/>
                  </a:lnTo>
                  <a:lnTo>
                    <a:pt x="2083" y="514"/>
                  </a:lnTo>
                  <a:lnTo>
                    <a:pt x="2506" y="93"/>
                  </a:lnTo>
                  <a:lnTo>
                    <a:pt x="2506" y="93"/>
                  </a:lnTo>
                  <a:lnTo>
                    <a:pt x="2511" y="89"/>
                  </a:lnTo>
                  <a:lnTo>
                    <a:pt x="2518" y="86"/>
                  </a:lnTo>
                  <a:lnTo>
                    <a:pt x="2524" y="85"/>
                  </a:lnTo>
                  <a:lnTo>
                    <a:pt x="2530" y="84"/>
                  </a:lnTo>
                  <a:lnTo>
                    <a:pt x="2536" y="85"/>
                  </a:lnTo>
                  <a:lnTo>
                    <a:pt x="2542" y="87"/>
                  </a:lnTo>
                  <a:lnTo>
                    <a:pt x="2549" y="90"/>
                  </a:lnTo>
                  <a:lnTo>
                    <a:pt x="2554" y="94"/>
                  </a:lnTo>
                  <a:lnTo>
                    <a:pt x="2554" y="94"/>
                  </a:lnTo>
                  <a:lnTo>
                    <a:pt x="2558" y="100"/>
                  </a:lnTo>
                  <a:lnTo>
                    <a:pt x="2561" y="105"/>
                  </a:lnTo>
                  <a:lnTo>
                    <a:pt x="2562" y="111"/>
                  </a:lnTo>
                  <a:lnTo>
                    <a:pt x="2563" y="117"/>
                  </a:lnTo>
                  <a:lnTo>
                    <a:pt x="2562" y="123"/>
                  </a:lnTo>
                  <a:lnTo>
                    <a:pt x="2560" y="129"/>
                  </a:lnTo>
                  <a:lnTo>
                    <a:pt x="2558" y="136"/>
                  </a:lnTo>
                  <a:lnTo>
                    <a:pt x="2553" y="141"/>
                  </a:lnTo>
                  <a:lnTo>
                    <a:pt x="2105" y="584"/>
                  </a:lnTo>
                  <a:lnTo>
                    <a:pt x="2105" y="584"/>
                  </a:lnTo>
                  <a:lnTo>
                    <a:pt x="2100" y="588"/>
                  </a:lnTo>
                  <a:lnTo>
                    <a:pt x="2095" y="591"/>
                  </a:lnTo>
                  <a:lnTo>
                    <a:pt x="2089" y="593"/>
                  </a:lnTo>
                  <a:lnTo>
                    <a:pt x="2083" y="593"/>
                  </a:lnTo>
                  <a:lnTo>
                    <a:pt x="2077" y="593"/>
                  </a:lnTo>
                  <a:lnTo>
                    <a:pt x="2070" y="591"/>
                  </a:lnTo>
                  <a:lnTo>
                    <a:pt x="2064" y="588"/>
                  </a:lnTo>
                  <a:lnTo>
                    <a:pt x="2059" y="584"/>
                  </a:lnTo>
                  <a:lnTo>
                    <a:pt x="1560" y="84"/>
                  </a:lnTo>
                  <a:lnTo>
                    <a:pt x="1055" y="842"/>
                  </a:lnTo>
                  <a:lnTo>
                    <a:pt x="1055" y="842"/>
                  </a:lnTo>
                  <a:lnTo>
                    <a:pt x="1049" y="849"/>
                  </a:lnTo>
                  <a:lnTo>
                    <a:pt x="1043" y="854"/>
                  </a:lnTo>
                  <a:lnTo>
                    <a:pt x="1036" y="856"/>
                  </a:lnTo>
                  <a:lnTo>
                    <a:pt x="1028" y="857"/>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8" name="Freeform 355">
              <a:extLst>
                <a:ext uri="{FF2B5EF4-FFF2-40B4-BE49-F238E27FC236}">
                  <a16:creationId xmlns:a16="http://schemas.microsoft.com/office/drawing/2014/main" id="{2DE41A87-22C8-47AD-5F67-A31D142E907E}"/>
                </a:ext>
              </a:extLst>
            </p:cNvPr>
            <p:cNvSpPr>
              <a:spLocks noEditPoints="1"/>
            </p:cNvSpPr>
            <p:nvPr/>
          </p:nvSpPr>
          <p:spPr bwMode="auto">
            <a:xfrm>
              <a:off x="3494088" y="1524000"/>
              <a:ext cx="525463" cy="314325"/>
            </a:xfrm>
            <a:custGeom>
              <a:avLst/>
              <a:gdLst/>
              <a:ahLst/>
              <a:cxnLst>
                <a:cxn ang="0">
                  <a:pos x="2512" y="132"/>
                </a:cxn>
                <a:cxn ang="0">
                  <a:pos x="2513" y="132"/>
                </a:cxn>
                <a:cxn ang="0">
                  <a:pos x="2513" y="1446"/>
                </a:cxn>
                <a:cxn ang="0">
                  <a:pos x="132" y="1446"/>
                </a:cxn>
                <a:cxn ang="0">
                  <a:pos x="132" y="132"/>
                </a:cxn>
                <a:cxn ang="0">
                  <a:pos x="132" y="132"/>
                </a:cxn>
                <a:cxn ang="0">
                  <a:pos x="2512" y="132"/>
                </a:cxn>
                <a:cxn ang="0">
                  <a:pos x="2513" y="0"/>
                </a:cxn>
                <a:cxn ang="0">
                  <a:pos x="132" y="0"/>
                </a:cxn>
                <a:cxn ang="0">
                  <a:pos x="132" y="0"/>
                </a:cxn>
                <a:cxn ang="0">
                  <a:pos x="119" y="1"/>
                </a:cxn>
                <a:cxn ang="0">
                  <a:pos x="106" y="3"/>
                </a:cxn>
                <a:cxn ang="0">
                  <a:pos x="93" y="6"/>
                </a:cxn>
                <a:cxn ang="0">
                  <a:pos x="81" y="10"/>
                </a:cxn>
                <a:cxn ang="0">
                  <a:pos x="69" y="17"/>
                </a:cxn>
                <a:cxn ang="0">
                  <a:pos x="59" y="23"/>
                </a:cxn>
                <a:cxn ang="0">
                  <a:pos x="49" y="31"/>
                </a:cxn>
                <a:cxn ang="0">
                  <a:pos x="40" y="39"/>
                </a:cxn>
                <a:cxn ang="0">
                  <a:pos x="30" y="48"/>
                </a:cxn>
                <a:cxn ang="0">
                  <a:pos x="23" y="59"/>
                </a:cxn>
                <a:cxn ang="0">
                  <a:pos x="17" y="69"/>
                </a:cxn>
                <a:cxn ang="0">
                  <a:pos x="11" y="81"/>
                </a:cxn>
                <a:cxn ang="0">
                  <a:pos x="7" y="93"/>
                </a:cxn>
                <a:cxn ang="0">
                  <a:pos x="3" y="105"/>
                </a:cxn>
                <a:cxn ang="0">
                  <a:pos x="1" y="119"/>
                </a:cxn>
                <a:cxn ang="0">
                  <a:pos x="0" y="132"/>
                </a:cxn>
                <a:cxn ang="0">
                  <a:pos x="0" y="1578"/>
                </a:cxn>
                <a:cxn ang="0">
                  <a:pos x="2645" y="1578"/>
                </a:cxn>
                <a:cxn ang="0">
                  <a:pos x="2645" y="132"/>
                </a:cxn>
                <a:cxn ang="0">
                  <a:pos x="2645" y="132"/>
                </a:cxn>
                <a:cxn ang="0">
                  <a:pos x="2643" y="119"/>
                </a:cxn>
                <a:cxn ang="0">
                  <a:pos x="2641" y="105"/>
                </a:cxn>
                <a:cxn ang="0">
                  <a:pos x="2638" y="93"/>
                </a:cxn>
                <a:cxn ang="0">
                  <a:pos x="2634" y="81"/>
                </a:cxn>
                <a:cxn ang="0">
                  <a:pos x="2628" y="69"/>
                </a:cxn>
                <a:cxn ang="0">
                  <a:pos x="2622" y="59"/>
                </a:cxn>
                <a:cxn ang="0">
                  <a:pos x="2614" y="48"/>
                </a:cxn>
                <a:cxn ang="0">
                  <a:pos x="2605" y="39"/>
                </a:cxn>
                <a:cxn ang="0">
                  <a:pos x="2596" y="31"/>
                </a:cxn>
                <a:cxn ang="0">
                  <a:pos x="2586" y="23"/>
                </a:cxn>
                <a:cxn ang="0">
                  <a:pos x="2574" y="17"/>
                </a:cxn>
                <a:cxn ang="0">
                  <a:pos x="2563" y="10"/>
                </a:cxn>
                <a:cxn ang="0">
                  <a:pos x="2552" y="6"/>
                </a:cxn>
                <a:cxn ang="0">
                  <a:pos x="2538" y="3"/>
                </a:cxn>
                <a:cxn ang="0">
                  <a:pos x="2526" y="1"/>
                </a:cxn>
                <a:cxn ang="0">
                  <a:pos x="2513" y="0"/>
                </a:cxn>
              </a:cxnLst>
              <a:rect l="0" t="0" r="r" b="b"/>
              <a:pathLst>
                <a:path w="2645" h="1578">
                  <a:moveTo>
                    <a:pt x="2512" y="132"/>
                  </a:moveTo>
                  <a:lnTo>
                    <a:pt x="2513" y="132"/>
                  </a:lnTo>
                  <a:lnTo>
                    <a:pt x="2513" y="1446"/>
                  </a:lnTo>
                  <a:lnTo>
                    <a:pt x="132" y="1446"/>
                  </a:lnTo>
                  <a:lnTo>
                    <a:pt x="132" y="132"/>
                  </a:lnTo>
                  <a:lnTo>
                    <a:pt x="132" y="132"/>
                  </a:lnTo>
                  <a:lnTo>
                    <a:pt x="2512" y="132"/>
                  </a:lnTo>
                  <a:close/>
                  <a:moveTo>
                    <a:pt x="2513" y="0"/>
                  </a:moveTo>
                  <a:lnTo>
                    <a:pt x="132" y="0"/>
                  </a:lnTo>
                  <a:lnTo>
                    <a:pt x="132" y="0"/>
                  </a:lnTo>
                  <a:lnTo>
                    <a:pt x="119" y="1"/>
                  </a:lnTo>
                  <a:lnTo>
                    <a:pt x="106" y="3"/>
                  </a:lnTo>
                  <a:lnTo>
                    <a:pt x="93" y="6"/>
                  </a:lnTo>
                  <a:lnTo>
                    <a:pt x="81" y="10"/>
                  </a:lnTo>
                  <a:lnTo>
                    <a:pt x="69" y="17"/>
                  </a:lnTo>
                  <a:lnTo>
                    <a:pt x="59" y="23"/>
                  </a:lnTo>
                  <a:lnTo>
                    <a:pt x="49" y="31"/>
                  </a:lnTo>
                  <a:lnTo>
                    <a:pt x="40" y="39"/>
                  </a:lnTo>
                  <a:lnTo>
                    <a:pt x="30" y="48"/>
                  </a:lnTo>
                  <a:lnTo>
                    <a:pt x="23" y="59"/>
                  </a:lnTo>
                  <a:lnTo>
                    <a:pt x="17" y="69"/>
                  </a:lnTo>
                  <a:lnTo>
                    <a:pt x="11" y="81"/>
                  </a:lnTo>
                  <a:lnTo>
                    <a:pt x="7" y="93"/>
                  </a:lnTo>
                  <a:lnTo>
                    <a:pt x="3" y="105"/>
                  </a:lnTo>
                  <a:lnTo>
                    <a:pt x="1" y="119"/>
                  </a:lnTo>
                  <a:lnTo>
                    <a:pt x="0" y="132"/>
                  </a:lnTo>
                  <a:lnTo>
                    <a:pt x="0" y="1578"/>
                  </a:lnTo>
                  <a:lnTo>
                    <a:pt x="2645" y="1578"/>
                  </a:lnTo>
                  <a:lnTo>
                    <a:pt x="2645" y="132"/>
                  </a:lnTo>
                  <a:lnTo>
                    <a:pt x="2645" y="132"/>
                  </a:lnTo>
                  <a:lnTo>
                    <a:pt x="2643" y="119"/>
                  </a:lnTo>
                  <a:lnTo>
                    <a:pt x="2641" y="105"/>
                  </a:lnTo>
                  <a:lnTo>
                    <a:pt x="2638" y="93"/>
                  </a:lnTo>
                  <a:lnTo>
                    <a:pt x="2634" y="81"/>
                  </a:lnTo>
                  <a:lnTo>
                    <a:pt x="2628" y="69"/>
                  </a:lnTo>
                  <a:lnTo>
                    <a:pt x="2622" y="59"/>
                  </a:lnTo>
                  <a:lnTo>
                    <a:pt x="2614" y="48"/>
                  </a:lnTo>
                  <a:lnTo>
                    <a:pt x="2605" y="39"/>
                  </a:lnTo>
                  <a:lnTo>
                    <a:pt x="2596" y="31"/>
                  </a:lnTo>
                  <a:lnTo>
                    <a:pt x="2586" y="23"/>
                  </a:lnTo>
                  <a:lnTo>
                    <a:pt x="2574" y="17"/>
                  </a:lnTo>
                  <a:lnTo>
                    <a:pt x="2563" y="10"/>
                  </a:lnTo>
                  <a:lnTo>
                    <a:pt x="2552" y="6"/>
                  </a:lnTo>
                  <a:lnTo>
                    <a:pt x="2538" y="3"/>
                  </a:lnTo>
                  <a:lnTo>
                    <a:pt x="2526" y="1"/>
                  </a:lnTo>
                  <a:lnTo>
                    <a:pt x="2513" y="0"/>
                  </a:lnTo>
                  <a:close/>
                </a:path>
              </a:pathLst>
            </a:custGeom>
            <a:solidFill>
              <a:srgbClr val="475059"/>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9" name="Freeform 356">
              <a:extLst>
                <a:ext uri="{FF2B5EF4-FFF2-40B4-BE49-F238E27FC236}">
                  <a16:creationId xmlns:a16="http://schemas.microsoft.com/office/drawing/2014/main" id="{595AD123-AF5C-6DB1-0A45-B6700BC5424B}"/>
                </a:ext>
              </a:extLst>
            </p:cNvPr>
            <p:cNvSpPr>
              <a:spLocks/>
            </p:cNvSpPr>
            <p:nvPr/>
          </p:nvSpPr>
          <p:spPr bwMode="auto">
            <a:xfrm>
              <a:off x="3521076" y="1550988"/>
              <a:ext cx="471488" cy="260350"/>
            </a:xfrm>
            <a:custGeom>
              <a:avLst/>
              <a:gdLst/>
              <a:ahLst/>
              <a:cxnLst>
                <a:cxn ang="0">
                  <a:pos x="2380" y="0"/>
                </a:cxn>
                <a:cxn ang="0">
                  <a:pos x="2381" y="0"/>
                </a:cxn>
                <a:cxn ang="0">
                  <a:pos x="2381" y="1314"/>
                </a:cxn>
                <a:cxn ang="0">
                  <a:pos x="0" y="1314"/>
                </a:cxn>
                <a:cxn ang="0">
                  <a:pos x="0" y="0"/>
                </a:cxn>
                <a:cxn ang="0">
                  <a:pos x="0" y="0"/>
                </a:cxn>
                <a:cxn ang="0">
                  <a:pos x="2380" y="0"/>
                </a:cxn>
              </a:cxnLst>
              <a:rect l="0" t="0" r="r" b="b"/>
              <a:pathLst>
                <a:path w="2381" h="1314">
                  <a:moveTo>
                    <a:pt x="2380" y="0"/>
                  </a:moveTo>
                  <a:lnTo>
                    <a:pt x="2381" y="0"/>
                  </a:lnTo>
                  <a:lnTo>
                    <a:pt x="2381" y="1314"/>
                  </a:lnTo>
                  <a:lnTo>
                    <a:pt x="0" y="1314"/>
                  </a:lnTo>
                  <a:lnTo>
                    <a:pt x="0" y="0"/>
                  </a:lnTo>
                  <a:lnTo>
                    <a:pt x="0" y="0"/>
                  </a:lnTo>
                  <a:lnTo>
                    <a:pt x="238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0" name="Freeform 357">
              <a:extLst>
                <a:ext uri="{FF2B5EF4-FFF2-40B4-BE49-F238E27FC236}">
                  <a16:creationId xmlns:a16="http://schemas.microsoft.com/office/drawing/2014/main" id="{5A82C124-7995-E1F2-24C0-DBD043A46FB6}"/>
                </a:ext>
              </a:extLst>
            </p:cNvPr>
            <p:cNvSpPr>
              <a:spLocks/>
            </p:cNvSpPr>
            <p:nvPr/>
          </p:nvSpPr>
          <p:spPr bwMode="auto">
            <a:xfrm>
              <a:off x="3494088" y="1524000"/>
              <a:ext cx="525463" cy="314325"/>
            </a:xfrm>
            <a:custGeom>
              <a:avLst/>
              <a:gdLst/>
              <a:ahLst/>
              <a:cxnLst>
                <a:cxn ang="0">
                  <a:pos x="2513" y="0"/>
                </a:cxn>
                <a:cxn ang="0">
                  <a:pos x="132" y="0"/>
                </a:cxn>
                <a:cxn ang="0">
                  <a:pos x="132" y="0"/>
                </a:cxn>
                <a:cxn ang="0">
                  <a:pos x="119" y="1"/>
                </a:cxn>
                <a:cxn ang="0">
                  <a:pos x="106" y="3"/>
                </a:cxn>
                <a:cxn ang="0">
                  <a:pos x="93" y="6"/>
                </a:cxn>
                <a:cxn ang="0">
                  <a:pos x="81" y="10"/>
                </a:cxn>
                <a:cxn ang="0">
                  <a:pos x="69" y="17"/>
                </a:cxn>
                <a:cxn ang="0">
                  <a:pos x="59" y="23"/>
                </a:cxn>
                <a:cxn ang="0">
                  <a:pos x="49" y="31"/>
                </a:cxn>
                <a:cxn ang="0">
                  <a:pos x="40" y="39"/>
                </a:cxn>
                <a:cxn ang="0">
                  <a:pos x="30" y="48"/>
                </a:cxn>
                <a:cxn ang="0">
                  <a:pos x="23" y="59"/>
                </a:cxn>
                <a:cxn ang="0">
                  <a:pos x="17" y="69"/>
                </a:cxn>
                <a:cxn ang="0">
                  <a:pos x="11" y="81"/>
                </a:cxn>
                <a:cxn ang="0">
                  <a:pos x="7" y="93"/>
                </a:cxn>
                <a:cxn ang="0">
                  <a:pos x="3" y="105"/>
                </a:cxn>
                <a:cxn ang="0">
                  <a:pos x="1" y="119"/>
                </a:cxn>
                <a:cxn ang="0">
                  <a:pos x="0" y="132"/>
                </a:cxn>
                <a:cxn ang="0">
                  <a:pos x="0" y="1578"/>
                </a:cxn>
                <a:cxn ang="0">
                  <a:pos x="2645" y="1578"/>
                </a:cxn>
                <a:cxn ang="0">
                  <a:pos x="2645" y="132"/>
                </a:cxn>
                <a:cxn ang="0">
                  <a:pos x="2645" y="132"/>
                </a:cxn>
                <a:cxn ang="0">
                  <a:pos x="2643" y="119"/>
                </a:cxn>
                <a:cxn ang="0">
                  <a:pos x="2641" y="105"/>
                </a:cxn>
                <a:cxn ang="0">
                  <a:pos x="2638" y="93"/>
                </a:cxn>
                <a:cxn ang="0">
                  <a:pos x="2634" y="81"/>
                </a:cxn>
                <a:cxn ang="0">
                  <a:pos x="2628" y="69"/>
                </a:cxn>
                <a:cxn ang="0">
                  <a:pos x="2622" y="59"/>
                </a:cxn>
                <a:cxn ang="0">
                  <a:pos x="2614" y="48"/>
                </a:cxn>
                <a:cxn ang="0">
                  <a:pos x="2605" y="39"/>
                </a:cxn>
                <a:cxn ang="0">
                  <a:pos x="2596" y="31"/>
                </a:cxn>
                <a:cxn ang="0">
                  <a:pos x="2586" y="23"/>
                </a:cxn>
                <a:cxn ang="0">
                  <a:pos x="2574" y="17"/>
                </a:cxn>
                <a:cxn ang="0">
                  <a:pos x="2563" y="10"/>
                </a:cxn>
                <a:cxn ang="0">
                  <a:pos x="2552" y="6"/>
                </a:cxn>
                <a:cxn ang="0">
                  <a:pos x="2538" y="3"/>
                </a:cxn>
                <a:cxn ang="0">
                  <a:pos x="2526" y="1"/>
                </a:cxn>
                <a:cxn ang="0">
                  <a:pos x="2513" y="0"/>
                </a:cxn>
              </a:cxnLst>
              <a:rect l="0" t="0" r="r" b="b"/>
              <a:pathLst>
                <a:path w="2645" h="1578">
                  <a:moveTo>
                    <a:pt x="2513" y="0"/>
                  </a:moveTo>
                  <a:lnTo>
                    <a:pt x="132" y="0"/>
                  </a:lnTo>
                  <a:lnTo>
                    <a:pt x="132" y="0"/>
                  </a:lnTo>
                  <a:lnTo>
                    <a:pt x="119" y="1"/>
                  </a:lnTo>
                  <a:lnTo>
                    <a:pt x="106" y="3"/>
                  </a:lnTo>
                  <a:lnTo>
                    <a:pt x="93" y="6"/>
                  </a:lnTo>
                  <a:lnTo>
                    <a:pt x="81" y="10"/>
                  </a:lnTo>
                  <a:lnTo>
                    <a:pt x="69" y="17"/>
                  </a:lnTo>
                  <a:lnTo>
                    <a:pt x="59" y="23"/>
                  </a:lnTo>
                  <a:lnTo>
                    <a:pt x="49" y="31"/>
                  </a:lnTo>
                  <a:lnTo>
                    <a:pt x="40" y="39"/>
                  </a:lnTo>
                  <a:lnTo>
                    <a:pt x="30" y="48"/>
                  </a:lnTo>
                  <a:lnTo>
                    <a:pt x="23" y="59"/>
                  </a:lnTo>
                  <a:lnTo>
                    <a:pt x="17" y="69"/>
                  </a:lnTo>
                  <a:lnTo>
                    <a:pt x="11" y="81"/>
                  </a:lnTo>
                  <a:lnTo>
                    <a:pt x="7" y="93"/>
                  </a:lnTo>
                  <a:lnTo>
                    <a:pt x="3" y="105"/>
                  </a:lnTo>
                  <a:lnTo>
                    <a:pt x="1" y="119"/>
                  </a:lnTo>
                  <a:lnTo>
                    <a:pt x="0" y="132"/>
                  </a:lnTo>
                  <a:lnTo>
                    <a:pt x="0" y="1578"/>
                  </a:lnTo>
                  <a:lnTo>
                    <a:pt x="2645" y="1578"/>
                  </a:lnTo>
                  <a:lnTo>
                    <a:pt x="2645" y="132"/>
                  </a:lnTo>
                  <a:lnTo>
                    <a:pt x="2645" y="132"/>
                  </a:lnTo>
                  <a:lnTo>
                    <a:pt x="2643" y="119"/>
                  </a:lnTo>
                  <a:lnTo>
                    <a:pt x="2641" y="105"/>
                  </a:lnTo>
                  <a:lnTo>
                    <a:pt x="2638" y="93"/>
                  </a:lnTo>
                  <a:lnTo>
                    <a:pt x="2634" y="81"/>
                  </a:lnTo>
                  <a:lnTo>
                    <a:pt x="2628" y="69"/>
                  </a:lnTo>
                  <a:lnTo>
                    <a:pt x="2622" y="59"/>
                  </a:lnTo>
                  <a:lnTo>
                    <a:pt x="2614" y="48"/>
                  </a:lnTo>
                  <a:lnTo>
                    <a:pt x="2605" y="39"/>
                  </a:lnTo>
                  <a:lnTo>
                    <a:pt x="2596" y="31"/>
                  </a:lnTo>
                  <a:lnTo>
                    <a:pt x="2586" y="23"/>
                  </a:lnTo>
                  <a:lnTo>
                    <a:pt x="2574" y="17"/>
                  </a:lnTo>
                  <a:lnTo>
                    <a:pt x="2563" y="10"/>
                  </a:lnTo>
                  <a:lnTo>
                    <a:pt x="2552" y="6"/>
                  </a:lnTo>
                  <a:lnTo>
                    <a:pt x="2538" y="3"/>
                  </a:lnTo>
                  <a:lnTo>
                    <a:pt x="2526" y="1"/>
                  </a:lnTo>
                  <a:lnTo>
                    <a:pt x="251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1" name="Freeform 358">
              <a:extLst>
                <a:ext uri="{FF2B5EF4-FFF2-40B4-BE49-F238E27FC236}">
                  <a16:creationId xmlns:a16="http://schemas.microsoft.com/office/drawing/2014/main" id="{A29439EA-5325-2DB2-9EC1-E863F97E7D5C}"/>
                </a:ext>
              </a:extLst>
            </p:cNvPr>
            <p:cNvSpPr>
              <a:spLocks/>
            </p:cNvSpPr>
            <p:nvPr/>
          </p:nvSpPr>
          <p:spPr bwMode="auto">
            <a:xfrm>
              <a:off x="3503613" y="1533525"/>
              <a:ext cx="673100" cy="644525"/>
            </a:xfrm>
            <a:custGeom>
              <a:avLst/>
              <a:gdLst/>
              <a:ahLst/>
              <a:cxnLst>
                <a:cxn ang="0">
                  <a:pos x="2569" y="0"/>
                </a:cxn>
                <a:cxn ang="0">
                  <a:pos x="2586" y="29"/>
                </a:cxn>
                <a:cxn ang="0">
                  <a:pos x="2597" y="61"/>
                </a:cxn>
                <a:cxn ang="0">
                  <a:pos x="2600" y="1531"/>
                </a:cxn>
                <a:cxn ang="0">
                  <a:pos x="2605" y="1799"/>
                </a:cxn>
                <a:cxn ang="0">
                  <a:pos x="2598" y="1838"/>
                </a:cxn>
                <a:cxn ang="0">
                  <a:pos x="2582" y="1873"/>
                </a:cxn>
                <a:cxn ang="0">
                  <a:pos x="2556" y="1901"/>
                </a:cxn>
                <a:cxn ang="0">
                  <a:pos x="2524" y="1921"/>
                </a:cxn>
                <a:cxn ang="0">
                  <a:pos x="2486" y="1931"/>
                </a:cxn>
                <a:cxn ang="0">
                  <a:pos x="1673" y="2195"/>
                </a:cxn>
                <a:cxn ang="0">
                  <a:pos x="1673" y="2327"/>
                </a:cxn>
                <a:cxn ang="0">
                  <a:pos x="753" y="2195"/>
                </a:cxn>
                <a:cxn ang="0">
                  <a:pos x="621" y="1931"/>
                </a:cxn>
                <a:cxn ang="0">
                  <a:pos x="79" y="1931"/>
                </a:cxn>
                <a:cxn ang="0">
                  <a:pos x="42" y="1921"/>
                </a:cxn>
                <a:cxn ang="0">
                  <a:pos x="9" y="1901"/>
                </a:cxn>
                <a:cxn ang="0">
                  <a:pos x="329" y="2222"/>
                </a:cxn>
                <a:cxn ang="0">
                  <a:pos x="1408" y="3245"/>
                </a:cxn>
                <a:cxn ang="0">
                  <a:pos x="1565" y="3231"/>
                </a:cxn>
                <a:cxn ang="0">
                  <a:pos x="1717" y="3204"/>
                </a:cxn>
                <a:cxn ang="0">
                  <a:pos x="1867" y="3167"/>
                </a:cxn>
                <a:cxn ang="0">
                  <a:pos x="2011" y="3120"/>
                </a:cxn>
                <a:cxn ang="0">
                  <a:pos x="2151" y="3063"/>
                </a:cxn>
                <a:cxn ang="0">
                  <a:pos x="2285" y="2996"/>
                </a:cxn>
                <a:cxn ang="0">
                  <a:pos x="2414" y="2920"/>
                </a:cxn>
                <a:cxn ang="0">
                  <a:pos x="2537" y="2835"/>
                </a:cxn>
                <a:cxn ang="0">
                  <a:pos x="2653" y="2743"/>
                </a:cxn>
                <a:cxn ang="0">
                  <a:pos x="2762" y="2642"/>
                </a:cxn>
                <a:cxn ang="0">
                  <a:pos x="2864" y="2535"/>
                </a:cxn>
                <a:cxn ang="0">
                  <a:pos x="2959" y="2419"/>
                </a:cxn>
                <a:cxn ang="0">
                  <a:pos x="3046" y="2298"/>
                </a:cxn>
                <a:cxn ang="0">
                  <a:pos x="3123" y="2170"/>
                </a:cxn>
                <a:cxn ang="0">
                  <a:pos x="3191" y="2037"/>
                </a:cxn>
                <a:cxn ang="0">
                  <a:pos x="3251" y="1898"/>
                </a:cxn>
                <a:cxn ang="0">
                  <a:pos x="3300" y="1755"/>
                </a:cxn>
                <a:cxn ang="0">
                  <a:pos x="3339" y="1606"/>
                </a:cxn>
                <a:cxn ang="0">
                  <a:pos x="3368" y="1455"/>
                </a:cxn>
                <a:cxn ang="0">
                  <a:pos x="3385" y="1298"/>
                </a:cxn>
                <a:cxn ang="0">
                  <a:pos x="3391" y="1140"/>
                </a:cxn>
                <a:cxn ang="0">
                  <a:pos x="3389" y="1052"/>
                </a:cxn>
                <a:cxn ang="0">
                  <a:pos x="3380" y="922"/>
                </a:cxn>
                <a:cxn ang="0">
                  <a:pos x="3363" y="795"/>
                </a:cxn>
              </a:cxnLst>
              <a:rect l="0" t="0" r="r" b="b"/>
              <a:pathLst>
                <a:path w="3391" h="3249">
                  <a:moveTo>
                    <a:pt x="3363" y="795"/>
                  </a:moveTo>
                  <a:lnTo>
                    <a:pt x="2569" y="0"/>
                  </a:lnTo>
                  <a:lnTo>
                    <a:pt x="2569" y="0"/>
                  </a:lnTo>
                  <a:lnTo>
                    <a:pt x="2575" y="10"/>
                  </a:lnTo>
                  <a:lnTo>
                    <a:pt x="2581" y="19"/>
                  </a:lnTo>
                  <a:lnTo>
                    <a:pt x="2586" y="29"/>
                  </a:lnTo>
                  <a:lnTo>
                    <a:pt x="2591" y="40"/>
                  </a:lnTo>
                  <a:lnTo>
                    <a:pt x="2594" y="51"/>
                  </a:lnTo>
                  <a:lnTo>
                    <a:pt x="2597" y="61"/>
                  </a:lnTo>
                  <a:lnTo>
                    <a:pt x="2598" y="74"/>
                  </a:lnTo>
                  <a:lnTo>
                    <a:pt x="2600" y="85"/>
                  </a:lnTo>
                  <a:lnTo>
                    <a:pt x="2600" y="1531"/>
                  </a:lnTo>
                  <a:lnTo>
                    <a:pt x="2605" y="1531"/>
                  </a:lnTo>
                  <a:lnTo>
                    <a:pt x="2605" y="1799"/>
                  </a:lnTo>
                  <a:lnTo>
                    <a:pt x="2605" y="1799"/>
                  </a:lnTo>
                  <a:lnTo>
                    <a:pt x="2604" y="1812"/>
                  </a:lnTo>
                  <a:lnTo>
                    <a:pt x="2602" y="1826"/>
                  </a:lnTo>
                  <a:lnTo>
                    <a:pt x="2598" y="1838"/>
                  </a:lnTo>
                  <a:lnTo>
                    <a:pt x="2594" y="1851"/>
                  </a:lnTo>
                  <a:lnTo>
                    <a:pt x="2588" y="1862"/>
                  </a:lnTo>
                  <a:lnTo>
                    <a:pt x="2582" y="1873"/>
                  </a:lnTo>
                  <a:lnTo>
                    <a:pt x="2575" y="1883"/>
                  </a:lnTo>
                  <a:lnTo>
                    <a:pt x="2566" y="1893"/>
                  </a:lnTo>
                  <a:lnTo>
                    <a:pt x="2556" y="1901"/>
                  </a:lnTo>
                  <a:lnTo>
                    <a:pt x="2546" y="1908"/>
                  </a:lnTo>
                  <a:lnTo>
                    <a:pt x="2536" y="1916"/>
                  </a:lnTo>
                  <a:lnTo>
                    <a:pt x="2524" y="1921"/>
                  </a:lnTo>
                  <a:lnTo>
                    <a:pt x="2512" y="1925"/>
                  </a:lnTo>
                  <a:lnTo>
                    <a:pt x="2500" y="1929"/>
                  </a:lnTo>
                  <a:lnTo>
                    <a:pt x="2486" y="1931"/>
                  </a:lnTo>
                  <a:lnTo>
                    <a:pt x="2473" y="1931"/>
                  </a:lnTo>
                  <a:lnTo>
                    <a:pt x="1673" y="1931"/>
                  </a:lnTo>
                  <a:lnTo>
                    <a:pt x="1673" y="2195"/>
                  </a:lnTo>
                  <a:lnTo>
                    <a:pt x="1808" y="2195"/>
                  </a:lnTo>
                  <a:lnTo>
                    <a:pt x="1808" y="2327"/>
                  </a:lnTo>
                  <a:lnTo>
                    <a:pt x="1673" y="2327"/>
                  </a:lnTo>
                  <a:lnTo>
                    <a:pt x="882" y="2327"/>
                  </a:lnTo>
                  <a:lnTo>
                    <a:pt x="753" y="2327"/>
                  </a:lnTo>
                  <a:lnTo>
                    <a:pt x="753" y="2195"/>
                  </a:lnTo>
                  <a:lnTo>
                    <a:pt x="882" y="2195"/>
                  </a:lnTo>
                  <a:lnTo>
                    <a:pt x="882" y="1931"/>
                  </a:lnTo>
                  <a:lnTo>
                    <a:pt x="621" y="1931"/>
                  </a:lnTo>
                  <a:lnTo>
                    <a:pt x="92" y="1931"/>
                  </a:lnTo>
                  <a:lnTo>
                    <a:pt x="92" y="1931"/>
                  </a:lnTo>
                  <a:lnTo>
                    <a:pt x="79" y="1931"/>
                  </a:lnTo>
                  <a:lnTo>
                    <a:pt x="67" y="1929"/>
                  </a:lnTo>
                  <a:lnTo>
                    <a:pt x="53" y="1925"/>
                  </a:lnTo>
                  <a:lnTo>
                    <a:pt x="42" y="1921"/>
                  </a:lnTo>
                  <a:lnTo>
                    <a:pt x="30" y="1916"/>
                  </a:lnTo>
                  <a:lnTo>
                    <a:pt x="19" y="1908"/>
                  </a:lnTo>
                  <a:lnTo>
                    <a:pt x="9" y="1901"/>
                  </a:lnTo>
                  <a:lnTo>
                    <a:pt x="0" y="1893"/>
                  </a:lnTo>
                  <a:lnTo>
                    <a:pt x="0" y="1893"/>
                  </a:lnTo>
                  <a:lnTo>
                    <a:pt x="329" y="2222"/>
                  </a:lnTo>
                  <a:lnTo>
                    <a:pt x="1356" y="3249"/>
                  </a:lnTo>
                  <a:lnTo>
                    <a:pt x="1356" y="3249"/>
                  </a:lnTo>
                  <a:lnTo>
                    <a:pt x="1408" y="3245"/>
                  </a:lnTo>
                  <a:lnTo>
                    <a:pt x="1461" y="3242"/>
                  </a:lnTo>
                  <a:lnTo>
                    <a:pt x="1513" y="3237"/>
                  </a:lnTo>
                  <a:lnTo>
                    <a:pt x="1565" y="3231"/>
                  </a:lnTo>
                  <a:lnTo>
                    <a:pt x="1616" y="3223"/>
                  </a:lnTo>
                  <a:lnTo>
                    <a:pt x="1667" y="3215"/>
                  </a:lnTo>
                  <a:lnTo>
                    <a:pt x="1717" y="3204"/>
                  </a:lnTo>
                  <a:lnTo>
                    <a:pt x="1768" y="3193"/>
                  </a:lnTo>
                  <a:lnTo>
                    <a:pt x="1817" y="3181"/>
                  </a:lnTo>
                  <a:lnTo>
                    <a:pt x="1867" y="3167"/>
                  </a:lnTo>
                  <a:lnTo>
                    <a:pt x="1915" y="3153"/>
                  </a:lnTo>
                  <a:lnTo>
                    <a:pt x="1964" y="3137"/>
                  </a:lnTo>
                  <a:lnTo>
                    <a:pt x="2011" y="3120"/>
                  </a:lnTo>
                  <a:lnTo>
                    <a:pt x="2059" y="3102"/>
                  </a:lnTo>
                  <a:lnTo>
                    <a:pt x="2105" y="3083"/>
                  </a:lnTo>
                  <a:lnTo>
                    <a:pt x="2151" y="3063"/>
                  </a:lnTo>
                  <a:lnTo>
                    <a:pt x="2197" y="3041"/>
                  </a:lnTo>
                  <a:lnTo>
                    <a:pt x="2241" y="3019"/>
                  </a:lnTo>
                  <a:lnTo>
                    <a:pt x="2285" y="2996"/>
                  </a:lnTo>
                  <a:lnTo>
                    <a:pt x="2329" y="2971"/>
                  </a:lnTo>
                  <a:lnTo>
                    <a:pt x="2372" y="2947"/>
                  </a:lnTo>
                  <a:lnTo>
                    <a:pt x="2414" y="2920"/>
                  </a:lnTo>
                  <a:lnTo>
                    <a:pt x="2455" y="2893"/>
                  </a:lnTo>
                  <a:lnTo>
                    <a:pt x="2496" y="2864"/>
                  </a:lnTo>
                  <a:lnTo>
                    <a:pt x="2537" y="2835"/>
                  </a:lnTo>
                  <a:lnTo>
                    <a:pt x="2577" y="2806"/>
                  </a:lnTo>
                  <a:lnTo>
                    <a:pt x="2615" y="2775"/>
                  </a:lnTo>
                  <a:lnTo>
                    <a:pt x="2653" y="2743"/>
                  </a:lnTo>
                  <a:lnTo>
                    <a:pt x="2690" y="2710"/>
                  </a:lnTo>
                  <a:lnTo>
                    <a:pt x="2727" y="2677"/>
                  </a:lnTo>
                  <a:lnTo>
                    <a:pt x="2762" y="2642"/>
                  </a:lnTo>
                  <a:lnTo>
                    <a:pt x="2797" y="2607"/>
                  </a:lnTo>
                  <a:lnTo>
                    <a:pt x="2831" y="2571"/>
                  </a:lnTo>
                  <a:lnTo>
                    <a:pt x="2864" y="2535"/>
                  </a:lnTo>
                  <a:lnTo>
                    <a:pt x="2897" y="2497"/>
                  </a:lnTo>
                  <a:lnTo>
                    <a:pt x="2928" y="2458"/>
                  </a:lnTo>
                  <a:lnTo>
                    <a:pt x="2959" y="2419"/>
                  </a:lnTo>
                  <a:lnTo>
                    <a:pt x="2989" y="2379"/>
                  </a:lnTo>
                  <a:lnTo>
                    <a:pt x="3018" y="2339"/>
                  </a:lnTo>
                  <a:lnTo>
                    <a:pt x="3046" y="2298"/>
                  </a:lnTo>
                  <a:lnTo>
                    <a:pt x="3072" y="2255"/>
                  </a:lnTo>
                  <a:lnTo>
                    <a:pt x="3098" y="2213"/>
                  </a:lnTo>
                  <a:lnTo>
                    <a:pt x="3123" y="2170"/>
                  </a:lnTo>
                  <a:lnTo>
                    <a:pt x="3147" y="2127"/>
                  </a:lnTo>
                  <a:lnTo>
                    <a:pt x="3169" y="2081"/>
                  </a:lnTo>
                  <a:lnTo>
                    <a:pt x="3191" y="2037"/>
                  </a:lnTo>
                  <a:lnTo>
                    <a:pt x="3213" y="1991"/>
                  </a:lnTo>
                  <a:lnTo>
                    <a:pt x="3232" y="1944"/>
                  </a:lnTo>
                  <a:lnTo>
                    <a:pt x="3251" y="1898"/>
                  </a:lnTo>
                  <a:lnTo>
                    <a:pt x="3268" y="1851"/>
                  </a:lnTo>
                  <a:lnTo>
                    <a:pt x="3285" y="1803"/>
                  </a:lnTo>
                  <a:lnTo>
                    <a:pt x="3300" y="1755"/>
                  </a:lnTo>
                  <a:lnTo>
                    <a:pt x="3315" y="1705"/>
                  </a:lnTo>
                  <a:lnTo>
                    <a:pt x="3327" y="1656"/>
                  </a:lnTo>
                  <a:lnTo>
                    <a:pt x="3339" y="1606"/>
                  </a:lnTo>
                  <a:lnTo>
                    <a:pt x="3350" y="1556"/>
                  </a:lnTo>
                  <a:lnTo>
                    <a:pt x="3359" y="1505"/>
                  </a:lnTo>
                  <a:lnTo>
                    <a:pt x="3368" y="1455"/>
                  </a:lnTo>
                  <a:lnTo>
                    <a:pt x="3374" y="1404"/>
                  </a:lnTo>
                  <a:lnTo>
                    <a:pt x="3381" y="1351"/>
                  </a:lnTo>
                  <a:lnTo>
                    <a:pt x="3385" y="1298"/>
                  </a:lnTo>
                  <a:lnTo>
                    <a:pt x="3389" y="1246"/>
                  </a:lnTo>
                  <a:lnTo>
                    <a:pt x="3390" y="1193"/>
                  </a:lnTo>
                  <a:lnTo>
                    <a:pt x="3391" y="1140"/>
                  </a:lnTo>
                  <a:lnTo>
                    <a:pt x="3391" y="1140"/>
                  </a:lnTo>
                  <a:lnTo>
                    <a:pt x="3391" y="1097"/>
                  </a:lnTo>
                  <a:lnTo>
                    <a:pt x="3389" y="1052"/>
                  </a:lnTo>
                  <a:lnTo>
                    <a:pt x="3387" y="1009"/>
                  </a:lnTo>
                  <a:lnTo>
                    <a:pt x="3384" y="966"/>
                  </a:lnTo>
                  <a:lnTo>
                    <a:pt x="3380" y="922"/>
                  </a:lnTo>
                  <a:lnTo>
                    <a:pt x="3375" y="880"/>
                  </a:lnTo>
                  <a:lnTo>
                    <a:pt x="3369" y="837"/>
                  </a:lnTo>
                  <a:lnTo>
                    <a:pt x="3363" y="795"/>
                  </a:lnTo>
                  <a:close/>
                </a:path>
              </a:pathLst>
            </a:custGeom>
            <a:solidFill>
              <a:srgbClr val="3C9987"/>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2" name="Freeform 359">
              <a:extLst>
                <a:ext uri="{FF2B5EF4-FFF2-40B4-BE49-F238E27FC236}">
                  <a16:creationId xmlns:a16="http://schemas.microsoft.com/office/drawing/2014/main" id="{82D1CDB7-7DDE-3F49-8AB7-314572F829F9}"/>
                </a:ext>
              </a:extLst>
            </p:cNvPr>
            <p:cNvSpPr>
              <a:spLocks/>
            </p:cNvSpPr>
            <p:nvPr/>
          </p:nvSpPr>
          <p:spPr bwMode="auto">
            <a:xfrm>
              <a:off x="3503613" y="1533525"/>
              <a:ext cx="673100" cy="644525"/>
            </a:xfrm>
            <a:custGeom>
              <a:avLst/>
              <a:gdLst/>
              <a:ahLst/>
              <a:cxnLst>
                <a:cxn ang="0">
                  <a:pos x="2569" y="0"/>
                </a:cxn>
                <a:cxn ang="0">
                  <a:pos x="2586" y="29"/>
                </a:cxn>
                <a:cxn ang="0">
                  <a:pos x="2597" y="61"/>
                </a:cxn>
                <a:cxn ang="0">
                  <a:pos x="2600" y="1531"/>
                </a:cxn>
                <a:cxn ang="0">
                  <a:pos x="2605" y="1799"/>
                </a:cxn>
                <a:cxn ang="0">
                  <a:pos x="2598" y="1838"/>
                </a:cxn>
                <a:cxn ang="0">
                  <a:pos x="2582" y="1873"/>
                </a:cxn>
                <a:cxn ang="0">
                  <a:pos x="2556" y="1901"/>
                </a:cxn>
                <a:cxn ang="0">
                  <a:pos x="2524" y="1921"/>
                </a:cxn>
                <a:cxn ang="0">
                  <a:pos x="2486" y="1931"/>
                </a:cxn>
                <a:cxn ang="0">
                  <a:pos x="1673" y="2195"/>
                </a:cxn>
                <a:cxn ang="0">
                  <a:pos x="1673" y="2327"/>
                </a:cxn>
                <a:cxn ang="0">
                  <a:pos x="753" y="2195"/>
                </a:cxn>
                <a:cxn ang="0">
                  <a:pos x="621" y="1931"/>
                </a:cxn>
                <a:cxn ang="0">
                  <a:pos x="79" y="1931"/>
                </a:cxn>
                <a:cxn ang="0">
                  <a:pos x="42" y="1921"/>
                </a:cxn>
                <a:cxn ang="0">
                  <a:pos x="9" y="1901"/>
                </a:cxn>
                <a:cxn ang="0">
                  <a:pos x="329" y="2222"/>
                </a:cxn>
                <a:cxn ang="0">
                  <a:pos x="1408" y="3245"/>
                </a:cxn>
                <a:cxn ang="0">
                  <a:pos x="1565" y="3231"/>
                </a:cxn>
                <a:cxn ang="0">
                  <a:pos x="1717" y="3204"/>
                </a:cxn>
                <a:cxn ang="0">
                  <a:pos x="1867" y="3167"/>
                </a:cxn>
                <a:cxn ang="0">
                  <a:pos x="2011" y="3120"/>
                </a:cxn>
                <a:cxn ang="0">
                  <a:pos x="2151" y="3063"/>
                </a:cxn>
                <a:cxn ang="0">
                  <a:pos x="2285" y="2996"/>
                </a:cxn>
                <a:cxn ang="0">
                  <a:pos x="2414" y="2920"/>
                </a:cxn>
                <a:cxn ang="0">
                  <a:pos x="2537" y="2835"/>
                </a:cxn>
                <a:cxn ang="0">
                  <a:pos x="2653" y="2743"/>
                </a:cxn>
                <a:cxn ang="0">
                  <a:pos x="2762" y="2642"/>
                </a:cxn>
                <a:cxn ang="0">
                  <a:pos x="2864" y="2535"/>
                </a:cxn>
                <a:cxn ang="0">
                  <a:pos x="2959" y="2419"/>
                </a:cxn>
                <a:cxn ang="0">
                  <a:pos x="3046" y="2298"/>
                </a:cxn>
                <a:cxn ang="0">
                  <a:pos x="3123" y="2170"/>
                </a:cxn>
                <a:cxn ang="0">
                  <a:pos x="3191" y="2037"/>
                </a:cxn>
                <a:cxn ang="0">
                  <a:pos x="3251" y="1898"/>
                </a:cxn>
                <a:cxn ang="0">
                  <a:pos x="3300" y="1755"/>
                </a:cxn>
                <a:cxn ang="0">
                  <a:pos x="3339" y="1606"/>
                </a:cxn>
                <a:cxn ang="0">
                  <a:pos x="3368" y="1455"/>
                </a:cxn>
                <a:cxn ang="0">
                  <a:pos x="3385" y="1298"/>
                </a:cxn>
                <a:cxn ang="0">
                  <a:pos x="3391" y="1140"/>
                </a:cxn>
                <a:cxn ang="0">
                  <a:pos x="3389" y="1052"/>
                </a:cxn>
                <a:cxn ang="0">
                  <a:pos x="3380" y="922"/>
                </a:cxn>
                <a:cxn ang="0">
                  <a:pos x="3363" y="795"/>
                </a:cxn>
              </a:cxnLst>
              <a:rect l="0" t="0" r="r" b="b"/>
              <a:pathLst>
                <a:path w="3391" h="3249">
                  <a:moveTo>
                    <a:pt x="3363" y="795"/>
                  </a:moveTo>
                  <a:lnTo>
                    <a:pt x="2569" y="0"/>
                  </a:lnTo>
                  <a:lnTo>
                    <a:pt x="2569" y="0"/>
                  </a:lnTo>
                  <a:lnTo>
                    <a:pt x="2575" y="10"/>
                  </a:lnTo>
                  <a:lnTo>
                    <a:pt x="2581" y="19"/>
                  </a:lnTo>
                  <a:lnTo>
                    <a:pt x="2586" y="29"/>
                  </a:lnTo>
                  <a:lnTo>
                    <a:pt x="2591" y="40"/>
                  </a:lnTo>
                  <a:lnTo>
                    <a:pt x="2594" y="51"/>
                  </a:lnTo>
                  <a:lnTo>
                    <a:pt x="2597" y="61"/>
                  </a:lnTo>
                  <a:lnTo>
                    <a:pt x="2598" y="74"/>
                  </a:lnTo>
                  <a:lnTo>
                    <a:pt x="2600" y="85"/>
                  </a:lnTo>
                  <a:lnTo>
                    <a:pt x="2600" y="1531"/>
                  </a:lnTo>
                  <a:lnTo>
                    <a:pt x="2605" y="1531"/>
                  </a:lnTo>
                  <a:lnTo>
                    <a:pt x="2605" y="1799"/>
                  </a:lnTo>
                  <a:lnTo>
                    <a:pt x="2605" y="1799"/>
                  </a:lnTo>
                  <a:lnTo>
                    <a:pt x="2604" y="1812"/>
                  </a:lnTo>
                  <a:lnTo>
                    <a:pt x="2602" y="1826"/>
                  </a:lnTo>
                  <a:lnTo>
                    <a:pt x="2598" y="1838"/>
                  </a:lnTo>
                  <a:lnTo>
                    <a:pt x="2594" y="1851"/>
                  </a:lnTo>
                  <a:lnTo>
                    <a:pt x="2588" y="1862"/>
                  </a:lnTo>
                  <a:lnTo>
                    <a:pt x="2582" y="1873"/>
                  </a:lnTo>
                  <a:lnTo>
                    <a:pt x="2575" y="1883"/>
                  </a:lnTo>
                  <a:lnTo>
                    <a:pt x="2566" y="1893"/>
                  </a:lnTo>
                  <a:lnTo>
                    <a:pt x="2556" y="1901"/>
                  </a:lnTo>
                  <a:lnTo>
                    <a:pt x="2546" y="1908"/>
                  </a:lnTo>
                  <a:lnTo>
                    <a:pt x="2536" y="1916"/>
                  </a:lnTo>
                  <a:lnTo>
                    <a:pt x="2524" y="1921"/>
                  </a:lnTo>
                  <a:lnTo>
                    <a:pt x="2512" y="1925"/>
                  </a:lnTo>
                  <a:lnTo>
                    <a:pt x="2500" y="1929"/>
                  </a:lnTo>
                  <a:lnTo>
                    <a:pt x="2486" y="1931"/>
                  </a:lnTo>
                  <a:lnTo>
                    <a:pt x="2473" y="1931"/>
                  </a:lnTo>
                  <a:lnTo>
                    <a:pt x="1673" y="1931"/>
                  </a:lnTo>
                  <a:lnTo>
                    <a:pt x="1673" y="2195"/>
                  </a:lnTo>
                  <a:lnTo>
                    <a:pt x="1808" y="2195"/>
                  </a:lnTo>
                  <a:lnTo>
                    <a:pt x="1808" y="2327"/>
                  </a:lnTo>
                  <a:lnTo>
                    <a:pt x="1673" y="2327"/>
                  </a:lnTo>
                  <a:lnTo>
                    <a:pt x="882" y="2327"/>
                  </a:lnTo>
                  <a:lnTo>
                    <a:pt x="753" y="2327"/>
                  </a:lnTo>
                  <a:lnTo>
                    <a:pt x="753" y="2195"/>
                  </a:lnTo>
                  <a:lnTo>
                    <a:pt x="882" y="2195"/>
                  </a:lnTo>
                  <a:lnTo>
                    <a:pt x="882" y="1931"/>
                  </a:lnTo>
                  <a:lnTo>
                    <a:pt x="621" y="1931"/>
                  </a:lnTo>
                  <a:lnTo>
                    <a:pt x="92" y="1931"/>
                  </a:lnTo>
                  <a:lnTo>
                    <a:pt x="92" y="1931"/>
                  </a:lnTo>
                  <a:lnTo>
                    <a:pt x="79" y="1931"/>
                  </a:lnTo>
                  <a:lnTo>
                    <a:pt x="67" y="1929"/>
                  </a:lnTo>
                  <a:lnTo>
                    <a:pt x="53" y="1925"/>
                  </a:lnTo>
                  <a:lnTo>
                    <a:pt x="42" y="1921"/>
                  </a:lnTo>
                  <a:lnTo>
                    <a:pt x="30" y="1916"/>
                  </a:lnTo>
                  <a:lnTo>
                    <a:pt x="19" y="1908"/>
                  </a:lnTo>
                  <a:lnTo>
                    <a:pt x="9" y="1901"/>
                  </a:lnTo>
                  <a:lnTo>
                    <a:pt x="0" y="1893"/>
                  </a:lnTo>
                  <a:lnTo>
                    <a:pt x="0" y="1893"/>
                  </a:lnTo>
                  <a:lnTo>
                    <a:pt x="329" y="2222"/>
                  </a:lnTo>
                  <a:lnTo>
                    <a:pt x="1356" y="3249"/>
                  </a:lnTo>
                  <a:lnTo>
                    <a:pt x="1356" y="3249"/>
                  </a:lnTo>
                  <a:lnTo>
                    <a:pt x="1408" y="3245"/>
                  </a:lnTo>
                  <a:lnTo>
                    <a:pt x="1461" y="3242"/>
                  </a:lnTo>
                  <a:lnTo>
                    <a:pt x="1513" y="3237"/>
                  </a:lnTo>
                  <a:lnTo>
                    <a:pt x="1565" y="3231"/>
                  </a:lnTo>
                  <a:lnTo>
                    <a:pt x="1616" y="3223"/>
                  </a:lnTo>
                  <a:lnTo>
                    <a:pt x="1667" y="3215"/>
                  </a:lnTo>
                  <a:lnTo>
                    <a:pt x="1717" y="3204"/>
                  </a:lnTo>
                  <a:lnTo>
                    <a:pt x="1768" y="3193"/>
                  </a:lnTo>
                  <a:lnTo>
                    <a:pt x="1817" y="3181"/>
                  </a:lnTo>
                  <a:lnTo>
                    <a:pt x="1867" y="3167"/>
                  </a:lnTo>
                  <a:lnTo>
                    <a:pt x="1915" y="3153"/>
                  </a:lnTo>
                  <a:lnTo>
                    <a:pt x="1964" y="3137"/>
                  </a:lnTo>
                  <a:lnTo>
                    <a:pt x="2011" y="3120"/>
                  </a:lnTo>
                  <a:lnTo>
                    <a:pt x="2059" y="3102"/>
                  </a:lnTo>
                  <a:lnTo>
                    <a:pt x="2105" y="3083"/>
                  </a:lnTo>
                  <a:lnTo>
                    <a:pt x="2151" y="3063"/>
                  </a:lnTo>
                  <a:lnTo>
                    <a:pt x="2197" y="3041"/>
                  </a:lnTo>
                  <a:lnTo>
                    <a:pt x="2241" y="3019"/>
                  </a:lnTo>
                  <a:lnTo>
                    <a:pt x="2285" y="2996"/>
                  </a:lnTo>
                  <a:lnTo>
                    <a:pt x="2329" y="2971"/>
                  </a:lnTo>
                  <a:lnTo>
                    <a:pt x="2372" y="2947"/>
                  </a:lnTo>
                  <a:lnTo>
                    <a:pt x="2414" y="2920"/>
                  </a:lnTo>
                  <a:lnTo>
                    <a:pt x="2455" y="2893"/>
                  </a:lnTo>
                  <a:lnTo>
                    <a:pt x="2496" y="2864"/>
                  </a:lnTo>
                  <a:lnTo>
                    <a:pt x="2537" y="2835"/>
                  </a:lnTo>
                  <a:lnTo>
                    <a:pt x="2577" y="2806"/>
                  </a:lnTo>
                  <a:lnTo>
                    <a:pt x="2615" y="2775"/>
                  </a:lnTo>
                  <a:lnTo>
                    <a:pt x="2653" y="2743"/>
                  </a:lnTo>
                  <a:lnTo>
                    <a:pt x="2690" y="2710"/>
                  </a:lnTo>
                  <a:lnTo>
                    <a:pt x="2727" y="2677"/>
                  </a:lnTo>
                  <a:lnTo>
                    <a:pt x="2762" y="2642"/>
                  </a:lnTo>
                  <a:lnTo>
                    <a:pt x="2797" y="2607"/>
                  </a:lnTo>
                  <a:lnTo>
                    <a:pt x="2831" y="2571"/>
                  </a:lnTo>
                  <a:lnTo>
                    <a:pt x="2864" y="2535"/>
                  </a:lnTo>
                  <a:lnTo>
                    <a:pt x="2897" y="2497"/>
                  </a:lnTo>
                  <a:lnTo>
                    <a:pt x="2928" y="2458"/>
                  </a:lnTo>
                  <a:lnTo>
                    <a:pt x="2959" y="2419"/>
                  </a:lnTo>
                  <a:lnTo>
                    <a:pt x="2989" y="2379"/>
                  </a:lnTo>
                  <a:lnTo>
                    <a:pt x="3018" y="2339"/>
                  </a:lnTo>
                  <a:lnTo>
                    <a:pt x="3046" y="2298"/>
                  </a:lnTo>
                  <a:lnTo>
                    <a:pt x="3072" y="2255"/>
                  </a:lnTo>
                  <a:lnTo>
                    <a:pt x="3098" y="2213"/>
                  </a:lnTo>
                  <a:lnTo>
                    <a:pt x="3123" y="2170"/>
                  </a:lnTo>
                  <a:lnTo>
                    <a:pt x="3147" y="2127"/>
                  </a:lnTo>
                  <a:lnTo>
                    <a:pt x="3169" y="2081"/>
                  </a:lnTo>
                  <a:lnTo>
                    <a:pt x="3191" y="2037"/>
                  </a:lnTo>
                  <a:lnTo>
                    <a:pt x="3213" y="1991"/>
                  </a:lnTo>
                  <a:lnTo>
                    <a:pt x="3232" y="1944"/>
                  </a:lnTo>
                  <a:lnTo>
                    <a:pt x="3251" y="1898"/>
                  </a:lnTo>
                  <a:lnTo>
                    <a:pt x="3268" y="1851"/>
                  </a:lnTo>
                  <a:lnTo>
                    <a:pt x="3285" y="1803"/>
                  </a:lnTo>
                  <a:lnTo>
                    <a:pt x="3300" y="1755"/>
                  </a:lnTo>
                  <a:lnTo>
                    <a:pt x="3315" y="1705"/>
                  </a:lnTo>
                  <a:lnTo>
                    <a:pt x="3327" y="1656"/>
                  </a:lnTo>
                  <a:lnTo>
                    <a:pt x="3339" y="1606"/>
                  </a:lnTo>
                  <a:lnTo>
                    <a:pt x="3350" y="1556"/>
                  </a:lnTo>
                  <a:lnTo>
                    <a:pt x="3359" y="1505"/>
                  </a:lnTo>
                  <a:lnTo>
                    <a:pt x="3368" y="1455"/>
                  </a:lnTo>
                  <a:lnTo>
                    <a:pt x="3374" y="1404"/>
                  </a:lnTo>
                  <a:lnTo>
                    <a:pt x="3381" y="1351"/>
                  </a:lnTo>
                  <a:lnTo>
                    <a:pt x="3385" y="1298"/>
                  </a:lnTo>
                  <a:lnTo>
                    <a:pt x="3389" y="1246"/>
                  </a:lnTo>
                  <a:lnTo>
                    <a:pt x="3390" y="1193"/>
                  </a:lnTo>
                  <a:lnTo>
                    <a:pt x="3391" y="1140"/>
                  </a:lnTo>
                  <a:lnTo>
                    <a:pt x="3391" y="1140"/>
                  </a:lnTo>
                  <a:lnTo>
                    <a:pt x="3391" y="1097"/>
                  </a:lnTo>
                  <a:lnTo>
                    <a:pt x="3389" y="1052"/>
                  </a:lnTo>
                  <a:lnTo>
                    <a:pt x="3387" y="1009"/>
                  </a:lnTo>
                  <a:lnTo>
                    <a:pt x="3384" y="966"/>
                  </a:lnTo>
                  <a:lnTo>
                    <a:pt x="3380" y="922"/>
                  </a:lnTo>
                  <a:lnTo>
                    <a:pt x="3375" y="880"/>
                  </a:lnTo>
                  <a:lnTo>
                    <a:pt x="3369" y="837"/>
                  </a:lnTo>
                  <a:lnTo>
                    <a:pt x="3363" y="795"/>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3" name="Freeform 360">
              <a:extLst>
                <a:ext uri="{FF2B5EF4-FFF2-40B4-BE49-F238E27FC236}">
                  <a16:creationId xmlns:a16="http://schemas.microsoft.com/office/drawing/2014/main" id="{3F7B708A-BB84-E621-AEB6-54631225DFEE}"/>
                </a:ext>
              </a:extLst>
            </p:cNvPr>
            <p:cNvSpPr>
              <a:spLocks/>
            </p:cNvSpPr>
            <p:nvPr/>
          </p:nvSpPr>
          <p:spPr bwMode="auto">
            <a:xfrm>
              <a:off x="4010026" y="1530350"/>
              <a:ext cx="3175" cy="3175"/>
            </a:xfrm>
            <a:custGeom>
              <a:avLst/>
              <a:gdLst/>
              <a:ahLst/>
              <a:cxnLst>
                <a:cxn ang="0">
                  <a:pos x="0" y="0"/>
                </a:cxn>
                <a:cxn ang="0">
                  <a:pos x="9" y="8"/>
                </a:cxn>
                <a:cxn ang="0">
                  <a:pos x="18" y="16"/>
                </a:cxn>
                <a:cxn ang="0">
                  <a:pos x="18" y="16"/>
                </a:cxn>
                <a:cxn ang="0">
                  <a:pos x="9" y="8"/>
                </a:cxn>
                <a:cxn ang="0">
                  <a:pos x="9" y="8"/>
                </a:cxn>
                <a:cxn ang="0">
                  <a:pos x="0" y="0"/>
                </a:cxn>
                <a:cxn ang="0">
                  <a:pos x="0" y="0"/>
                </a:cxn>
              </a:cxnLst>
              <a:rect l="0" t="0" r="r" b="b"/>
              <a:pathLst>
                <a:path w="18" h="16">
                  <a:moveTo>
                    <a:pt x="0" y="0"/>
                  </a:moveTo>
                  <a:lnTo>
                    <a:pt x="9" y="8"/>
                  </a:lnTo>
                  <a:lnTo>
                    <a:pt x="18" y="16"/>
                  </a:lnTo>
                  <a:lnTo>
                    <a:pt x="18" y="16"/>
                  </a:lnTo>
                  <a:lnTo>
                    <a:pt x="9" y="8"/>
                  </a:lnTo>
                  <a:lnTo>
                    <a:pt x="9" y="8"/>
                  </a:lnTo>
                  <a:lnTo>
                    <a:pt x="0" y="0"/>
                  </a:lnTo>
                  <a:lnTo>
                    <a:pt x="0" y="0"/>
                  </a:lnTo>
                  <a:close/>
                </a:path>
              </a:pathLst>
            </a:custGeom>
            <a:solidFill>
              <a:srgbClr val="3C9987"/>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4" name="Rectangle 361">
              <a:extLst>
                <a:ext uri="{FF2B5EF4-FFF2-40B4-BE49-F238E27FC236}">
                  <a16:creationId xmlns:a16="http://schemas.microsoft.com/office/drawing/2014/main" id="{DEBFBC7F-4E8F-D6CF-49F4-242D2FA3F6EF}"/>
                </a:ext>
              </a:extLst>
            </p:cNvPr>
            <p:cNvSpPr>
              <a:spLocks noChangeArrowheads="1"/>
            </p:cNvSpPr>
            <p:nvPr/>
          </p:nvSpPr>
          <p:spPr bwMode="auto">
            <a:xfrm>
              <a:off x="3678238" y="1917700"/>
              <a:ext cx="76200" cy="52387"/>
            </a:xfrm>
            <a:prstGeom prst="rect">
              <a:avLst/>
            </a:prstGeom>
            <a:solidFill>
              <a:srgbClr val="DBCCB7"/>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5" name="Rectangle 362">
              <a:extLst>
                <a:ext uri="{FF2B5EF4-FFF2-40B4-BE49-F238E27FC236}">
                  <a16:creationId xmlns:a16="http://schemas.microsoft.com/office/drawing/2014/main" id="{9D3385DC-FFB6-8195-5420-0C93A78DAF8A}"/>
                </a:ext>
              </a:extLst>
            </p:cNvPr>
            <p:cNvSpPr>
              <a:spLocks noChangeArrowheads="1"/>
            </p:cNvSpPr>
            <p:nvPr/>
          </p:nvSpPr>
          <p:spPr bwMode="auto">
            <a:xfrm>
              <a:off x="3678238" y="1917700"/>
              <a:ext cx="76200" cy="523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46" name="Freeform 363">
              <a:extLst>
                <a:ext uri="{FF2B5EF4-FFF2-40B4-BE49-F238E27FC236}">
                  <a16:creationId xmlns:a16="http://schemas.microsoft.com/office/drawing/2014/main" id="{2986C159-EB82-8D73-9F04-AED91F61519C}"/>
                </a:ext>
              </a:extLst>
            </p:cNvPr>
            <p:cNvSpPr>
              <a:spLocks/>
            </p:cNvSpPr>
            <p:nvPr/>
          </p:nvSpPr>
          <p:spPr bwMode="auto">
            <a:xfrm>
              <a:off x="3652838" y="1970088"/>
              <a:ext cx="101600" cy="25400"/>
            </a:xfrm>
            <a:custGeom>
              <a:avLst/>
              <a:gdLst/>
              <a:ahLst/>
              <a:cxnLst>
                <a:cxn ang="0">
                  <a:pos x="512" y="0"/>
                </a:cxn>
                <a:cxn ang="0">
                  <a:pos x="129" y="0"/>
                </a:cxn>
                <a:cxn ang="0">
                  <a:pos x="0" y="0"/>
                </a:cxn>
                <a:cxn ang="0">
                  <a:pos x="0" y="132"/>
                </a:cxn>
                <a:cxn ang="0">
                  <a:pos x="129" y="132"/>
                </a:cxn>
                <a:cxn ang="0">
                  <a:pos x="512" y="132"/>
                </a:cxn>
                <a:cxn ang="0">
                  <a:pos x="512" y="0"/>
                </a:cxn>
              </a:cxnLst>
              <a:rect l="0" t="0" r="r" b="b"/>
              <a:pathLst>
                <a:path w="512" h="132">
                  <a:moveTo>
                    <a:pt x="512" y="0"/>
                  </a:moveTo>
                  <a:lnTo>
                    <a:pt x="129" y="0"/>
                  </a:lnTo>
                  <a:lnTo>
                    <a:pt x="0" y="0"/>
                  </a:lnTo>
                  <a:lnTo>
                    <a:pt x="0" y="132"/>
                  </a:lnTo>
                  <a:lnTo>
                    <a:pt x="129" y="132"/>
                  </a:lnTo>
                  <a:lnTo>
                    <a:pt x="512" y="132"/>
                  </a:lnTo>
                  <a:lnTo>
                    <a:pt x="512" y="0"/>
                  </a:lnTo>
                  <a:close/>
                </a:path>
              </a:pathLst>
            </a:custGeom>
            <a:solidFill>
              <a:srgbClr val="EAD8C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7" name="Freeform 364">
              <a:extLst>
                <a:ext uri="{FF2B5EF4-FFF2-40B4-BE49-F238E27FC236}">
                  <a16:creationId xmlns:a16="http://schemas.microsoft.com/office/drawing/2014/main" id="{A0F013FA-CB5B-45CE-C26C-D301298D7692}"/>
                </a:ext>
              </a:extLst>
            </p:cNvPr>
            <p:cNvSpPr>
              <a:spLocks/>
            </p:cNvSpPr>
            <p:nvPr/>
          </p:nvSpPr>
          <p:spPr bwMode="auto">
            <a:xfrm>
              <a:off x="3652838" y="1970088"/>
              <a:ext cx="101600" cy="25400"/>
            </a:xfrm>
            <a:custGeom>
              <a:avLst/>
              <a:gdLst/>
              <a:ahLst/>
              <a:cxnLst>
                <a:cxn ang="0">
                  <a:pos x="512" y="0"/>
                </a:cxn>
                <a:cxn ang="0">
                  <a:pos x="129" y="0"/>
                </a:cxn>
                <a:cxn ang="0">
                  <a:pos x="0" y="0"/>
                </a:cxn>
                <a:cxn ang="0">
                  <a:pos x="0" y="132"/>
                </a:cxn>
                <a:cxn ang="0">
                  <a:pos x="129" y="132"/>
                </a:cxn>
                <a:cxn ang="0">
                  <a:pos x="512" y="132"/>
                </a:cxn>
                <a:cxn ang="0">
                  <a:pos x="512" y="0"/>
                </a:cxn>
              </a:cxnLst>
              <a:rect l="0" t="0" r="r" b="b"/>
              <a:pathLst>
                <a:path w="512" h="132">
                  <a:moveTo>
                    <a:pt x="512" y="0"/>
                  </a:moveTo>
                  <a:lnTo>
                    <a:pt x="129" y="0"/>
                  </a:lnTo>
                  <a:lnTo>
                    <a:pt x="0" y="0"/>
                  </a:lnTo>
                  <a:lnTo>
                    <a:pt x="0" y="132"/>
                  </a:lnTo>
                  <a:lnTo>
                    <a:pt x="129" y="132"/>
                  </a:lnTo>
                  <a:lnTo>
                    <a:pt x="512" y="132"/>
                  </a:lnTo>
                  <a:lnTo>
                    <a:pt x="512"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8" name="Freeform 365">
              <a:extLst>
                <a:ext uri="{FF2B5EF4-FFF2-40B4-BE49-F238E27FC236}">
                  <a16:creationId xmlns:a16="http://schemas.microsoft.com/office/drawing/2014/main" id="{1245903B-451D-DA94-392F-28241EEDD567}"/>
                </a:ext>
              </a:extLst>
            </p:cNvPr>
            <p:cNvSpPr>
              <a:spLocks/>
            </p:cNvSpPr>
            <p:nvPr/>
          </p:nvSpPr>
          <p:spPr bwMode="auto">
            <a:xfrm>
              <a:off x="3521076" y="1550988"/>
              <a:ext cx="233363" cy="1587"/>
            </a:xfrm>
            <a:custGeom>
              <a:avLst/>
              <a:gdLst/>
              <a:ahLst/>
              <a:cxnLst>
                <a:cxn ang="0">
                  <a:pos x="1178" y="0"/>
                </a:cxn>
                <a:cxn ang="0">
                  <a:pos x="0" y="0"/>
                </a:cxn>
                <a:cxn ang="0">
                  <a:pos x="0" y="0"/>
                </a:cxn>
                <a:cxn ang="0">
                  <a:pos x="393" y="0"/>
                </a:cxn>
                <a:cxn ang="0">
                  <a:pos x="401" y="0"/>
                </a:cxn>
                <a:cxn ang="0">
                  <a:pos x="920" y="0"/>
                </a:cxn>
                <a:cxn ang="0">
                  <a:pos x="920" y="0"/>
                </a:cxn>
                <a:cxn ang="0">
                  <a:pos x="929" y="0"/>
                </a:cxn>
                <a:cxn ang="0">
                  <a:pos x="929" y="0"/>
                </a:cxn>
                <a:cxn ang="0">
                  <a:pos x="1178" y="0"/>
                </a:cxn>
                <a:cxn ang="0">
                  <a:pos x="1178" y="0"/>
                </a:cxn>
              </a:cxnLst>
              <a:rect l="0" t="0" r="r" b="b"/>
              <a:pathLst>
                <a:path w="1178">
                  <a:moveTo>
                    <a:pt x="1178" y="0"/>
                  </a:moveTo>
                  <a:lnTo>
                    <a:pt x="0" y="0"/>
                  </a:lnTo>
                  <a:lnTo>
                    <a:pt x="0" y="0"/>
                  </a:lnTo>
                  <a:lnTo>
                    <a:pt x="393" y="0"/>
                  </a:lnTo>
                  <a:lnTo>
                    <a:pt x="401" y="0"/>
                  </a:lnTo>
                  <a:lnTo>
                    <a:pt x="920" y="0"/>
                  </a:lnTo>
                  <a:lnTo>
                    <a:pt x="920" y="0"/>
                  </a:lnTo>
                  <a:lnTo>
                    <a:pt x="929" y="0"/>
                  </a:lnTo>
                  <a:lnTo>
                    <a:pt x="929" y="0"/>
                  </a:lnTo>
                  <a:lnTo>
                    <a:pt x="1178" y="0"/>
                  </a:lnTo>
                  <a:lnTo>
                    <a:pt x="1178" y="0"/>
                  </a:lnTo>
                  <a:close/>
                </a:path>
              </a:pathLst>
            </a:custGeom>
            <a:solidFill>
              <a:srgbClr val="FCBF5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49" name="Freeform 366">
              <a:extLst>
                <a:ext uri="{FF2B5EF4-FFF2-40B4-BE49-F238E27FC236}">
                  <a16:creationId xmlns:a16="http://schemas.microsoft.com/office/drawing/2014/main" id="{EC29C8F0-FCFD-9656-BE1E-C3845BD076A1}"/>
                </a:ext>
              </a:extLst>
            </p:cNvPr>
            <p:cNvSpPr>
              <a:spLocks/>
            </p:cNvSpPr>
            <p:nvPr/>
          </p:nvSpPr>
          <p:spPr bwMode="auto">
            <a:xfrm>
              <a:off x="3521076" y="1550988"/>
              <a:ext cx="233363" cy="1587"/>
            </a:xfrm>
            <a:custGeom>
              <a:avLst/>
              <a:gdLst/>
              <a:ahLst/>
              <a:cxnLst>
                <a:cxn ang="0">
                  <a:pos x="1178" y="0"/>
                </a:cxn>
                <a:cxn ang="0">
                  <a:pos x="0" y="0"/>
                </a:cxn>
                <a:cxn ang="0">
                  <a:pos x="0" y="0"/>
                </a:cxn>
                <a:cxn ang="0">
                  <a:pos x="393" y="0"/>
                </a:cxn>
                <a:cxn ang="0">
                  <a:pos x="401" y="0"/>
                </a:cxn>
                <a:cxn ang="0">
                  <a:pos x="920" y="0"/>
                </a:cxn>
                <a:cxn ang="0">
                  <a:pos x="920" y="0"/>
                </a:cxn>
                <a:cxn ang="0">
                  <a:pos x="929" y="0"/>
                </a:cxn>
                <a:cxn ang="0">
                  <a:pos x="929" y="0"/>
                </a:cxn>
                <a:cxn ang="0">
                  <a:pos x="1178" y="0"/>
                </a:cxn>
                <a:cxn ang="0">
                  <a:pos x="1178" y="0"/>
                </a:cxn>
              </a:cxnLst>
              <a:rect l="0" t="0" r="r" b="b"/>
              <a:pathLst>
                <a:path w="1178">
                  <a:moveTo>
                    <a:pt x="1178" y="0"/>
                  </a:moveTo>
                  <a:lnTo>
                    <a:pt x="0" y="0"/>
                  </a:lnTo>
                  <a:lnTo>
                    <a:pt x="0" y="0"/>
                  </a:lnTo>
                  <a:lnTo>
                    <a:pt x="393" y="0"/>
                  </a:lnTo>
                  <a:lnTo>
                    <a:pt x="401" y="0"/>
                  </a:lnTo>
                  <a:lnTo>
                    <a:pt x="920" y="0"/>
                  </a:lnTo>
                  <a:lnTo>
                    <a:pt x="920" y="0"/>
                  </a:lnTo>
                  <a:lnTo>
                    <a:pt x="929" y="0"/>
                  </a:lnTo>
                  <a:lnTo>
                    <a:pt x="929" y="0"/>
                  </a:lnTo>
                  <a:lnTo>
                    <a:pt x="1178" y="0"/>
                  </a:lnTo>
                  <a:lnTo>
                    <a:pt x="1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0" name="Freeform 367">
              <a:extLst>
                <a:ext uri="{FF2B5EF4-FFF2-40B4-BE49-F238E27FC236}">
                  <a16:creationId xmlns:a16="http://schemas.microsoft.com/office/drawing/2014/main" id="{DFB8E006-3E07-50AF-FCFE-BA2EE50858C1}"/>
                </a:ext>
              </a:extLst>
            </p:cNvPr>
            <p:cNvSpPr>
              <a:spLocks/>
            </p:cNvSpPr>
            <p:nvPr/>
          </p:nvSpPr>
          <p:spPr bwMode="auto">
            <a:xfrm>
              <a:off x="3495676" y="1838325"/>
              <a:ext cx="258763" cy="79375"/>
            </a:xfrm>
            <a:custGeom>
              <a:avLst/>
              <a:gdLst/>
              <a:ahLst/>
              <a:cxnLst>
                <a:cxn ang="0">
                  <a:pos x="1304" y="0"/>
                </a:cxn>
                <a:cxn ang="0">
                  <a:pos x="0" y="0"/>
                </a:cxn>
                <a:cxn ang="0">
                  <a:pos x="0" y="268"/>
                </a:cxn>
                <a:cxn ang="0">
                  <a:pos x="0" y="268"/>
                </a:cxn>
                <a:cxn ang="0">
                  <a:pos x="1" y="277"/>
                </a:cxn>
                <a:cxn ang="0">
                  <a:pos x="2" y="287"/>
                </a:cxn>
                <a:cxn ang="0">
                  <a:pos x="5" y="303"/>
                </a:cxn>
                <a:cxn ang="0">
                  <a:pos x="11" y="320"/>
                </a:cxn>
                <a:cxn ang="0">
                  <a:pos x="18" y="335"/>
                </a:cxn>
                <a:cxn ang="0">
                  <a:pos x="27" y="349"/>
                </a:cxn>
                <a:cxn ang="0">
                  <a:pos x="39" y="362"/>
                </a:cxn>
                <a:cxn ang="0">
                  <a:pos x="52" y="373"/>
                </a:cxn>
                <a:cxn ang="0">
                  <a:pos x="66" y="382"/>
                </a:cxn>
                <a:cxn ang="0">
                  <a:pos x="66" y="382"/>
                </a:cxn>
                <a:cxn ang="0">
                  <a:pos x="66" y="382"/>
                </a:cxn>
                <a:cxn ang="0">
                  <a:pos x="66" y="382"/>
                </a:cxn>
                <a:cxn ang="0">
                  <a:pos x="67" y="382"/>
                </a:cxn>
                <a:cxn ang="0">
                  <a:pos x="67" y="382"/>
                </a:cxn>
                <a:cxn ang="0">
                  <a:pos x="81" y="390"/>
                </a:cxn>
                <a:cxn ang="0">
                  <a:pos x="97" y="396"/>
                </a:cxn>
                <a:cxn ang="0">
                  <a:pos x="114" y="399"/>
                </a:cxn>
                <a:cxn ang="0">
                  <a:pos x="131" y="400"/>
                </a:cxn>
                <a:cxn ang="0">
                  <a:pos x="131" y="400"/>
                </a:cxn>
                <a:cxn ang="0">
                  <a:pos x="921" y="400"/>
                </a:cxn>
                <a:cxn ang="0">
                  <a:pos x="1304" y="400"/>
                </a:cxn>
                <a:cxn ang="0">
                  <a:pos x="1304" y="0"/>
                </a:cxn>
              </a:cxnLst>
              <a:rect l="0" t="0" r="r" b="b"/>
              <a:pathLst>
                <a:path w="1304" h="400">
                  <a:moveTo>
                    <a:pt x="1304" y="0"/>
                  </a:moveTo>
                  <a:lnTo>
                    <a:pt x="0" y="0"/>
                  </a:lnTo>
                  <a:lnTo>
                    <a:pt x="0" y="268"/>
                  </a:lnTo>
                  <a:lnTo>
                    <a:pt x="0" y="268"/>
                  </a:lnTo>
                  <a:lnTo>
                    <a:pt x="1" y="277"/>
                  </a:lnTo>
                  <a:lnTo>
                    <a:pt x="2" y="287"/>
                  </a:lnTo>
                  <a:lnTo>
                    <a:pt x="5" y="303"/>
                  </a:lnTo>
                  <a:lnTo>
                    <a:pt x="11" y="320"/>
                  </a:lnTo>
                  <a:lnTo>
                    <a:pt x="18" y="335"/>
                  </a:lnTo>
                  <a:lnTo>
                    <a:pt x="27" y="349"/>
                  </a:lnTo>
                  <a:lnTo>
                    <a:pt x="39" y="362"/>
                  </a:lnTo>
                  <a:lnTo>
                    <a:pt x="52" y="373"/>
                  </a:lnTo>
                  <a:lnTo>
                    <a:pt x="66" y="382"/>
                  </a:lnTo>
                  <a:lnTo>
                    <a:pt x="66" y="382"/>
                  </a:lnTo>
                  <a:lnTo>
                    <a:pt x="66" y="382"/>
                  </a:lnTo>
                  <a:lnTo>
                    <a:pt x="66" y="382"/>
                  </a:lnTo>
                  <a:lnTo>
                    <a:pt x="67" y="382"/>
                  </a:lnTo>
                  <a:lnTo>
                    <a:pt x="67" y="382"/>
                  </a:lnTo>
                  <a:lnTo>
                    <a:pt x="81" y="390"/>
                  </a:lnTo>
                  <a:lnTo>
                    <a:pt x="97" y="396"/>
                  </a:lnTo>
                  <a:lnTo>
                    <a:pt x="114" y="399"/>
                  </a:lnTo>
                  <a:lnTo>
                    <a:pt x="131" y="400"/>
                  </a:lnTo>
                  <a:lnTo>
                    <a:pt x="131" y="400"/>
                  </a:lnTo>
                  <a:lnTo>
                    <a:pt x="921" y="400"/>
                  </a:lnTo>
                  <a:lnTo>
                    <a:pt x="1304" y="400"/>
                  </a:lnTo>
                  <a:lnTo>
                    <a:pt x="1304" y="0"/>
                  </a:lnTo>
                  <a:close/>
                </a:path>
              </a:pathLst>
            </a:custGeom>
            <a:solidFill>
              <a:srgbClr val="EAD8C1"/>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1" name="Freeform 368">
              <a:extLst>
                <a:ext uri="{FF2B5EF4-FFF2-40B4-BE49-F238E27FC236}">
                  <a16:creationId xmlns:a16="http://schemas.microsoft.com/office/drawing/2014/main" id="{613CBA22-DA22-1FA7-5BBB-6EFD495CF0CE}"/>
                </a:ext>
              </a:extLst>
            </p:cNvPr>
            <p:cNvSpPr>
              <a:spLocks/>
            </p:cNvSpPr>
            <p:nvPr/>
          </p:nvSpPr>
          <p:spPr bwMode="auto">
            <a:xfrm>
              <a:off x="3495676" y="1838325"/>
              <a:ext cx="258763" cy="79375"/>
            </a:xfrm>
            <a:custGeom>
              <a:avLst/>
              <a:gdLst/>
              <a:ahLst/>
              <a:cxnLst>
                <a:cxn ang="0">
                  <a:pos x="1304" y="0"/>
                </a:cxn>
                <a:cxn ang="0">
                  <a:pos x="0" y="0"/>
                </a:cxn>
                <a:cxn ang="0">
                  <a:pos x="0" y="268"/>
                </a:cxn>
                <a:cxn ang="0">
                  <a:pos x="0" y="268"/>
                </a:cxn>
                <a:cxn ang="0">
                  <a:pos x="1" y="277"/>
                </a:cxn>
                <a:cxn ang="0">
                  <a:pos x="2" y="287"/>
                </a:cxn>
                <a:cxn ang="0">
                  <a:pos x="5" y="303"/>
                </a:cxn>
                <a:cxn ang="0">
                  <a:pos x="11" y="320"/>
                </a:cxn>
                <a:cxn ang="0">
                  <a:pos x="18" y="335"/>
                </a:cxn>
                <a:cxn ang="0">
                  <a:pos x="27" y="349"/>
                </a:cxn>
                <a:cxn ang="0">
                  <a:pos x="39" y="362"/>
                </a:cxn>
                <a:cxn ang="0">
                  <a:pos x="52" y="373"/>
                </a:cxn>
                <a:cxn ang="0">
                  <a:pos x="66" y="382"/>
                </a:cxn>
                <a:cxn ang="0">
                  <a:pos x="66" y="382"/>
                </a:cxn>
                <a:cxn ang="0">
                  <a:pos x="66" y="382"/>
                </a:cxn>
                <a:cxn ang="0">
                  <a:pos x="66" y="382"/>
                </a:cxn>
                <a:cxn ang="0">
                  <a:pos x="67" y="382"/>
                </a:cxn>
                <a:cxn ang="0">
                  <a:pos x="67" y="382"/>
                </a:cxn>
                <a:cxn ang="0">
                  <a:pos x="81" y="390"/>
                </a:cxn>
                <a:cxn ang="0">
                  <a:pos x="97" y="396"/>
                </a:cxn>
                <a:cxn ang="0">
                  <a:pos x="114" y="399"/>
                </a:cxn>
                <a:cxn ang="0">
                  <a:pos x="131" y="400"/>
                </a:cxn>
                <a:cxn ang="0">
                  <a:pos x="131" y="400"/>
                </a:cxn>
                <a:cxn ang="0">
                  <a:pos x="921" y="400"/>
                </a:cxn>
                <a:cxn ang="0">
                  <a:pos x="1304" y="400"/>
                </a:cxn>
                <a:cxn ang="0">
                  <a:pos x="1304" y="0"/>
                </a:cxn>
              </a:cxnLst>
              <a:rect l="0" t="0" r="r" b="b"/>
              <a:pathLst>
                <a:path w="1304" h="400">
                  <a:moveTo>
                    <a:pt x="1304" y="0"/>
                  </a:moveTo>
                  <a:lnTo>
                    <a:pt x="0" y="0"/>
                  </a:lnTo>
                  <a:lnTo>
                    <a:pt x="0" y="268"/>
                  </a:lnTo>
                  <a:lnTo>
                    <a:pt x="0" y="268"/>
                  </a:lnTo>
                  <a:lnTo>
                    <a:pt x="1" y="277"/>
                  </a:lnTo>
                  <a:lnTo>
                    <a:pt x="2" y="287"/>
                  </a:lnTo>
                  <a:lnTo>
                    <a:pt x="5" y="303"/>
                  </a:lnTo>
                  <a:lnTo>
                    <a:pt x="11" y="320"/>
                  </a:lnTo>
                  <a:lnTo>
                    <a:pt x="18" y="335"/>
                  </a:lnTo>
                  <a:lnTo>
                    <a:pt x="27" y="349"/>
                  </a:lnTo>
                  <a:lnTo>
                    <a:pt x="39" y="362"/>
                  </a:lnTo>
                  <a:lnTo>
                    <a:pt x="52" y="373"/>
                  </a:lnTo>
                  <a:lnTo>
                    <a:pt x="66" y="382"/>
                  </a:lnTo>
                  <a:lnTo>
                    <a:pt x="66" y="382"/>
                  </a:lnTo>
                  <a:lnTo>
                    <a:pt x="66" y="382"/>
                  </a:lnTo>
                  <a:lnTo>
                    <a:pt x="66" y="382"/>
                  </a:lnTo>
                  <a:lnTo>
                    <a:pt x="67" y="382"/>
                  </a:lnTo>
                  <a:lnTo>
                    <a:pt x="67" y="382"/>
                  </a:lnTo>
                  <a:lnTo>
                    <a:pt x="81" y="390"/>
                  </a:lnTo>
                  <a:lnTo>
                    <a:pt x="97" y="396"/>
                  </a:lnTo>
                  <a:lnTo>
                    <a:pt x="114" y="399"/>
                  </a:lnTo>
                  <a:lnTo>
                    <a:pt x="131" y="400"/>
                  </a:lnTo>
                  <a:lnTo>
                    <a:pt x="131" y="400"/>
                  </a:lnTo>
                  <a:lnTo>
                    <a:pt x="921" y="400"/>
                  </a:lnTo>
                  <a:lnTo>
                    <a:pt x="1304" y="400"/>
                  </a:lnTo>
                  <a:lnTo>
                    <a:pt x="1304"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2" name="Freeform 369">
              <a:extLst>
                <a:ext uri="{FF2B5EF4-FFF2-40B4-BE49-F238E27FC236}">
                  <a16:creationId xmlns:a16="http://schemas.microsoft.com/office/drawing/2014/main" id="{229D1FE8-DFA6-8CA8-6CEA-F743A6ED01FB}"/>
                </a:ext>
              </a:extLst>
            </p:cNvPr>
            <p:cNvSpPr>
              <a:spLocks/>
            </p:cNvSpPr>
            <p:nvPr/>
          </p:nvSpPr>
          <p:spPr bwMode="auto">
            <a:xfrm>
              <a:off x="3600451" y="1550988"/>
              <a:ext cx="103188" cy="200025"/>
            </a:xfrm>
            <a:custGeom>
              <a:avLst/>
              <a:gdLst/>
              <a:ahLst/>
              <a:cxnLst>
                <a:cxn ang="0">
                  <a:pos x="519" y="0"/>
                </a:cxn>
                <a:cxn ang="0">
                  <a:pos x="0" y="0"/>
                </a:cxn>
                <a:cxn ang="0">
                  <a:pos x="0" y="758"/>
                </a:cxn>
                <a:cxn ang="0">
                  <a:pos x="0" y="758"/>
                </a:cxn>
                <a:cxn ang="0">
                  <a:pos x="5" y="760"/>
                </a:cxn>
                <a:cxn ang="0">
                  <a:pos x="10" y="762"/>
                </a:cxn>
                <a:cxn ang="0">
                  <a:pos x="512" y="1013"/>
                </a:cxn>
                <a:cxn ang="0">
                  <a:pos x="519" y="1002"/>
                </a:cxn>
                <a:cxn ang="0">
                  <a:pos x="519" y="0"/>
                </a:cxn>
              </a:cxnLst>
              <a:rect l="0" t="0" r="r" b="b"/>
              <a:pathLst>
                <a:path w="519" h="1013">
                  <a:moveTo>
                    <a:pt x="519" y="0"/>
                  </a:moveTo>
                  <a:lnTo>
                    <a:pt x="0" y="0"/>
                  </a:lnTo>
                  <a:lnTo>
                    <a:pt x="0" y="758"/>
                  </a:lnTo>
                  <a:lnTo>
                    <a:pt x="0" y="758"/>
                  </a:lnTo>
                  <a:lnTo>
                    <a:pt x="5" y="760"/>
                  </a:lnTo>
                  <a:lnTo>
                    <a:pt x="10" y="762"/>
                  </a:lnTo>
                  <a:lnTo>
                    <a:pt x="512" y="1013"/>
                  </a:lnTo>
                  <a:lnTo>
                    <a:pt x="519" y="1002"/>
                  </a:lnTo>
                  <a:lnTo>
                    <a:pt x="519" y="0"/>
                  </a:lnTo>
                  <a:close/>
                </a:path>
              </a:pathLst>
            </a:custGeom>
            <a:solidFill>
              <a:srgbClr val="FCBF5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3" name="Freeform 370">
              <a:extLst>
                <a:ext uri="{FF2B5EF4-FFF2-40B4-BE49-F238E27FC236}">
                  <a16:creationId xmlns:a16="http://schemas.microsoft.com/office/drawing/2014/main" id="{0DCF68E7-572A-B6EF-D281-FFA966FB549E}"/>
                </a:ext>
              </a:extLst>
            </p:cNvPr>
            <p:cNvSpPr>
              <a:spLocks/>
            </p:cNvSpPr>
            <p:nvPr/>
          </p:nvSpPr>
          <p:spPr bwMode="auto">
            <a:xfrm>
              <a:off x="3600451" y="1550988"/>
              <a:ext cx="103188" cy="200025"/>
            </a:xfrm>
            <a:custGeom>
              <a:avLst/>
              <a:gdLst/>
              <a:ahLst/>
              <a:cxnLst>
                <a:cxn ang="0">
                  <a:pos x="519" y="0"/>
                </a:cxn>
                <a:cxn ang="0">
                  <a:pos x="0" y="0"/>
                </a:cxn>
                <a:cxn ang="0">
                  <a:pos x="0" y="758"/>
                </a:cxn>
                <a:cxn ang="0">
                  <a:pos x="0" y="758"/>
                </a:cxn>
                <a:cxn ang="0">
                  <a:pos x="5" y="760"/>
                </a:cxn>
                <a:cxn ang="0">
                  <a:pos x="10" y="762"/>
                </a:cxn>
                <a:cxn ang="0">
                  <a:pos x="512" y="1013"/>
                </a:cxn>
                <a:cxn ang="0">
                  <a:pos x="519" y="1002"/>
                </a:cxn>
                <a:cxn ang="0">
                  <a:pos x="519" y="0"/>
                </a:cxn>
              </a:cxnLst>
              <a:rect l="0" t="0" r="r" b="b"/>
              <a:pathLst>
                <a:path w="519" h="1013">
                  <a:moveTo>
                    <a:pt x="519" y="0"/>
                  </a:moveTo>
                  <a:lnTo>
                    <a:pt x="0" y="0"/>
                  </a:lnTo>
                  <a:lnTo>
                    <a:pt x="0" y="758"/>
                  </a:lnTo>
                  <a:lnTo>
                    <a:pt x="0" y="758"/>
                  </a:lnTo>
                  <a:lnTo>
                    <a:pt x="5" y="760"/>
                  </a:lnTo>
                  <a:lnTo>
                    <a:pt x="10" y="762"/>
                  </a:lnTo>
                  <a:lnTo>
                    <a:pt x="512" y="1013"/>
                  </a:lnTo>
                  <a:lnTo>
                    <a:pt x="519" y="1002"/>
                  </a:lnTo>
                  <a:lnTo>
                    <a:pt x="519"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4" name="Freeform 371">
              <a:extLst>
                <a:ext uri="{FF2B5EF4-FFF2-40B4-BE49-F238E27FC236}">
                  <a16:creationId xmlns:a16="http://schemas.microsoft.com/office/drawing/2014/main" id="{DC117C1B-9C6D-693C-3EA4-F60AB74263D2}"/>
                </a:ext>
              </a:extLst>
            </p:cNvPr>
            <p:cNvSpPr>
              <a:spLocks/>
            </p:cNvSpPr>
            <p:nvPr/>
          </p:nvSpPr>
          <p:spPr bwMode="auto">
            <a:xfrm>
              <a:off x="3705226" y="1550988"/>
              <a:ext cx="49213" cy="196850"/>
            </a:xfrm>
            <a:custGeom>
              <a:avLst/>
              <a:gdLst/>
              <a:ahLst/>
              <a:cxnLst>
                <a:cxn ang="0">
                  <a:pos x="249" y="0"/>
                </a:cxn>
                <a:cxn ang="0">
                  <a:pos x="0" y="0"/>
                </a:cxn>
                <a:cxn ang="0">
                  <a:pos x="0" y="990"/>
                </a:cxn>
                <a:cxn ang="0">
                  <a:pos x="249" y="615"/>
                </a:cxn>
                <a:cxn ang="0">
                  <a:pos x="249" y="0"/>
                </a:cxn>
              </a:cxnLst>
              <a:rect l="0" t="0" r="r" b="b"/>
              <a:pathLst>
                <a:path w="249" h="990">
                  <a:moveTo>
                    <a:pt x="249" y="0"/>
                  </a:moveTo>
                  <a:lnTo>
                    <a:pt x="0" y="0"/>
                  </a:lnTo>
                  <a:lnTo>
                    <a:pt x="0" y="990"/>
                  </a:lnTo>
                  <a:lnTo>
                    <a:pt x="249" y="615"/>
                  </a:lnTo>
                  <a:lnTo>
                    <a:pt x="249" y="0"/>
                  </a:lnTo>
                  <a:close/>
                </a:path>
              </a:pathLst>
            </a:custGeom>
            <a:solidFill>
              <a:srgbClr val="FCBF5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5" name="Freeform 372">
              <a:extLst>
                <a:ext uri="{FF2B5EF4-FFF2-40B4-BE49-F238E27FC236}">
                  <a16:creationId xmlns:a16="http://schemas.microsoft.com/office/drawing/2014/main" id="{78124FCF-644F-4B09-0380-BC0AED8F886F}"/>
                </a:ext>
              </a:extLst>
            </p:cNvPr>
            <p:cNvSpPr>
              <a:spLocks/>
            </p:cNvSpPr>
            <p:nvPr/>
          </p:nvSpPr>
          <p:spPr bwMode="auto">
            <a:xfrm>
              <a:off x="3705226" y="1550988"/>
              <a:ext cx="49213" cy="196850"/>
            </a:xfrm>
            <a:custGeom>
              <a:avLst/>
              <a:gdLst/>
              <a:ahLst/>
              <a:cxnLst>
                <a:cxn ang="0">
                  <a:pos x="249" y="0"/>
                </a:cxn>
                <a:cxn ang="0">
                  <a:pos x="0" y="0"/>
                </a:cxn>
                <a:cxn ang="0">
                  <a:pos x="0" y="990"/>
                </a:cxn>
                <a:cxn ang="0">
                  <a:pos x="249" y="615"/>
                </a:cxn>
                <a:cxn ang="0">
                  <a:pos x="249" y="0"/>
                </a:cxn>
              </a:cxnLst>
              <a:rect l="0" t="0" r="r" b="b"/>
              <a:pathLst>
                <a:path w="249" h="990">
                  <a:moveTo>
                    <a:pt x="249" y="0"/>
                  </a:moveTo>
                  <a:lnTo>
                    <a:pt x="0" y="0"/>
                  </a:lnTo>
                  <a:lnTo>
                    <a:pt x="0" y="990"/>
                  </a:lnTo>
                  <a:lnTo>
                    <a:pt x="249" y="615"/>
                  </a:lnTo>
                  <a:lnTo>
                    <a:pt x="249"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6" name="Freeform 373">
              <a:extLst>
                <a:ext uri="{FF2B5EF4-FFF2-40B4-BE49-F238E27FC236}">
                  <a16:creationId xmlns:a16="http://schemas.microsoft.com/office/drawing/2014/main" id="{4E81F7F8-7C22-C2FA-D487-08D63125D597}"/>
                </a:ext>
              </a:extLst>
            </p:cNvPr>
            <p:cNvSpPr>
              <a:spLocks/>
            </p:cNvSpPr>
            <p:nvPr/>
          </p:nvSpPr>
          <p:spPr bwMode="auto">
            <a:xfrm>
              <a:off x="3521076" y="1550988"/>
              <a:ext cx="77788" cy="188912"/>
            </a:xfrm>
            <a:custGeom>
              <a:avLst/>
              <a:gdLst/>
              <a:ahLst/>
              <a:cxnLst>
                <a:cxn ang="0">
                  <a:pos x="393" y="0"/>
                </a:cxn>
                <a:cxn ang="0">
                  <a:pos x="0" y="0"/>
                </a:cxn>
                <a:cxn ang="0">
                  <a:pos x="0" y="953"/>
                </a:cxn>
                <a:cxn ang="0">
                  <a:pos x="383" y="762"/>
                </a:cxn>
                <a:cxn ang="0">
                  <a:pos x="383" y="762"/>
                </a:cxn>
                <a:cxn ang="0">
                  <a:pos x="388" y="760"/>
                </a:cxn>
                <a:cxn ang="0">
                  <a:pos x="393" y="758"/>
                </a:cxn>
                <a:cxn ang="0">
                  <a:pos x="393" y="0"/>
                </a:cxn>
              </a:cxnLst>
              <a:rect l="0" t="0" r="r" b="b"/>
              <a:pathLst>
                <a:path w="393" h="953">
                  <a:moveTo>
                    <a:pt x="393" y="0"/>
                  </a:moveTo>
                  <a:lnTo>
                    <a:pt x="0" y="0"/>
                  </a:lnTo>
                  <a:lnTo>
                    <a:pt x="0" y="953"/>
                  </a:lnTo>
                  <a:lnTo>
                    <a:pt x="383" y="762"/>
                  </a:lnTo>
                  <a:lnTo>
                    <a:pt x="383" y="762"/>
                  </a:lnTo>
                  <a:lnTo>
                    <a:pt x="388" y="760"/>
                  </a:lnTo>
                  <a:lnTo>
                    <a:pt x="393" y="758"/>
                  </a:lnTo>
                  <a:lnTo>
                    <a:pt x="393" y="0"/>
                  </a:lnTo>
                  <a:close/>
                </a:path>
              </a:pathLst>
            </a:custGeom>
            <a:solidFill>
              <a:srgbClr val="FCBF55"/>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7" name="Freeform 374">
              <a:extLst>
                <a:ext uri="{FF2B5EF4-FFF2-40B4-BE49-F238E27FC236}">
                  <a16:creationId xmlns:a16="http://schemas.microsoft.com/office/drawing/2014/main" id="{F2EB6843-54A6-AABC-EC2D-0B9232C2C1D4}"/>
                </a:ext>
              </a:extLst>
            </p:cNvPr>
            <p:cNvSpPr>
              <a:spLocks/>
            </p:cNvSpPr>
            <p:nvPr/>
          </p:nvSpPr>
          <p:spPr bwMode="auto">
            <a:xfrm>
              <a:off x="3521076" y="1550988"/>
              <a:ext cx="77788" cy="188912"/>
            </a:xfrm>
            <a:custGeom>
              <a:avLst/>
              <a:gdLst/>
              <a:ahLst/>
              <a:cxnLst>
                <a:cxn ang="0">
                  <a:pos x="393" y="0"/>
                </a:cxn>
                <a:cxn ang="0">
                  <a:pos x="0" y="0"/>
                </a:cxn>
                <a:cxn ang="0">
                  <a:pos x="0" y="953"/>
                </a:cxn>
                <a:cxn ang="0">
                  <a:pos x="383" y="762"/>
                </a:cxn>
                <a:cxn ang="0">
                  <a:pos x="383" y="762"/>
                </a:cxn>
                <a:cxn ang="0">
                  <a:pos x="388" y="760"/>
                </a:cxn>
                <a:cxn ang="0">
                  <a:pos x="393" y="758"/>
                </a:cxn>
                <a:cxn ang="0">
                  <a:pos x="393" y="0"/>
                </a:cxn>
              </a:cxnLst>
              <a:rect l="0" t="0" r="r" b="b"/>
              <a:pathLst>
                <a:path w="393" h="953">
                  <a:moveTo>
                    <a:pt x="393" y="0"/>
                  </a:moveTo>
                  <a:lnTo>
                    <a:pt x="0" y="0"/>
                  </a:lnTo>
                  <a:lnTo>
                    <a:pt x="0" y="953"/>
                  </a:lnTo>
                  <a:lnTo>
                    <a:pt x="383" y="762"/>
                  </a:lnTo>
                  <a:lnTo>
                    <a:pt x="383" y="762"/>
                  </a:lnTo>
                  <a:lnTo>
                    <a:pt x="388" y="760"/>
                  </a:lnTo>
                  <a:lnTo>
                    <a:pt x="393" y="758"/>
                  </a:lnTo>
                  <a:lnTo>
                    <a:pt x="39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8" name="Freeform 375">
              <a:extLst>
                <a:ext uri="{FF2B5EF4-FFF2-40B4-BE49-F238E27FC236}">
                  <a16:creationId xmlns:a16="http://schemas.microsoft.com/office/drawing/2014/main" id="{D0171577-F65D-4A67-494A-1BCB4E9D55C7}"/>
                </a:ext>
              </a:extLst>
            </p:cNvPr>
            <p:cNvSpPr>
              <a:spLocks/>
            </p:cNvSpPr>
            <p:nvPr/>
          </p:nvSpPr>
          <p:spPr bwMode="auto">
            <a:xfrm>
              <a:off x="3703638" y="1697038"/>
              <a:ext cx="50800" cy="114300"/>
            </a:xfrm>
            <a:custGeom>
              <a:avLst/>
              <a:gdLst/>
              <a:ahLst/>
              <a:cxnLst>
                <a:cxn ang="0">
                  <a:pos x="253" y="0"/>
                </a:cxn>
                <a:cxn ang="0">
                  <a:pos x="27" y="340"/>
                </a:cxn>
                <a:cxn ang="0">
                  <a:pos x="27" y="340"/>
                </a:cxn>
                <a:cxn ang="0">
                  <a:pos x="22" y="345"/>
                </a:cxn>
                <a:cxn ang="0">
                  <a:pos x="17" y="351"/>
                </a:cxn>
                <a:cxn ang="0">
                  <a:pos x="10" y="353"/>
                </a:cxn>
                <a:cxn ang="0">
                  <a:pos x="4" y="355"/>
                </a:cxn>
                <a:cxn ang="0">
                  <a:pos x="4" y="581"/>
                </a:cxn>
                <a:cxn ang="0">
                  <a:pos x="0" y="581"/>
                </a:cxn>
                <a:cxn ang="0">
                  <a:pos x="0" y="581"/>
                </a:cxn>
                <a:cxn ang="0">
                  <a:pos x="253" y="581"/>
                </a:cxn>
                <a:cxn ang="0">
                  <a:pos x="253" y="0"/>
                </a:cxn>
              </a:cxnLst>
              <a:rect l="0" t="0" r="r" b="b"/>
              <a:pathLst>
                <a:path w="253" h="581">
                  <a:moveTo>
                    <a:pt x="253" y="0"/>
                  </a:moveTo>
                  <a:lnTo>
                    <a:pt x="27" y="340"/>
                  </a:lnTo>
                  <a:lnTo>
                    <a:pt x="27" y="340"/>
                  </a:lnTo>
                  <a:lnTo>
                    <a:pt x="22" y="345"/>
                  </a:lnTo>
                  <a:lnTo>
                    <a:pt x="17" y="351"/>
                  </a:lnTo>
                  <a:lnTo>
                    <a:pt x="10" y="353"/>
                  </a:lnTo>
                  <a:lnTo>
                    <a:pt x="4" y="355"/>
                  </a:lnTo>
                  <a:lnTo>
                    <a:pt x="4" y="581"/>
                  </a:lnTo>
                  <a:lnTo>
                    <a:pt x="0" y="581"/>
                  </a:lnTo>
                  <a:lnTo>
                    <a:pt x="0" y="581"/>
                  </a:lnTo>
                  <a:lnTo>
                    <a:pt x="253" y="581"/>
                  </a:lnTo>
                  <a:lnTo>
                    <a:pt x="253" y="0"/>
                  </a:lnTo>
                  <a:close/>
                </a:path>
              </a:pathLst>
            </a:custGeom>
            <a:solidFill>
              <a:srgbClr val="DBA75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9" name="Freeform 376">
              <a:extLst>
                <a:ext uri="{FF2B5EF4-FFF2-40B4-BE49-F238E27FC236}">
                  <a16:creationId xmlns:a16="http://schemas.microsoft.com/office/drawing/2014/main" id="{15C6437F-3E0C-E160-41A7-1136625CBAB4}"/>
                </a:ext>
              </a:extLst>
            </p:cNvPr>
            <p:cNvSpPr>
              <a:spLocks/>
            </p:cNvSpPr>
            <p:nvPr/>
          </p:nvSpPr>
          <p:spPr bwMode="auto">
            <a:xfrm>
              <a:off x="3703638" y="1697038"/>
              <a:ext cx="50800" cy="114300"/>
            </a:xfrm>
            <a:custGeom>
              <a:avLst/>
              <a:gdLst/>
              <a:ahLst/>
              <a:cxnLst>
                <a:cxn ang="0">
                  <a:pos x="253" y="0"/>
                </a:cxn>
                <a:cxn ang="0">
                  <a:pos x="27" y="340"/>
                </a:cxn>
                <a:cxn ang="0">
                  <a:pos x="27" y="340"/>
                </a:cxn>
                <a:cxn ang="0">
                  <a:pos x="22" y="345"/>
                </a:cxn>
                <a:cxn ang="0">
                  <a:pos x="17" y="351"/>
                </a:cxn>
                <a:cxn ang="0">
                  <a:pos x="10" y="353"/>
                </a:cxn>
                <a:cxn ang="0">
                  <a:pos x="4" y="355"/>
                </a:cxn>
                <a:cxn ang="0">
                  <a:pos x="4" y="581"/>
                </a:cxn>
                <a:cxn ang="0">
                  <a:pos x="0" y="581"/>
                </a:cxn>
                <a:cxn ang="0">
                  <a:pos x="0" y="581"/>
                </a:cxn>
                <a:cxn ang="0">
                  <a:pos x="253" y="581"/>
                </a:cxn>
                <a:cxn ang="0">
                  <a:pos x="253" y="0"/>
                </a:cxn>
              </a:cxnLst>
              <a:rect l="0" t="0" r="r" b="b"/>
              <a:pathLst>
                <a:path w="253" h="581">
                  <a:moveTo>
                    <a:pt x="253" y="0"/>
                  </a:moveTo>
                  <a:lnTo>
                    <a:pt x="27" y="340"/>
                  </a:lnTo>
                  <a:lnTo>
                    <a:pt x="27" y="340"/>
                  </a:lnTo>
                  <a:lnTo>
                    <a:pt x="22" y="345"/>
                  </a:lnTo>
                  <a:lnTo>
                    <a:pt x="17" y="351"/>
                  </a:lnTo>
                  <a:lnTo>
                    <a:pt x="10" y="353"/>
                  </a:lnTo>
                  <a:lnTo>
                    <a:pt x="4" y="355"/>
                  </a:lnTo>
                  <a:lnTo>
                    <a:pt x="4" y="581"/>
                  </a:lnTo>
                  <a:lnTo>
                    <a:pt x="0" y="581"/>
                  </a:lnTo>
                  <a:lnTo>
                    <a:pt x="0" y="581"/>
                  </a:lnTo>
                  <a:lnTo>
                    <a:pt x="253" y="581"/>
                  </a:lnTo>
                  <a:lnTo>
                    <a:pt x="25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0" name="Freeform 377">
              <a:extLst>
                <a:ext uri="{FF2B5EF4-FFF2-40B4-BE49-F238E27FC236}">
                  <a16:creationId xmlns:a16="http://schemas.microsoft.com/office/drawing/2014/main" id="{B42B51A3-4B9C-B7B3-9D80-ACA160B1CE14}"/>
                </a:ext>
              </a:extLst>
            </p:cNvPr>
            <p:cNvSpPr>
              <a:spLocks/>
            </p:cNvSpPr>
            <p:nvPr/>
          </p:nvSpPr>
          <p:spPr bwMode="auto">
            <a:xfrm>
              <a:off x="3521076" y="1716088"/>
              <a:ext cx="77788" cy="95250"/>
            </a:xfrm>
            <a:custGeom>
              <a:avLst/>
              <a:gdLst/>
              <a:ahLst/>
              <a:cxnLst>
                <a:cxn ang="0">
                  <a:pos x="393" y="0"/>
                </a:cxn>
                <a:cxn ang="0">
                  <a:pos x="0" y="196"/>
                </a:cxn>
                <a:cxn ang="0">
                  <a:pos x="0" y="484"/>
                </a:cxn>
                <a:cxn ang="0">
                  <a:pos x="393" y="484"/>
                </a:cxn>
                <a:cxn ang="0">
                  <a:pos x="393" y="0"/>
                </a:cxn>
              </a:cxnLst>
              <a:rect l="0" t="0" r="r" b="b"/>
              <a:pathLst>
                <a:path w="393" h="484">
                  <a:moveTo>
                    <a:pt x="393" y="0"/>
                  </a:moveTo>
                  <a:lnTo>
                    <a:pt x="0" y="196"/>
                  </a:lnTo>
                  <a:lnTo>
                    <a:pt x="0" y="484"/>
                  </a:lnTo>
                  <a:lnTo>
                    <a:pt x="393" y="484"/>
                  </a:lnTo>
                  <a:lnTo>
                    <a:pt x="393" y="0"/>
                  </a:lnTo>
                  <a:close/>
                </a:path>
              </a:pathLst>
            </a:custGeom>
            <a:solidFill>
              <a:srgbClr val="DBA75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1" name="Freeform 378">
              <a:extLst>
                <a:ext uri="{FF2B5EF4-FFF2-40B4-BE49-F238E27FC236}">
                  <a16:creationId xmlns:a16="http://schemas.microsoft.com/office/drawing/2014/main" id="{7D69F26F-F1B8-E0CF-2143-2E48B2D44868}"/>
                </a:ext>
              </a:extLst>
            </p:cNvPr>
            <p:cNvSpPr>
              <a:spLocks/>
            </p:cNvSpPr>
            <p:nvPr/>
          </p:nvSpPr>
          <p:spPr bwMode="auto">
            <a:xfrm>
              <a:off x="3521076" y="1716088"/>
              <a:ext cx="77788" cy="95250"/>
            </a:xfrm>
            <a:custGeom>
              <a:avLst/>
              <a:gdLst/>
              <a:ahLst/>
              <a:cxnLst>
                <a:cxn ang="0">
                  <a:pos x="393" y="0"/>
                </a:cxn>
                <a:cxn ang="0">
                  <a:pos x="0" y="196"/>
                </a:cxn>
                <a:cxn ang="0">
                  <a:pos x="0" y="484"/>
                </a:cxn>
                <a:cxn ang="0">
                  <a:pos x="393" y="484"/>
                </a:cxn>
                <a:cxn ang="0">
                  <a:pos x="393" y="0"/>
                </a:cxn>
              </a:cxnLst>
              <a:rect l="0" t="0" r="r" b="b"/>
              <a:pathLst>
                <a:path w="393" h="484">
                  <a:moveTo>
                    <a:pt x="393" y="0"/>
                  </a:moveTo>
                  <a:lnTo>
                    <a:pt x="0" y="196"/>
                  </a:lnTo>
                  <a:lnTo>
                    <a:pt x="0" y="484"/>
                  </a:lnTo>
                  <a:lnTo>
                    <a:pt x="393" y="484"/>
                  </a:lnTo>
                  <a:lnTo>
                    <a:pt x="393"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2" name="Freeform 379">
              <a:extLst>
                <a:ext uri="{FF2B5EF4-FFF2-40B4-BE49-F238E27FC236}">
                  <a16:creationId xmlns:a16="http://schemas.microsoft.com/office/drawing/2014/main" id="{1BC43F27-F4CE-B511-F640-23E9560F3B5F}"/>
                </a:ext>
              </a:extLst>
            </p:cNvPr>
            <p:cNvSpPr>
              <a:spLocks/>
            </p:cNvSpPr>
            <p:nvPr/>
          </p:nvSpPr>
          <p:spPr bwMode="auto">
            <a:xfrm>
              <a:off x="3600451" y="1716088"/>
              <a:ext cx="103188" cy="95250"/>
            </a:xfrm>
            <a:custGeom>
              <a:avLst/>
              <a:gdLst/>
              <a:ahLst/>
              <a:cxnLst>
                <a:cxn ang="0">
                  <a:pos x="0" y="0"/>
                </a:cxn>
                <a:cxn ang="0">
                  <a:pos x="0" y="484"/>
                </a:cxn>
                <a:cxn ang="0">
                  <a:pos x="524" y="484"/>
                </a:cxn>
                <a:cxn ang="0">
                  <a:pos x="524" y="484"/>
                </a:cxn>
                <a:cxn ang="0">
                  <a:pos x="519" y="484"/>
                </a:cxn>
                <a:cxn ang="0">
                  <a:pos x="519" y="258"/>
                </a:cxn>
                <a:cxn ang="0">
                  <a:pos x="519" y="258"/>
                </a:cxn>
                <a:cxn ang="0">
                  <a:pos x="514" y="257"/>
                </a:cxn>
                <a:cxn ang="0">
                  <a:pos x="509" y="255"/>
                </a:cxn>
                <a:cxn ang="0">
                  <a:pos x="0" y="0"/>
                </a:cxn>
              </a:cxnLst>
              <a:rect l="0" t="0" r="r" b="b"/>
              <a:pathLst>
                <a:path w="524" h="484">
                  <a:moveTo>
                    <a:pt x="0" y="0"/>
                  </a:moveTo>
                  <a:lnTo>
                    <a:pt x="0" y="484"/>
                  </a:lnTo>
                  <a:lnTo>
                    <a:pt x="524" y="484"/>
                  </a:lnTo>
                  <a:lnTo>
                    <a:pt x="524" y="484"/>
                  </a:lnTo>
                  <a:lnTo>
                    <a:pt x="519" y="484"/>
                  </a:lnTo>
                  <a:lnTo>
                    <a:pt x="519" y="258"/>
                  </a:lnTo>
                  <a:lnTo>
                    <a:pt x="519" y="258"/>
                  </a:lnTo>
                  <a:lnTo>
                    <a:pt x="514" y="257"/>
                  </a:lnTo>
                  <a:lnTo>
                    <a:pt x="509" y="255"/>
                  </a:lnTo>
                  <a:lnTo>
                    <a:pt x="0" y="0"/>
                  </a:lnTo>
                  <a:close/>
                </a:path>
              </a:pathLst>
            </a:custGeom>
            <a:solidFill>
              <a:srgbClr val="DBA75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3" name="Freeform 380">
              <a:extLst>
                <a:ext uri="{FF2B5EF4-FFF2-40B4-BE49-F238E27FC236}">
                  <a16:creationId xmlns:a16="http://schemas.microsoft.com/office/drawing/2014/main" id="{C3AC0693-4B2C-8A80-7EA4-7A0F51C687D5}"/>
                </a:ext>
              </a:extLst>
            </p:cNvPr>
            <p:cNvSpPr>
              <a:spLocks/>
            </p:cNvSpPr>
            <p:nvPr/>
          </p:nvSpPr>
          <p:spPr bwMode="auto">
            <a:xfrm>
              <a:off x="3600451" y="1716088"/>
              <a:ext cx="103188" cy="95250"/>
            </a:xfrm>
            <a:custGeom>
              <a:avLst/>
              <a:gdLst/>
              <a:ahLst/>
              <a:cxnLst>
                <a:cxn ang="0">
                  <a:pos x="0" y="0"/>
                </a:cxn>
                <a:cxn ang="0">
                  <a:pos x="0" y="484"/>
                </a:cxn>
                <a:cxn ang="0">
                  <a:pos x="524" y="484"/>
                </a:cxn>
                <a:cxn ang="0">
                  <a:pos x="524" y="484"/>
                </a:cxn>
                <a:cxn ang="0">
                  <a:pos x="519" y="484"/>
                </a:cxn>
                <a:cxn ang="0">
                  <a:pos x="519" y="258"/>
                </a:cxn>
                <a:cxn ang="0">
                  <a:pos x="519" y="258"/>
                </a:cxn>
                <a:cxn ang="0">
                  <a:pos x="514" y="257"/>
                </a:cxn>
                <a:cxn ang="0">
                  <a:pos x="509" y="255"/>
                </a:cxn>
                <a:cxn ang="0">
                  <a:pos x="0" y="0"/>
                </a:cxn>
              </a:cxnLst>
              <a:rect l="0" t="0" r="r" b="b"/>
              <a:pathLst>
                <a:path w="524" h="484">
                  <a:moveTo>
                    <a:pt x="0" y="0"/>
                  </a:moveTo>
                  <a:lnTo>
                    <a:pt x="0" y="484"/>
                  </a:lnTo>
                  <a:lnTo>
                    <a:pt x="524" y="484"/>
                  </a:lnTo>
                  <a:lnTo>
                    <a:pt x="524" y="484"/>
                  </a:lnTo>
                  <a:lnTo>
                    <a:pt x="519" y="484"/>
                  </a:lnTo>
                  <a:lnTo>
                    <a:pt x="519" y="258"/>
                  </a:lnTo>
                  <a:lnTo>
                    <a:pt x="519" y="258"/>
                  </a:lnTo>
                  <a:lnTo>
                    <a:pt x="514" y="257"/>
                  </a:lnTo>
                  <a:lnTo>
                    <a:pt x="509" y="255"/>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4" name="Freeform 381">
              <a:extLst>
                <a:ext uri="{FF2B5EF4-FFF2-40B4-BE49-F238E27FC236}">
                  <a16:creationId xmlns:a16="http://schemas.microsoft.com/office/drawing/2014/main" id="{07E28FF8-7F94-F1F2-818C-AE26FE5E5A72}"/>
                </a:ext>
              </a:extLst>
            </p:cNvPr>
            <p:cNvSpPr>
              <a:spLocks noEditPoints="1"/>
            </p:cNvSpPr>
            <p:nvPr/>
          </p:nvSpPr>
          <p:spPr bwMode="auto">
            <a:xfrm>
              <a:off x="3598863" y="1550988"/>
              <a:ext cx="1588" cy="260350"/>
            </a:xfrm>
            <a:custGeom>
              <a:avLst/>
              <a:gdLst/>
              <a:ahLst/>
              <a:cxnLst>
                <a:cxn ang="0">
                  <a:pos x="4" y="828"/>
                </a:cxn>
                <a:cxn ang="0">
                  <a:pos x="0" y="830"/>
                </a:cxn>
                <a:cxn ang="0">
                  <a:pos x="0" y="1314"/>
                </a:cxn>
                <a:cxn ang="0">
                  <a:pos x="8" y="1314"/>
                </a:cxn>
                <a:cxn ang="0">
                  <a:pos x="8" y="830"/>
                </a:cxn>
                <a:cxn ang="0">
                  <a:pos x="4" y="828"/>
                </a:cxn>
                <a:cxn ang="0">
                  <a:pos x="8" y="0"/>
                </a:cxn>
                <a:cxn ang="0">
                  <a:pos x="0" y="0"/>
                </a:cxn>
                <a:cxn ang="0">
                  <a:pos x="0" y="758"/>
                </a:cxn>
                <a:cxn ang="0">
                  <a:pos x="0" y="758"/>
                </a:cxn>
                <a:cxn ang="0">
                  <a:pos x="4" y="758"/>
                </a:cxn>
                <a:cxn ang="0">
                  <a:pos x="4" y="758"/>
                </a:cxn>
                <a:cxn ang="0">
                  <a:pos x="8" y="758"/>
                </a:cxn>
                <a:cxn ang="0">
                  <a:pos x="8" y="0"/>
                </a:cxn>
              </a:cxnLst>
              <a:rect l="0" t="0" r="r" b="b"/>
              <a:pathLst>
                <a:path w="8" h="1314">
                  <a:moveTo>
                    <a:pt x="4" y="828"/>
                  </a:moveTo>
                  <a:lnTo>
                    <a:pt x="0" y="830"/>
                  </a:lnTo>
                  <a:lnTo>
                    <a:pt x="0" y="1314"/>
                  </a:lnTo>
                  <a:lnTo>
                    <a:pt x="8" y="1314"/>
                  </a:lnTo>
                  <a:lnTo>
                    <a:pt x="8" y="830"/>
                  </a:lnTo>
                  <a:lnTo>
                    <a:pt x="4" y="828"/>
                  </a:lnTo>
                  <a:close/>
                  <a:moveTo>
                    <a:pt x="8" y="0"/>
                  </a:moveTo>
                  <a:lnTo>
                    <a:pt x="0" y="0"/>
                  </a:lnTo>
                  <a:lnTo>
                    <a:pt x="0" y="758"/>
                  </a:lnTo>
                  <a:lnTo>
                    <a:pt x="0" y="758"/>
                  </a:lnTo>
                  <a:lnTo>
                    <a:pt x="4" y="758"/>
                  </a:lnTo>
                  <a:lnTo>
                    <a:pt x="4" y="758"/>
                  </a:lnTo>
                  <a:lnTo>
                    <a:pt x="8" y="758"/>
                  </a:lnTo>
                  <a:lnTo>
                    <a:pt x="8" y="0"/>
                  </a:lnTo>
                  <a:close/>
                </a:path>
              </a:pathLst>
            </a:custGeom>
            <a:solidFill>
              <a:srgbClr val="EBB15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5" name="Freeform 382">
              <a:extLst>
                <a:ext uri="{FF2B5EF4-FFF2-40B4-BE49-F238E27FC236}">
                  <a16:creationId xmlns:a16="http://schemas.microsoft.com/office/drawing/2014/main" id="{5D7D3083-6708-2715-AE2C-6C94C374D803}"/>
                </a:ext>
              </a:extLst>
            </p:cNvPr>
            <p:cNvSpPr>
              <a:spLocks/>
            </p:cNvSpPr>
            <p:nvPr/>
          </p:nvSpPr>
          <p:spPr bwMode="auto">
            <a:xfrm>
              <a:off x="3598863" y="1714500"/>
              <a:ext cx="1588" cy="96837"/>
            </a:xfrm>
            <a:custGeom>
              <a:avLst/>
              <a:gdLst/>
              <a:ahLst/>
              <a:cxnLst>
                <a:cxn ang="0">
                  <a:pos x="4" y="0"/>
                </a:cxn>
                <a:cxn ang="0">
                  <a:pos x="0" y="2"/>
                </a:cxn>
                <a:cxn ang="0">
                  <a:pos x="0" y="486"/>
                </a:cxn>
                <a:cxn ang="0">
                  <a:pos x="8" y="486"/>
                </a:cxn>
                <a:cxn ang="0">
                  <a:pos x="8" y="2"/>
                </a:cxn>
                <a:cxn ang="0">
                  <a:pos x="4" y="0"/>
                </a:cxn>
              </a:cxnLst>
              <a:rect l="0" t="0" r="r" b="b"/>
              <a:pathLst>
                <a:path w="8" h="486">
                  <a:moveTo>
                    <a:pt x="4" y="0"/>
                  </a:moveTo>
                  <a:lnTo>
                    <a:pt x="0" y="2"/>
                  </a:lnTo>
                  <a:lnTo>
                    <a:pt x="0" y="486"/>
                  </a:lnTo>
                  <a:lnTo>
                    <a:pt x="8" y="486"/>
                  </a:lnTo>
                  <a:lnTo>
                    <a:pt x="8" y="2"/>
                  </a:lnTo>
                  <a:lnTo>
                    <a:pt x="4"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6" name="Freeform 383">
              <a:extLst>
                <a:ext uri="{FF2B5EF4-FFF2-40B4-BE49-F238E27FC236}">
                  <a16:creationId xmlns:a16="http://schemas.microsoft.com/office/drawing/2014/main" id="{35CE5A44-9A85-F868-6735-00EDE0F9C267}"/>
                </a:ext>
              </a:extLst>
            </p:cNvPr>
            <p:cNvSpPr>
              <a:spLocks/>
            </p:cNvSpPr>
            <p:nvPr/>
          </p:nvSpPr>
          <p:spPr bwMode="auto">
            <a:xfrm>
              <a:off x="3598863" y="1550988"/>
              <a:ext cx="1588" cy="150812"/>
            </a:xfrm>
            <a:custGeom>
              <a:avLst/>
              <a:gdLst/>
              <a:ahLst/>
              <a:cxnLst>
                <a:cxn ang="0">
                  <a:pos x="8" y="0"/>
                </a:cxn>
                <a:cxn ang="0">
                  <a:pos x="0" y="0"/>
                </a:cxn>
                <a:cxn ang="0">
                  <a:pos x="0" y="758"/>
                </a:cxn>
                <a:cxn ang="0">
                  <a:pos x="0" y="758"/>
                </a:cxn>
                <a:cxn ang="0">
                  <a:pos x="4" y="758"/>
                </a:cxn>
                <a:cxn ang="0">
                  <a:pos x="4" y="758"/>
                </a:cxn>
                <a:cxn ang="0">
                  <a:pos x="8" y="758"/>
                </a:cxn>
                <a:cxn ang="0">
                  <a:pos x="8" y="0"/>
                </a:cxn>
              </a:cxnLst>
              <a:rect l="0" t="0" r="r" b="b"/>
              <a:pathLst>
                <a:path w="8" h="758">
                  <a:moveTo>
                    <a:pt x="8" y="0"/>
                  </a:moveTo>
                  <a:lnTo>
                    <a:pt x="0" y="0"/>
                  </a:lnTo>
                  <a:lnTo>
                    <a:pt x="0" y="758"/>
                  </a:lnTo>
                  <a:lnTo>
                    <a:pt x="0" y="758"/>
                  </a:lnTo>
                  <a:lnTo>
                    <a:pt x="4" y="758"/>
                  </a:lnTo>
                  <a:lnTo>
                    <a:pt x="4" y="758"/>
                  </a:lnTo>
                  <a:lnTo>
                    <a:pt x="8" y="758"/>
                  </a:lnTo>
                  <a:lnTo>
                    <a:pt x="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7" name="Freeform 384">
              <a:extLst>
                <a:ext uri="{FF2B5EF4-FFF2-40B4-BE49-F238E27FC236}">
                  <a16:creationId xmlns:a16="http://schemas.microsoft.com/office/drawing/2014/main" id="{347D7848-BB41-ED33-DA60-505BA051086D}"/>
                </a:ext>
              </a:extLst>
            </p:cNvPr>
            <p:cNvSpPr>
              <a:spLocks noEditPoints="1"/>
            </p:cNvSpPr>
            <p:nvPr/>
          </p:nvSpPr>
          <p:spPr bwMode="auto">
            <a:xfrm>
              <a:off x="3703638" y="1550988"/>
              <a:ext cx="1588" cy="260350"/>
            </a:xfrm>
            <a:custGeom>
              <a:avLst/>
              <a:gdLst/>
              <a:ahLst/>
              <a:cxnLst>
                <a:cxn ang="0">
                  <a:pos x="9" y="1088"/>
                </a:cxn>
                <a:cxn ang="0">
                  <a:pos x="9" y="1088"/>
                </a:cxn>
                <a:cxn ang="0">
                  <a:pos x="5" y="1088"/>
                </a:cxn>
                <a:cxn ang="0">
                  <a:pos x="5" y="1088"/>
                </a:cxn>
                <a:cxn ang="0">
                  <a:pos x="0" y="1088"/>
                </a:cxn>
                <a:cxn ang="0">
                  <a:pos x="0" y="1314"/>
                </a:cxn>
                <a:cxn ang="0">
                  <a:pos x="5" y="1314"/>
                </a:cxn>
                <a:cxn ang="0">
                  <a:pos x="9" y="1314"/>
                </a:cxn>
                <a:cxn ang="0">
                  <a:pos x="9" y="1088"/>
                </a:cxn>
                <a:cxn ang="0">
                  <a:pos x="9" y="0"/>
                </a:cxn>
                <a:cxn ang="0">
                  <a:pos x="0" y="0"/>
                </a:cxn>
                <a:cxn ang="0">
                  <a:pos x="0" y="0"/>
                </a:cxn>
                <a:cxn ang="0">
                  <a:pos x="0" y="1002"/>
                </a:cxn>
                <a:cxn ang="0">
                  <a:pos x="9" y="990"/>
                </a:cxn>
                <a:cxn ang="0">
                  <a:pos x="9" y="0"/>
                </a:cxn>
                <a:cxn ang="0">
                  <a:pos x="9" y="0"/>
                </a:cxn>
              </a:cxnLst>
              <a:rect l="0" t="0" r="r" b="b"/>
              <a:pathLst>
                <a:path w="9" h="1314">
                  <a:moveTo>
                    <a:pt x="9" y="1088"/>
                  </a:moveTo>
                  <a:lnTo>
                    <a:pt x="9" y="1088"/>
                  </a:lnTo>
                  <a:lnTo>
                    <a:pt x="5" y="1088"/>
                  </a:lnTo>
                  <a:lnTo>
                    <a:pt x="5" y="1088"/>
                  </a:lnTo>
                  <a:lnTo>
                    <a:pt x="0" y="1088"/>
                  </a:lnTo>
                  <a:lnTo>
                    <a:pt x="0" y="1314"/>
                  </a:lnTo>
                  <a:lnTo>
                    <a:pt x="5" y="1314"/>
                  </a:lnTo>
                  <a:lnTo>
                    <a:pt x="9" y="1314"/>
                  </a:lnTo>
                  <a:lnTo>
                    <a:pt x="9" y="1088"/>
                  </a:lnTo>
                  <a:close/>
                  <a:moveTo>
                    <a:pt x="9" y="0"/>
                  </a:moveTo>
                  <a:lnTo>
                    <a:pt x="0" y="0"/>
                  </a:lnTo>
                  <a:lnTo>
                    <a:pt x="0" y="0"/>
                  </a:lnTo>
                  <a:lnTo>
                    <a:pt x="0" y="1002"/>
                  </a:lnTo>
                  <a:lnTo>
                    <a:pt x="9" y="990"/>
                  </a:lnTo>
                  <a:lnTo>
                    <a:pt x="9" y="0"/>
                  </a:lnTo>
                  <a:lnTo>
                    <a:pt x="9" y="0"/>
                  </a:lnTo>
                  <a:close/>
                </a:path>
              </a:pathLst>
            </a:custGeom>
            <a:solidFill>
              <a:srgbClr val="EBB154"/>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8" name="Freeform 385">
              <a:extLst>
                <a:ext uri="{FF2B5EF4-FFF2-40B4-BE49-F238E27FC236}">
                  <a16:creationId xmlns:a16="http://schemas.microsoft.com/office/drawing/2014/main" id="{B601BA92-33F7-D859-3361-679AF5E4C872}"/>
                </a:ext>
              </a:extLst>
            </p:cNvPr>
            <p:cNvSpPr>
              <a:spLocks/>
            </p:cNvSpPr>
            <p:nvPr/>
          </p:nvSpPr>
          <p:spPr bwMode="auto">
            <a:xfrm>
              <a:off x="3703638" y="1766888"/>
              <a:ext cx="1588" cy="44450"/>
            </a:xfrm>
            <a:custGeom>
              <a:avLst/>
              <a:gdLst/>
              <a:ahLst/>
              <a:cxnLst>
                <a:cxn ang="0">
                  <a:pos x="9" y="0"/>
                </a:cxn>
                <a:cxn ang="0">
                  <a:pos x="9" y="0"/>
                </a:cxn>
                <a:cxn ang="0">
                  <a:pos x="5" y="0"/>
                </a:cxn>
                <a:cxn ang="0">
                  <a:pos x="5" y="0"/>
                </a:cxn>
                <a:cxn ang="0">
                  <a:pos x="0" y="0"/>
                </a:cxn>
                <a:cxn ang="0">
                  <a:pos x="0" y="226"/>
                </a:cxn>
                <a:cxn ang="0">
                  <a:pos x="5" y="226"/>
                </a:cxn>
                <a:cxn ang="0">
                  <a:pos x="9" y="226"/>
                </a:cxn>
                <a:cxn ang="0">
                  <a:pos x="9" y="0"/>
                </a:cxn>
              </a:cxnLst>
              <a:rect l="0" t="0" r="r" b="b"/>
              <a:pathLst>
                <a:path w="9" h="226">
                  <a:moveTo>
                    <a:pt x="9" y="0"/>
                  </a:moveTo>
                  <a:lnTo>
                    <a:pt x="9" y="0"/>
                  </a:lnTo>
                  <a:lnTo>
                    <a:pt x="5" y="0"/>
                  </a:lnTo>
                  <a:lnTo>
                    <a:pt x="5" y="0"/>
                  </a:lnTo>
                  <a:lnTo>
                    <a:pt x="0" y="0"/>
                  </a:lnTo>
                  <a:lnTo>
                    <a:pt x="0" y="226"/>
                  </a:lnTo>
                  <a:lnTo>
                    <a:pt x="5" y="226"/>
                  </a:lnTo>
                  <a:lnTo>
                    <a:pt x="9" y="226"/>
                  </a:lnTo>
                  <a:lnTo>
                    <a:pt x="9"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99" name="Freeform 386">
              <a:extLst>
                <a:ext uri="{FF2B5EF4-FFF2-40B4-BE49-F238E27FC236}">
                  <a16:creationId xmlns:a16="http://schemas.microsoft.com/office/drawing/2014/main" id="{58E6E66C-32FE-6017-B267-44E94A781F5E}"/>
                </a:ext>
              </a:extLst>
            </p:cNvPr>
            <p:cNvSpPr>
              <a:spLocks/>
            </p:cNvSpPr>
            <p:nvPr/>
          </p:nvSpPr>
          <p:spPr bwMode="auto">
            <a:xfrm>
              <a:off x="3703638" y="1550988"/>
              <a:ext cx="1588" cy="198437"/>
            </a:xfrm>
            <a:custGeom>
              <a:avLst/>
              <a:gdLst/>
              <a:ahLst/>
              <a:cxnLst>
                <a:cxn ang="0">
                  <a:pos x="9" y="0"/>
                </a:cxn>
                <a:cxn ang="0">
                  <a:pos x="0" y="0"/>
                </a:cxn>
                <a:cxn ang="0">
                  <a:pos x="0" y="0"/>
                </a:cxn>
                <a:cxn ang="0">
                  <a:pos x="0" y="1002"/>
                </a:cxn>
                <a:cxn ang="0">
                  <a:pos x="9" y="990"/>
                </a:cxn>
                <a:cxn ang="0">
                  <a:pos x="9" y="0"/>
                </a:cxn>
                <a:cxn ang="0">
                  <a:pos x="9" y="0"/>
                </a:cxn>
              </a:cxnLst>
              <a:rect l="0" t="0" r="r" b="b"/>
              <a:pathLst>
                <a:path w="9" h="1002">
                  <a:moveTo>
                    <a:pt x="9" y="0"/>
                  </a:moveTo>
                  <a:lnTo>
                    <a:pt x="0" y="0"/>
                  </a:lnTo>
                  <a:lnTo>
                    <a:pt x="0" y="0"/>
                  </a:lnTo>
                  <a:lnTo>
                    <a:pt x="0" y="1002"/>
                  </a:lnTo>
                  <a:lnTo>
                    <a:pt x="9" y="990"/>
                  </a:lnTo>
                  <a:lnTo>
                    <a:pt x="9" y="0"/>
                  </a:lnTo>
                  <a:lnTo>
                    <a:pt x="9"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0" name="Freeform 387">
              <a:extLst>
                <a:ext uri="{FF2B5EF4-FFF2-40B4-BE49-F238E27FC236}">
                  <a16:creationId xmlns:a16="http://schemas.microsoft.com/office/drawing/2014/main" id="{AB621AFC-7C08-4A50-1060-F28A9CC8C53C}"/>
                </a:ext>
              </a:extLst>
            </p:cNvPr>
            <p:cNvSpPr>
              <a:spLocks/>
            </p:cNvSpPr>
            <p:nvPr/>
          </p:nvSpPr>
          <p:spPr bwMode="auto">
            <a:xfrm>
              <a:off x="3521076" y="1673225"/>
              <a:ext cx="233363" cy="93662"/>
            </a:xfrm>
            <a:custGeom>
              <a:avLst/>
              <a:gdLst/>
              <a:ahLst/>
              <a:cxnLst>
                <a:cxn ang="0">
                  <a:pos x="1178" y="0"/>
                </a:cxn>
                <a:cxn ang="0">
                  <a:pos x="929" y="375"/>
                </a:cxn>
                <a:cxn ang="0">
                  <a:pos x="920" y="387"/>
                </a:cxn>
                <a:cxn ang="0">
                  <a:pos x="913" y="398"/>
                </a:cxn>
                <a:cxn ang="0">
                  <a:pos x="411" y="147"/>
                </a:cxn>
                <a:cxn ang="0">
                  <a:pos x="411" y="147"/>
                </a:cxn>
                <a:cxn ang="0">
                  <a:pos x="406" y="145"/>
                </a:cxn>
                <a:cxn ang="0">
                  <a:pos x="401" y="143"/>
                </a:cxn>
                <a:cxn ang="0">
                  <a:pos x="401" y="143"/>
                </a:cxn>
                <a:cxn ang="0">
                  <a:pos x="397" y="143"/>
                </a:cxn>
                <a:cxn ang="0">
                  <a:pos x="397" y="143"/>
                </a:cxn>
                <a:cxn ang="0">
                  <a:pos x="393" y="143"/>
                </a:cxn>
                <a:cxn ang="0">
                  <a:pos x="393" y="143"/>
                </a:cxn>
                <a:cxn ang="0">
                  <a:pos x="388" y="145"/>
                </a:cxn>
                <a:cxn ang="0">
                  <a:pos x="383" y="147"/>
                </a:cxn>
                <a:cxn ang="0">
                  <a:pos x="0" y="338"/>
                </a:cxn>
                <a:cxn ang="0">
                  <a:pos x="0" y="411"/>
                </a:cxn>
                <a:cxn ang="0">
                  <a:pos x="393" y="215"/>
                </a:cxn>
                <a:cxn ang="0">
                  <a:pos x="397" y="213"/>
                </a:cxn>
                <a:cxn ang="0">
                  <a:pos x="401" y="215"/>
                </a:cxn>
                <a:cxn ang="0">
                  <a:pos x="910" y="470"/>
                </a:cxn>
                <a:cxn ang="0">
                  <a:pos x="910" y="470"/>
                </a:cxn>
                <a:cxn ang="0">
                  <a:pos x="915" y="472"/>
                </a:cxn>
                <a:cxn ang="0">
                  <a:pos x="920" y="473"/>
                </a:cxn>
                <a:cxn ang="0">
                  <a:pos x="920" y="473"/>
                </a:cxn>
                <a:cxn ang="0">
                  <a:pos x="925" y="473"/>
                </a:cxn>
                <a:cxn ang="0">
                  <a:pos x="925" y="473"/>
                </a:cxn>
                <a:cxn ang="0">
                  <a:pos x="929" y="473"/>
                </a:cxn>
                <a:cxn ang="0">
                  <a:pos x="929" y="473"/>
                </a:cxn>
                <a:cxn ang="0">
                  <a:pos x="935" y="471"/>
                </a:cxn>
                <a:cxn ang="0">
                  <a:pos x="942" y="469"/>
                </a:cxn>
                <a:cxn ang="0">
                  <a:pos x="947" y="463"/>
                </a:cxn>
                <a:cxn ang="0">
                  <a:pos x="952" y="458"/>
                </a:cxn>
                <a:cxn ang="0">
                  <a:pos x="1178" y="118"/>
                </a:cxn>
                <a:cxn ang="0">
                  <a:pos x="1178" y="0"/>
                </a:cxn>
              </a:cxnLst>
              <a:rect l="0" t="0" r="r" b="b"/>
              <a:pathLst>
                <a:path w="1178" h="473">
                  <a:moveTo>
                    <a:pt x="1178" y="0"/>
                  </a:moveTo>
                  <a:lnTo>
                    <a:pt x="929" y="375"/>
                  </a:lnTo>
                  <a:lnTo>
                    <a:pt x="920" y="387"/>
                  </a:lnTo>
                  <a:lnTo>
                    <a:pt x="913" y="398"/>
                  </a:lnTo>
                  <a:lnTo>
                    <a:pt x="411" y="147"/>
                  </a:lnTo>
                  <a:lnTo>
                    <a:pt x="411" y="147"/>
                  </a:lnTo>
                  <a:lnTo>
                    <a:pt x="406" y="145"/>
                  </a:lnTo>
                  <a:lnTo>
                    <a:pt x="401" y="143"/>
                  </a:lnTo>
                  <a:lnTo>
                    <a:pt x="401" y="143"/>
                  </a:lnTo>
                  <a:lnTo>
                    <a:pt x="397" y="143"/>
                  </a:lnTo>
                  <a:lnTo>
                    <a:pt x="397" y="143"/>
                  </a:lnTo>
                  <a:lnTo>
                    <a:pt x="393" y="143"/>
                  </a:lnTo>
                  <a:lnTo>
                    <a:pt x="393" y="143"/>
                  </a:lnTo>
                  <a:lnTo>
                    <a:pt x="388" y="145"/>
                  </a:lnTo>
                  <a:lnTo>
                    <a:pt x="383" y="147"/>
                  </a:lnTo>
                  <a:lnTo>
                    <a:pt x="0" y="338"/>
                  </a:lnTo>
                  <a:lnTo>
                    <a:pt x="0" y="411"/>
                  </a:lnTo>
                  <a:lnTo>
                    <a:pt x="393" y="215"/>
                  </a:lnTo>
                  <a:lnTo>
                    <a:pt x="397" y="213"/>
                  </a:lnTo>
                  <a:lnTo>
                    <a:pt x="401" y="215"/>
                  </a:lnTo>
                  <a:lnTo>
                    <a:pt x="910" y="470"/>
                  </a:lnTo>
                  <a:lnTo>
                    <a:pt x="910" y="470"/>
                  </a:lnTo>
                  <a:lnTo>
                    <a:pt x="915" y="472"/>
                  </a:lnTo>
                  <a:lnTo>
                    <a:pt x="920" y="473"/>
                  </a:lnTo>
                  <a:lnTo>
                    <a:pt x="920" y="473"/>
                  </a:lnTo>
                  <a:lnTo>
                    <a:pt x="925" y="473"/>
                  </a:lnTo>
                  <a:lnTo>
                    <a:pt x="925" y="473"/>
                  </a:lnTo>
                  <a:lnTo>
                    <a:pt x="929" y="473"/>
                  </a:lnTo>
                  <a:lnTo>
                    <a:pt x="929" y="473"/>
                  </a:lnTo>
                  <a:lnTo>
                    <a:pt x="935" y="471"/>
                  </a:lnTo>
                  <a:lnTo>
                    <a:pt x="942" y="469"/>
                  </a:lnTo>
                  <a:lnTo>
                    <a:pt x="947" y="463"/>
                  </a:lnTo>
                  <a:lnTo>
                    <a:pt x="952" y="458"/>
                  </a:lnTo>
                  <a:lnTo>
                    <a:pt x="1178" y="118"/>
                  </a:lnTo>
                  <a:lnTo>
                    <a:pt x="1178" y="0"/>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1" name="Freeform 388">
              <a:extLst>
                <a:ext uri="{FF2B5EF4-FFF2-40B4-BE49-F238E27FC236}">
                  <a16:creationId xmlns:a16="http://schemas.microsoft.com/office/drawing/2014/main" id="{5DF580CE-7157-6315-BC69-51AF35C16162}"/>
                </a:ext>
              </a:extLst>
            </p:cNvPr>
            <p:cNvSpPr>
              <a:spLocks/>
            </p:cNvSpPr>
            <p:nvPr/>
          </p:nvSpPr>
          <p:spPr bwMode="auto">
            <a:xfrm>
              <a:off x="3521076" y="1673225"/>
              <a:ext cx="233363" cy="93662"/>
            </a:xfrm>
            <a:custGeom>
              <a:avLst/>
              <a:gdLst/>
              <a:ahLst/>
              <a:cxnLst>
                <a:cxn ang="0">
                  <a:pos x="1178" y="0"/>
                </a:cxn>
                <a:cxn ang="0">
                  <a:pos x="929" y="375"/>
                </a:cxn>
                <a:cxn ang="0">
                  <a:pos x="920" y="387"/>
                </a:cxn>
                <a:cxn ang="0">
                  <a:pos x="913" y="398"/>
                </a:cxn>
                <a:cxn ang="0">
                  <a:pos x="411" y="147"/>
                </a:cxn>
                <a:cxn ang="0">
                  <a:pos x="411" y="147"/>
                </a:cxn>
                <a:cxn ang="0">
                  <a:pos x="406" y="145"/>
                </a:cxn>
                <a:cxn ang="0">
                  <a:pos x="401" y="143"/>
                </a:cxn>
                <a:cxn ang="0">
                  <a:pos x="401" y="143"/>
                </a:cxn>
                <a:cxn ang="0">
                  <a:pos x="397" y="143"/>
                </a:cxn>
                <a:cxn ang="0">
                  <a:pos x="397" y="143"/>
                </a:cxn>
                <a:cxn ang="0">
                  <a:pos x="393" y="143"/>
                </a:cxn>
                <a:cxn ang="0">
                  <a:pos x="393" y="143"/>
                </a:cxn>
                <a:cxn ang="0">
                  <a:pos x="388" y="145"/>
                </a:cxn>
                <a:cxn ang="0">
                  <a:pos x="383" y="147"/>
                </a:cxn>
                <a:cxn ang="0">
                  <a:pos x="0" y="338"/>
                </a:cxn>
                <a:cxn ang="0">
                  <a:pos x="0" y="411"/>
                </a:cxn>
                <a:cxn ang="0">
                  <a:pos x="393" y="215"/>
                </a:cxn>
                <a:cxn ang="0">
                  <a:pos x="397" y="213"/>
                </a:cxn>
                <a:cxn ang="0">
                  <a:pos x="401" y="215"/>
                </a:cxn>
                <a:cxn ang="0">
                  <a:pos x="910" y="470"/>
                </a:cxn>
                <a:cxn ang="0">
                  <a:pos x="910" y="470"/>
                </a:cxn>
                <a:cxn ang="0">
                  <a:pos x="915" y="472"/>
                </a:cxn>
                <a:cxn ang="0">
                  <a:pos x="920" y="473"/>
                </a:cxn>
                <a:cxn ang="0">
                  <a:pos x="920" y="473"/>
                </a:cxn>
                <a:cxn ang="0">
                  <a:pos x="925" y="473"/>
                </a:cxn>
                <a:cxn ang="0">
                  <a:pos x="925" y="473"/>
                </a:cxn>
                <a:cxn ang="0">
                  <a:pos x="929" y="473"/>
                </a:cxn>
                <a:cxn ang="0">
                  <a:pos x="929" y="473"/>
                </a:cxn>
                <a:cxn ang="0">
                  <a:pos x="935" y="471"/>
                </a:cxn>
                <a:cxn ang="0">
                  <a:pos x="942" y="469"/>
                </a:cxn>
                <a:cxn ang="0">
                  <a:pos x="947" y="463"/>
                </a:cxn>
                <a:cxn ang="0">
                  <a:pos x="952" y="458"/>
                </a:cxn>
                <a:cxn ang="0">
                  <a:pos x="1178" y="118"/>
                </a:cxn>
                <a:cxn ang="0">
                  <a:pos x="1178" y="0"/>
                </a:cxn>
              </a:cxnLst>
              <a:rect l="0" t="0" r="r" b="b"/>
              <a:pathLst>
                <a:path w="1178" h="473">
                  <a:moveTo>
                    <a:pt x="1178" y="0"/>
                  </a:moveTo>
                  <a:lnTo>
                    <a:pt x="929" y="375"/>
                  </a:lnTo>
                  <a:lnTo>
                    <a:pt x="920" y="387"/>
                  </a:lnTo>
                  <a:lnTo>
                    <a:pt x="913" y="398"/>
                  </a:lnTo>
                  <a:lnTo>
                    <a:pt x="411" y="147"/>
                  </a:lnTo>
                  <a:lnTo>
                    <a:pt x="411" y="147"/>
                  </a:lnTo>
                  <a:lnTo>
                    <a:pt x="406" y="145"/>
                  </a:lnTo>
                  <a:lnTo>
                    <a:pt x="401" y="143"/>
                  </a:lnTo>
                  <a:lnTo>
                    <a:pt x="401" y="143"/>
                  </a:lnTo>
                  <a:lnTo>
                    <a:pt x="397" y="143"/>
                  </a:lnTo>
                  <a:lnTo>
                    <a:pt x="397" y="143"/>
                  </a:lnTo>
                  <a:lnTo>
                    <a:pt x="393" y="143"/>
                  </a:lnTo>
                  <a:lnTo>
                    <a:pt x="393" y="143"/>
                  </a:lnTo>
                  <a:lnTo>
                    <a:pt x="388" y="145"/>
                  </a:lnTo>
                  <a:lnTo>
                    <a:pt x="383" y="147"/>
                  </a:lnTo>
                  <a:lnTo>
                    <a:pt x="0" y="338"/>
                  </a:lnTo>
                  <a:lnTo>
                    <a:pt x="0" y="411"/>
                  </a:lnTo>
                  <a:lnTo>
                    <a:pt x="393" y="215"/>
                  </a:lnTo>
                  <a:lnTo>
                    <a:pt x="397" y="213"/>
                  </a:lnTo>
                  <a:lnTo>
                    <a:pt x="401" y="215"/>
                  </a:lnTo>
                  <a:lnTo>
                    <a:pt x="910" y="470"/>
                  </a:lnTo>
                  <a:lnTo>
                    <a:pt x="910" y="470"/>
                  </a:lnTo>
                  <a:lnTo>
                    <a:pt x="915" y="472"/>
                  </a:lnTo>
                  <a:lnTo>
                    <a:pt x="920" y="473"/>
                  </a:lnTo>
                  <a:lnTo>
                    <a:pt x="920" y="473"/>
                  </a:lnTo>
                  <a:lnTo>
                    <a:pt x="925" y="473"/>
                  </a:lnTo>
                  <a:lnTo>
                    <a:pt x="925" y="473"/>
                  </a:lnTo>
                  <a:lnTo>
                    <a:pt x="929" y="473"/>
                  </a:lnTo>
                  <a:lnTo>
                    <a:pt x="929" y="473"/>
                  </a:lnTo>
                  <a:lnTo>
                    <a:pt x="935" y="471"/>
                  </a:lnTo>
                  <a:lnTo>
                    <a:pt x="942" y="469"/>
                  </a:lnTo>
                  <a:lnTo>
                    <a:pt x="947" y="463"/>
                  </a:lnTo>
                  <a:lnTo>
                    <a:pt x="952" y="458"/>
                  </a:lnTo>
                  <a:lnTo>
                    <a:pt x="1178" y="118"/>
                  </a:lnTo>
                  <a:lnTo>
                    <a:pt x="117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2" name="Freeform 389">
              <a:extLst>
                <a:ext uri="{FF2B5EF4-FFF2-40B4-BE49-F238E27FC236}">
                  <a16:creationId xmlns:a16="http://schemas.microsoft.com/office/drawing/2014/main" id="{B54EEFBA-D481-44FB-3C92-EE7D4C97F8C7}"/>
                </a:ext>
              </a:extLst>
            </p:cNvPr>
            <p:cNvSpPr>
              <a:spLocks/>
            </p:cNvSpPr>
            <p:nvPr/>
          </p:nvSpPr>
          <p:spPr bwMode="auto">
            <a:xfrm>
              <a:off x="3494088" y="1524000"/>
              <a:ext cx="260350" cy="314325"/>
            </a:xfrm>
            <a:custGeom>
              <a:avLst/>
              <a:gdLst/>
              <a:ahLst/>
              <a:cxnLst>
                <a:cxn ang="0">
                  <a:pos x="1310" y="0"/>
                </a:cxn>
                <a:cxn ang="0">
                  <a:pos x="132" y="0"/>
                </a:cxn>
                <a:cxn ang="0">
                  <a:pos x="132" y="0"/>
                </a:cxn>
                <a:cxn ang="0">
                  <a:pos x="119" y="1"/>
                </a:cxn>
                <a:cxn ang="0">
                  <a:pos x="106" y="3"/>
                </a:cxn>
                <a:cxn ang="0">
                  <a:pos x="93" y="6"/>
                </a:cxn>
                <a:cxn ang="0">
                  <a:pos x="81" y="10"/>
                </a:cxn>
                <a:cxn ang="0">
                  <a:pos x="69" y="17"/>
                </a:cxn>
                <a:cxn ang="0">
                  <a:pos x="59" y="23"/>
                </a:cxn>
                <a:cxn ang="0">
                  <a:pos x="49" y="31"/>
                </a:cxn>
                <a:cxn ang="0">
                  <a:pos x="40" y="39"/>
                </a:cxn>
                <a:cxn ang="0">
                  <a:pos x="30" y="48"/>
                </a:cxn>
                <a:cxn ang="0">
                  <a:pos x="23" y="59"/>
                </a:cxn>
                <a:cxn ang="0">
                  <a:pos x="17" y="69"/>
                </a:cxn>
                <a:cxn ang="0">
                  <a:pos x="11" y="81"/>
                </a:cxn>
                <a:cxn ang="0">
                  <a:pos x="7" y="93"/>
                </a:cxn>
                <a:cxn ang="0">
                  <a:pos x="3" y="105"/>
                </a:cxn>
                <a:cxn ang="0">
                  <a:pos x="1" y="119"/>
                </a:cxn>
                <a:cxn ang="0">
                  <a:pos x="0" y="132"/>
                </a:cxn>
                <a:cxn ang="0">
                  <a:pos x="0" y="1578"/>
                </a:cxn>
                <a:cxn ang="0">
                  <a:pos x="6" y="1578"/>
                </a:cxn>
                <a:cxn ang="0">
                  <a:pos x="1310" y="1578"/>
                </a:cxn>
                <a:cxn ang="0">
                  <a:pos x="1310" y="1446"/>
                </a:cxn>
                <a:cxn ang="0">
                  <a:pos x="1057" y="1446"/>
                </a:cxn>
                <a:cxn ang="0">
                  <a:pos x="533" y="1446"/>
                </a:cxn>
                <a:cxn ang="0">
                  <a:pos x="525" y="1446"/>
                </a:cxn>
                <a:cxn ang="0">
                  <a:pos x="132" y="1446"/>
                </a:cxn>
                <a:cxn ang="0">
                  <a:pos x="132" y="1158"/>
                </a:cxn>
                <a:cxn ang="0">
                  <a:pos x="132" y="1085"/>
                </a:cxn>
                <a:cxn ang="0">
                  <a:pos x="132" y="132"/>
                </a:cxn>
                <a:cxn ang="0">
                  <a:pos x="132" y="132"/>
                </a:cxn>
                <a:cxn ang="0">
                  <a:pos x="1310" y="132"/>
                </a:cxn>
                <a:cxn ang="0">
                  <a:pos x="1310" y="0"/>
                </a:cxn>
              </a:cxnLst>
              <a:rect l="0" t="0" r="r" b="b"/>
              <a:pathLst>
                <a:path w="1310" h="1578">
                  <a:moveTo>
                    <a:pt x="1310" y="0"/>
                  </a:moveTo>
                  <a:lnTo>
                    <a:pt x="132" y="0"/>
                  </a:lnTo>
                  <a:lnTo>
                    <a:pt x="132" y="0"/>
                  </a:lnTo>
                  <a:lnTo>
                    <a:pt x="119" y="1"/>
                  </a:lnTo>
                  <a:lnTo>
                    <a:pt x="106" y="3"/>
                  </a:lnTo>
                  <a:lnTo>
                    <a:pt x="93" y="6"/>
                  </a:lnTo>
                  <a:lnTo>
                    <a:pt x="81" y="10"/>
                  </a:lnTo>
                  <a:lnTo>
                    <a:pt x="69" y="17"/>
                  </a:lnTo>
                  <a:lnTo>
                    <a:pt x="59" y="23"/>
                  </a:lnTo>
                  <a:lnTo>
                    <a:pt x="49" y="31"/>
                  </a:lnTo>
                  <a:lnTo>
                    <a:pt x="40" y="39"/>
                  </a:lnTo>
                  <a:lnTo>
                    <a:pt x="30" y="48"/>
                  </a:lnTo>
                  <a:lnTo>
                    <a:pt x="23" y="59"/>
                  </a:lnTo>
                  <a:lnTo>
                    <a:pt x="17" y="69"/>
                  </a:lnTo>
                  <a:lnTo>
                    <a:pt x="11" y="81"/>
                  </a:lnTo>
                  <a:lnTo>
                    <a:pt x="7" y="93"/>
                  </a:lnTo>
                  <a:lnTo>
                    <a:pt x="3" y="105"/>
                  </a:lnTo>
                  <a:lnTo>
                    <a:pt x="1" y="119"/>
                  </a:lnTo>
                  <a:lnTo>
                    <a:pt x="0" y="132"/>
                  </a:lnTo>
                  <a:lnTo>
                    <a:pt x="0" y="1578"/>
                  </a:lnTo>
                  <a:lnTo>
                    <a:pt x="6" y="1578"/>
                  </a:lnTo>
                  <a:lnTo>
                    <a:pt x="1310" y="1578"/>
                  </a:lnTo>
                  <a:lnTo>
                    <a:pt x="1310" y="1446"/>
                  </a:lnTo>
                  <a:lnTo>
                    <a:pt x="1057" y="1446"/>
                  </a:lnTo>
                  <a:lnTo>
                    <a:pt x="533" y="1446"/>
                  </a:lnTo>
                  <a:lnTo>
                    <a:pt x="525" y="1446"/>
                  </a:lnTo>
                  <a:lnTo>
                    <a:pt x="132" y="1446"/>
                  </a:lnTo>
                  <a:lnTo>
                    <a:pt x="132" y="1158"/>
                  </a:lnTo>
                  <a:lnTo>
                    <a:pt x="132" y="1085"/>
                  </a:lnTo>
                  <a:lnTo>
                    <a:pt x="132" y="132"/>
                  </a:lnTo>
                  <a:lnTo>
                    <a:pt x="132" y="132"/>
                  </a:lnTo>
                  <a:lnTo>
                    <a:pt x="1310" y="132"/>
                  </a:lnTo>
                  <a:lnTo>
                    <a:pt x="1310" y="0"/>
                  </a:lnTo>
                  <a:close/>
                </a:path>
              </a:pathLst>
            </a:custGeom>
            <a:solidFill>
              <a:srgbClr val="7F807E"/>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3" name="Freeform 390">
              <a:extLst>
                <a:ext uri="{FF2B5EF4-FFF2-40B4-BE49-F238E27FC236}">
                  <a16:creationId xmlns:a16="http://schemas.microsoft.com/office/drawing/2014/main" id="{E6956FB0-E94F-88EA-90F5-8F7164CA3D74}"/>
                </a:ext>
              </a:extLst>
            </p:cNvPr>
            <p:cNvSpPr>
              <a:spLocks/>
            </p:cNvSpPr>
            <p:nvPr/>
          </p:nvSpPr>
          <p:spPr bwMode="auto">
            <a:xfrm>
              <a:off x="3494088" y="1524000"/>
              <a:ext cx="260350" cy="314325"/>
            </a:xfrm>
            <a:custGeom>
              <a:avLst/>
              <a:gdLst/>
              <a:ahLst/>
              <a:cxnLst>
                <a:cxn ang="0">
                  <a:pos x="1310" y="0"/>
                </a:cxn>
                <a:cxn ang="0">
                  <a:pos x="132" y="0"/>
                </a:cxn>
                <a:cxn ang="0">
                  <a:pos x="132" y="0"/>
                </a:cxn>
                <a:cxn ang="0">
                  <a:pos x="119" y="1"/>
                </a:cxn>
                <a:cxn ang="0">
                  <a:pos x="106" y="3"/>
                </a:cxn>
                <a:cxn ang="0">
                  <a:pos x="93" y="6"/>
                </a:cxn>
                <a:cxn ang="0">
                  <a:pos x="81" y="10"/>
                </a:cxn>
                <a:cxn ang="0">
                  <a:pos x="69" y="17"/>
                </a:cxn>
                <a:cxn ang="0">
                  <a:pos x="59" y="23"/>
                </a:cxn>
                <a:cxn ang="0">
                  <a:pos x="49" y="31"/>
                </a:cxn>
                <a:cxn ang="0">
                  <a:pos x="40" y="39"/>
                </a:cxn>
                <a:cxn ang="0">
                  <a:pos x="30" y="48"/>
                </a:cxn>
                <a:cxn ang="0">
                  <a:pos x="23" y="59"/>
                </a:cxn>
                <a:cxn ang="0">
                  <a:pos x="17" y="69"/>
                </a:cxn>
                <a:cxn ang="0">
                  <a:pos x="11" y="81"/>
                </a:cxn>
                <a:cxn ang="0">
                  <a:pos x="7" y="93"/>
                </a:cxn>
                <a:cxn ang="0">
                  <a:pos x="3" y="105"/>
                </a:cxn>
                <a:cxn ang="0">
                  <a:pos x="1" y="119"/>
                </a:cxn>
                <a:cxn ang="0">
                  <a:pos x="0" y="132"/>
                </a:cxn>
                <a:cxn ang="0">
                  <a:pos x="0" y="1578"/>
                </a:cxn>
                <a:cxn ang="0">
                  <a:pos x="6" y="1578"/>
                </a:cxn>
                <a:cxn ang="0">
                  <a:pos x="1310" y="1578"/>
                </a:cxn>
                <a:cxn ang="0">
                  <a:pos x="1310" y="1446"/>
                </a:cxn>
                <a:cxn ang="0">
                  <a:pos x="1057" y="1446"/>
                </a:cxn>
                <a:cxn ang="0">
                  <a:pos x="533" y="1446"/>
                </a:cxn>
                <a:cxn ang="0">
                  <a:pos x="525" y="1446"/>
                </a:cxn>
                <a:cxn ang="0">
                  <a:pos x="132" y="1446"/>
                </a:cxn>
                <a:cxn ang="0">
                  <a:pos x="132" y="1158"/>
                </a:cxn>
                <a:cxn ang="0">
                  <a:pos x="132" y="1085"/>
                </a:cxn>
                <a:cxn ang="0">
                  <a:pos x="132" y="132"/>
                </a:cxn>
                <a:cxn ang="0">
                  <a:pos x="132" y="132"/>
                </a:cxn>
                <a:cxn ang="0">
                  <a:pos x="1310" y="132"/>
                </a:cxn>
                <a:cxn ang="0">
                  <a:pos x="1310" y="0"/>
                </a:cxn>
              </a:cxnLst>
              <a:rect l="0" t="0" r="r" b="b"/>
              <a:pathLst>
                <a:path w="1310" h="1578">
                  <a:moveTo>
                    <a:pt x="1310" y="0"/>
                  </a:moveTo>
                  <a:lnTo>
                    <a:pt x="132" y="0"/>
                  </a:lnTo>
                  <a:lnTo>
                    <a:pt x="132" y="0"/>
                  </a:lnTo>
                  <a:lnTo>
                    <a:pt x="119" y="1"/>
                  </a:lnTo>
                  <a:lnTo>
                    <a:pt x="106" y="3"/>
                  </a:lnTo>
                  <a:lnTo>
                    <a:pt x="93" y="6"/>
                  </a:lnTo>
                  <a:lnTo>
                    <a:pt x="81" y="10"/>
                  </a:lnTo>
                  <a:lnTo>
                    <a:pt x="69" y="17"/>
                  </a:lnTo>
                  <a:lnTo>
                    <a:pt x="59" y="23"/>
                  </a:lnTo>
                  <a:lnTo>
                    <a:pt x="49" y="31"/>
                  </a:lnTo>
                  <a:lnTo>
                    <a:pt x="40" y="39"/>
                  </a:lnTo>
                  <a:lnTo>
                    <a:pt x="30" y="48"/>
                  </a:lnTo>
                  <a:lnTo>
                    <a:pt x="23" y="59"/>
                  </a:lnTo>
                  <a:lnTo>
                    <a:pt x="17" y="69"/>
                  </a:lnTo>
                  <a:lnTo>
                    <a:pt x="11" y="81"/>
                  </a:lnTo>
                  <a:lnTo>
                    <a:pt x="7" y="93"/>
                  </a:lnTo>
                  <a:lnTo>
                    <a:pt x="3" y="105"/>
                  </a:lnTo>
                  <a:lnTo>
                    <a:pt x="1" y="119"/>
                  </a:lnTo>
                  <a:lnTo>
                    <a:pt x="0" y="132"/>
                  </a:lnTo>
                  <a:lnTo>
                    <a:pt x="0" y="1578"/>
                  </a:lnTo>
                  <a:lnTo>
                    <a:pt x="6" y="1578"/>
                  </a:lnTo>
                  <a:lnTo>
                    <a:pt x="1310" y="1578"/>
                  </a:lnTo>
                  <a:lnTo>
                    <a:pt x="1310" y="1446"/>
                  </a:lnTo>
                  <a:lnTo>
                    <a:pt x="1057" y="1446"/>
                  </a:lnTo>
                  <a:lnTo>
                    <a:pt x="533" y="1446"/>
                  </a:lnTo>
                  <a:lnTo>
                    <a:pt x="525" y="1446"/>
                  </a:lnTo>
                  <a:lnTo>
                    <a:pt x="132" y="1446"/>
                  </a:lnTo>
                  <a:lnTo>
                    <a:pt x="132" y="1158"/>
                  </a:lnTo>
                  <a:lnTo>
                    <a:pt x="132" y="1085"/>
                  </a:lnTo>
                  <a:lnTo>
                    <a:pt x="132" y="132"/>
                  </a:lnTo>
                  <a:lnTo>
                    <a:pt x="132" y="132"/>
                  </a:lnTo>
                  <a:lnTo>
                    <a:pt x="1310" y="132"/>
                  </a:lnTo>
                  <a:lnTo>
                    <a:pt x="131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4" name="Freeform 391">
              <a:extLst>
                <a:ext uri="{FF2B5EF4-FFF2-40B4-BE49-F238E27FC236}">
                  <a16:creationId xmlns:a16="http://schemas.microsoft.com/office/drawing/2014/main" id="{9A874600-4C82-BE37-A7F0-273F97E7F970}"/>
                </a:ext>
              </a:extLst>
            </p:cNvPr>
            <p:cNvSpPr>
              <a:spLocks noEditPoints="1"/>
            </p:cNvSpPr>
            <p:nvPr/>
          </p:nvSpPr>
          <p:spPr bwMode="auto">
            <a:xfrm>
              <a:off x="3508376" y="1912938"/>
              <a:ext cx="169863" cy="57150"/>
            </a:xfrm>
            <a:custGeom>
              <a:avLst/>
              <a:gdLst/>
              <a:ahLst/>
              <a:cxnLst>
                <a:cxn ang="0">
                  <a:pos x="855" y="282"/>
                </a:cxn>
                <a:cxn ang="0">
                  <a:pos x="726" y="282"/>
                </a:cxn>
                <a:cxn ang="0">
                  <a:pos x="855" y="282"/>
                </a:cxn>
                <a:cxn ang="0">
                  <a:pos x="1" y="0"/>
                </a:cxn>
                <a:cxn ang="0">
                  <a:pos x="1" y="0"/>
                </a:cxn>
                <a:cxn ang="0">
                  <a:pos x="15" y="8"/>
                </a:cxn>
                <a:cxn ang="0">
                  <a:pos x="31" y="14"/>
                </a:cxn>
                <a:cxn ang="0">
                  <a:pos x="48" y="17"/>
                </a:cxn>
                <a:cxn ang="0">
                  <a:pos x="65" y="18"/>
                </a:cxn>
                <a:cxn ang="0">
                  <a:pos x="65" y="18"/>
                </a:cxn>
                <a:cxn ang="0">
                  <a:pos x="48" y="17"/>
                </a:cxn>
                <a:cxn ang="0">
                  <a:pos x="31" y="14"/>
                </a:cxn>
                <a:cxn ang="0">
                  <a:pos x="15" y="8"/>
                </a:cxn>
                <a:cxn ang="0">
                  <a:pos x="1" y="0"/>
                </a:cxn>
                <a:cxn ang="0">
                  <a:pos x="0" y="0"/>
                </a:cxn>
                <a:cxn ang="0">
                  <a:pos x="0" y="0"/>
                </a:cxn>
                <a:cxn ang="0">
                  <a:pos x="0" y="0"/>
                </a:cxn>
                <a:cxn ang="0">
                  <a:pos x="0" y="0"/>
                </a:cxn>
                <a:cxn ang="0">
                  <a:pos x="0" y="0"/>
                </a:cxn>
              </a:cxnLst>
              <a:rect l="0" t="0" r="r" b="b"/>
              <a:pathLst>
                <a:path w="855" h="282">
                  <a:moveTo>
                    <a:pt x="855" y="282"/>
                  </a:moveTo>
                  <a:lnTo>
                    <a:pt x="726" y="282"/>
                  </a:lnTo>
                  <a:lnTo>
                    <a:pt x="855" y="282"/>
                  </a:lnTo>
                  <a:close/>
                  <a:moveTo>
                    <a:pt x="1" y="0"/>
                  </a:moveTo>
                  <a:lnTo>
                    <a:pt x="1" y="0"/>
                  </a:lnTo>
                  <a:lnTo>
                    <a:pt x="15" y="8"/>
                  </a:lnTo>
                  <a:lnTo>
                    <a:pt x="31" y="14"/>
                  </a:lnTo>
                  <a:lnTo>
                    <a:pt x="48" y="17"/>
                  </a:lnTo>
                  <a:lnTo>
                    <a:pt x="65" y="18"/>
                  </a:lnTo>
                  <a:lnTo>
                    <a:pt x="65" y="18"/>
                  </a:lnTo>
                  <a:lnTo>
                    <a:pt x="48" y="17"/>
                  </a:lnTo>
                  <a:lnTo>
                    <a:pt x="31" y="14"/>
                  </a:lnTo>
                  <a:lnTo>
                    <a:pt x="15" y="8"/>
                  </a:lnTo>
                  <a:lnTo>
                    <a:pt x="1" y="0"/>
                  </a:lnTo>
                  <a:close/>
                  <a:moveTo>
                    <a:pt x="0" y="0"/>
                  </a:moveTo>
                  <a:lnTo>
                    <a:pt x="0" y="0"/>
                  </a:lnTo>
                  <a:lnTo>
                    <a:pt x="0" y="0"/>
                  </a:lnTo>
                  <a:lnTo>
                    <a:pt x="0" y="0"/>
                  </a:lnTo>
                  <a:lnTo>
                    <a:pt x="0" y="0"/>
                  </a:lnTo>
                  <a:close/>
                </a:path>
              </a:pathLst>
            </a:custGeom>
            <a:solidFill>
              <a:srgbClr val="77B39E"/>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5" name="Freeform 392">
              <a:extLst>
                <a:ext uri="{FF2B5EF4-FFF2-40B4-BE49-F238E27FC236}">
                  <a16:creationId xmlns:a16="http://schemas.microsoft.com/office/drawing/2014/main" id="{064EEE24-310F-1C6C-C6B2-E6B4DA322607}"/>
                </a:ext>
              </a:extLst>
            </p:cNvPr>
            <p:cNvSpPr>
              <a:spLocks/>
            </p:cNvSpPr>
            <p:nvPr/>
          </p:nvSpPr>
          <p:spPr bwMode="auto">
            <a:xfrm>
              <a:off x="3652838" y="1970088"/>
              <a:ext cx="25400" cy="1587"/>
            </a:xfrm>
            <a:custGeom>
              <a:avLst/>
              <a:gdLst/>
              <a:ahLst/>
              <a:cxnLst>
                <a:cxn ang="0">
                  <a:pos x="129" y="0"/>
                </a:cxn>
                <a:cxn ang="0">
                  <a:pos x="0" y="0"/>
                </a:cxn>
                <a:cxn ang="0">
                  <a:pos x="129" y="0"/>
                </a:cxn>
              </a:cxnLst>
              <a:rect l="0" t="0" r="r" b="b"/>
              <a:pathLst>
                <a:path w="129">
                  <a:moveTo>
                    <a:pt x="129" y="0"/>
                  </a:moveTo>
                  <a:lnTo>
                    <a:pt x="0" y="0"/>
                  </a:lnTo>
                  <a:lnTo>
                    <a:pt x="129"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6" name="Freeform 393">
              <a:extLst>
                <a:ext uri="{FF2B5EF4-FFF2-40B4-BE49-F238E27FC236}">
                  <a16:creationId xmlns:a16="http://schemas.microsoft.com/office/drawing/2014/main" id="{785E775A-04B5-AA0B-0F7C-E1598AD2BEF3}"/>
                </a:ext>
              </a:extLst>
            </p:cNvPr>
            <p:cNvSpPr>
              <a:spLocks/>
            </p:cNvSpPr>
            <p:nvPr/>
          </p:nvSpPr>
          <p:spPr bwMode="auto">
            <a:xfrm>
              <a:off x="3508376" y="1912938"/>
              <a:ext cx="14288" cy="4762"/>
            </a:xfrm>
            <a:custGeom>
              <a:avLst/>
              <a:gdLst/>
              <a:ahLst/>
              <a:cxnLst>
                <a:cxn ang="0">
                  <a:pos x="0" y="0"/>
                </a:cxn>
                <a:cxn ang="0">
                  <a:pos x="0" y="0"/>
                </a:cxn>
                <a:cxn ang="0">
                  <a:pos x="14" y="8"/>
                </a:cxn>
                <a:cxn ang="0">
                  <a:pos x="30" y="14"/>
                </a:cxn>
                <a:cxn ang="0">
                  <a:pos x="47" y="17"/>
                </a:cxn>
                <a:cxn ang="0">
                  <a:pos x="64" y="18"/>
                </a:cxn>
                <a:cxn ang="0">
                  <a:pos x="64" y="18"/>
                </a:cxn>
                <a:cxn ang="0">
                  <a:pos x="47" y="17"/>
                </a:cxn>
                <a:cxn ang="0">
                  <a:pos x="30" y="14"/>
                </a:cxn>
                <a:cxn ang="0">
                  <a:pos x="14" y="8"/>
                </a:cxn>
                <a:cxn ang="0">
                  <a:pos x="0" y="0"/>
                </a:cxn>
              </a:cxnLst>
              <a:rect l="0" t="0" r="r" b="b"/>
              <a:pathLst>
                <a:path w="64" h="18">
                  <a:moveTo>
                    <a:pt x="0" y="0"/>
                  </a:moveTo>
                  <a:lnTo>
                    <a:pt x="0" y="0"/>
                  </a:lnTo>
                  <a:lnTo>
                    <a:pt x="14" y="8"/>
                  </a:lnTo>
                  <a:lnTo>
                    <a:pt x="30" y="14"/>
                  </a:lnTo>
                  <a:lnTo>
                    <a:pt x="47" y="17"/>
                  </a:lnTo>
                  <a:lnTo>
                    <a:pt x="64" y="18"/>
                  </a:lnTo>
                  <a:lnTo>
                    <a:pt x="64" y="18"/>
                  </a:lnTo>
                  <a:lnTo>
                    <a:pt x="47" y="17"/>
                  </a:lnTo>
                  <a:lnTo>
                    <a:pt x="30" y="14"/>
                  </a:lnTo>
                  <a:lnTo>
                    <a:pt x="14" y="8"/>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07" name="Rectangle 394">
              <a:extLst>
                <a:ext uri="{FF2B5EF4-FFF2-40B4-BE49-F238E27FC236}">
                  <a16:creationId xmlns:a16="http://schemas.microsoft.com/office/drawing/2014/main" id="{7D1127FB-CCEF-FF37-D4A4-2235FBC6BE51}"/>
                </a:ext>
              </a:extLst>
            </p:cNvPr>
            <p:cNvSpPr>
              <a:spLocks noChangeArrowheads="1"/>
            </p:cNvSpPr>
            <p:nvPr/>
          </p:nvSpPr>
          <p:spPr bwMode="auto">
            <a:xfrm>
              <a:off x="3508376" y="1912938"/>
              <a:ext cx="1588" cy="1587"/>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grpSp>
      <p:sp>
        <p:nvSpPr>
          <p:cNvPr id="52" name="Segnaposto numero diapositiva 51">
            <a:extLst>
              <a:ext uri="{FF2B5EF4-FFF2-40B4-BE49-F238E27FC236}">
                <a16:creationId xmlns:a16="http://schemas.microsoft.com/office/drawing/2014/main" id="{5CDB0275-2D6E-D2C6-DA8D-A8C6D7FF8018}"/>
              </a:ext>
            </a:extLst>
          </p:cNvPr>
          <p:cNvSpPr>
            <a:spLocks noGrp="1"/>
          </p:cNvSpPr>
          <p:nvPr>
            <p:ph type="sldNum" sz="quarter" idx="12"/>
          </p:nvPr>
        </p:nvSpPr>
        <p:spPr/>
        <p:txBody>
          <a:bodyPr/>
          <a:lstStyle/>
          <a:p>
            <a:fld id="{00F0C1FD-41C3-4D85-8E51-9C56B45C685D}" type="slidenum">
              <a:rPr lang="it-IT" smtClean="0"/>
              <a:t>12</a:t>
            </a:fld>
            <a:endParaRPr lang="it-IT"/>
          </a:p>
        </p:txBody>
      </p:sp>
      <p:grpSp>
        <p:nvGrpSpPr>
          <p:cNvPr id="53" name="Group 406">
            <a:extLst>
              <a:ext uri="{FF2B5EF4-FFF2-40B4-BE49-F238E27FC236}">
                <a16:creationId xmlns:a16="http://schemas.microsoft.com/office/drawing/2014/main" id="{B397BB40-ED4E-E481-DC88-D70435D8B520}"/>
              </a:ext>
            </a:extLst>
          </p:cNvPr>
          <p:cNvGrpSpPr/>
          <p:nvPr/>
        </p:nvGrpSpPr>
        <p:grpSpPr>
          <a:xfrm>
            <a:off x="910387" y="1467163"/>
            <a:ext cx="684000" cy="684000"/>
            <a:chOff x="3144838" y="0"/>
            <a:chExt cx="1112838" cy="1114425"/>
          </a:xfrm>
        </p:grpSpPr>
        <p:sp>
          <p:nvSpPr>
            <p:cNvPr id="54" name="Freeform 7">
              <a:extLst>
                <a:ext uri="{FF2B5EF4-FFF2-40B4-BE49-F238E27FC236}">
                  <a16:creationId xmlns:a16="http://schemas.microsoft.com/office/drawing/2014/main" id="{EE663A72-C164-336A-B75C-7C6896D2018D}"/>
                </a:ext>
              </a:extLst>
            </p:cNvPr>
            <p:cNvSpPr>
              <a:spLocks/>
            </p:cNvSpPr>
            <p:nvPr/>
          </p:nvSpPr>
          <p:spPr bwMode="auto">
            <a:xfrm>
              <a:off x="3144838" y="0"/>
              <a:ext cx="1112838" cy="1114425"/>
            </a:xfrm>
            <a:custGeom>
              <a:avLst/>
              <a:gdLst>
                <a:gd name="T0" fmla="*/ 332 w 701"/>
                <a:gd name="T1" fmla="*/ 701 h 702"/>
                <a:gd name="T2" fmla="*/ 280 w 701"/>
                <a:gd name="T3" fmla="*/ 695 h 702"/>
                <a:gd name="T4" fmla="*/ 230 w 701"/>
                <a:gd name="T5" fmla="*/ 680 h 702"/>
                <a:gd name="T6" fmla="*/ 183 w 701"/>
                <a:gd name="T7" fmla="*/ 659 h 702"/>
                <a:gd name="T8" fmla="*/ 141 w 701"/>
                <a:gd name="T9" fmla="*/ 632 h 702"/>
                <a:gd name="T10" fmla="*/ 103 w 701"/>
                <a:gd name="T11" fmla="*/ 598 h 702"/>
                <a:gd name="T12" fmla="*/ 69 w 701"/>
                <a:gd name="T13" fmla="*/ 561 h 702"/>
                <a:gd name="T14" fmla="*/ 42 w 701"/>
                <a:gd name="T15" fmla="*/ 518 h 702"/>
                <a:gd name="T16" fmla="*/ 21 w 701"/>
                <a:gd name="T17" fmla="*/ 471 h 702"/>
                <a:gd name="T18" fmla="*/ 7 w 701"/>
                <a:gd name="T19" fmla="*/ 422 h 702"/>
                <a:gd name="T20" fmla="*/ 0 w 701"/>
                <a:gd name="T21" fmla="*/ 369 h 702"/>
                <a:gd name="T22" fmla="*/ 0 w 701"/>
                <a:gd name="T23" fmla="*/ 333 h 702"/>
                <a:gd name="T24" fmla="*/ 7 w 701"/>
                <a:gd name="T25" fmla="*/ 280 h 702"/>
                <a:gd name="T26" fmla="*/ 21 w 701"/>
                <a:gd name="T27" fmla="*/ 231 h 702"/>
                <a:gd name="T28" fmla="*/ 42 w 701"/>
                <a:gd name="T29" fmla="*/ 184 h 702"/>
                <a:gd name="T30" fmla="*/ 69 w 701"/>
                <a:gd name="T31" fmla="*/ 142 h 702"/>
                <a:gd name="T32" fmla="*/ 103 w 701"/>
                <a:gd name="T33" fmla="*/ 104 h 702"/>
                <a:gd name="T34" fmla="*/ 141 w 701"/>
                <a:gd name="T35" fmla="*/ 70 h 702"/>
                <a:gd name="T36" fmla="*/ 183 w 701"/>
                <a:gd name="T37" fmla="*/ 43 h 702"/>
                <a:gd name="T38" fmla="*/ 230 w 701"/>
                <a:gd name="T39" fmla="*/ 22 h 702"/>
                <a:gd name="T40" fmla="*/ 280 w 701"/>
                <a:gd name="T41" fmla="*/ 7 h 702"/>
                <a:gd name="T42" fmla="*/ 332 w 701"/>
                <a:gd name="T43" fmla="*/ 1 h 702"/>
                <a:gd name="T44" fmla="*/ 368 w 701"/>
                <a:gd name="T45" fmla="*/ 1 h 702"/>
                <a:gd name="T46" fmla="*/ 421 w 701"/>
                <a:gd name="T47" fmla="*/ 7 h 702"/>
                <a:gd name="T48" fmla="*/ 470 w 701"/>
                <a:gd name="T49" fmla="*/ 22 h 702"/>
                <a:gd name="T50" fmla="*/ 517 w 701"/>
                <a:gd name="T51" fmla="*/ 43 h 702"/>
                <a:gd name="T52" fmla="*/ 560 w 701"/>
                <a:gd name="T53" fmla="*/ 70 h 702"/>
                <a:gd name="T54" fmla="*/ 599 w 701"/>
                <a:gd name="T55" fmla="*/ 104 h 702"/>
                <a:gd name="T56" fmla="*/ 631 w 701"/>
                <a:gd name="T57" fmla="*/ 142 h 702"/>
                <a:gd name="T58" fmla="*/ 659 w 701"/>
                <a:gd name="T59" fmla="*/ 184 h 702"/>
                <a:gd name="T60" fmla="*/ 680 w 701"/>
                <a:gd name="T61" fmla="*/ 231 h 702"/>
                <a:gd name="T62" fmla="*/ 693 w 701"/>
                <a:gd name="T63" fmla="*/ 280 h 702"/>
                <a:gd name="T64" fmla="*/ 701 w 701"/>
                <a:gd name="T65" fmla="*/ 333 h 702"/>
                <a:gd name="T66" fmla="*/ 701 w 701"/>
                <a:gd name="T67" fmla="*/ 369 h 702"/>
                <a:gd name="T68" fmla="*/ 693 w 701"/>
                <a:gd name="T69" fmla="*/ 422 h 702"/>
                <a:gd name="T70" fmla="*/ 680 w 701"/>
                <a:gd name="T71" fmla="*/ 471 h 702"/>
                <a:gd name="T72" fmla="*/ 659 w 701"/>
                <a:gd name="T73" fmla="*/ 518 h 702"/>
                <a:gd name="T74" fmla="*/ 631 w 701"/>
                <a:gd name="T75" fmla="*/ 561 h 702"/>
                <a:gd name="T76" fmla="*/ 599 w 701"/>
                <a:gd name="T77" fmla="*/ 598 h 702"/>
                <a:gd name="T78" fmla="*/ 560 w 701"/>
                <a:gd name="T79" fmla="*/ 632 h 702"/>
                <a:gd name="T80" fmla="*/ 517 w 701"/>
                <a:gd name="T81" fmla="*/ 659 h 702"/>
                <a:gd name="T82" fmla="*/ 470 w 701"/>
                <a:gd name="T83" fmla="*/ 680 h 702"/>
                <a:gd name="T84" fmla="*/ 421 w 701"/>
                <a:gd name="T85" fmla="*/ 695 h 702"/>
                <a:gd name="T86" fmla="*/ 368 w 701"/>
                <a:gd name="T8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1" y="702"/>
                  </a:moveTo>
                  <a:lnTo>
                    <a:pt x="351" y="702"/>
                  </a:lnTo>
                  <a:lnTo>
                    <a:pt x="332" y="701"/>
                  </a:lnTo>
                  <a:lnTo>
                    <a:pt x="315" y="699"/>
                  </a:lnTo>
                  <a:lnTo>
                    <a:pt x="298" y="697"/>
                  </a:lnTo>
                  <a:lnTo>
                    <a:pt x="280" y="695"/>
                  </a:lnTo>
                  <a:lnTo>
                    <a:pt x="263" y="691"/>
                  </a:lnTo>
                  <a:lnTo>
                    <a:pt x="246" y="686"/>
                  </a:lnTo>
                  <a:lnTo>
                    <a:pt x="230" y="680"/>
                  </a:lnTo>
                  <a:lnTo>
                    <a:pt x="214" y="674"/>
                  </a:lnTo>
                  <a:lnTo>
                    <a:pt x="199" y="667"/>
                  </a:lnTo>
                  <a:lnTo>
                    <a:pt x="183" y="659"/>
                  </a:lnTo>
                  <a:lnTo>
                    <a:pt x="168" y="651"/>
                  </a:lnTo>
                  <a:lnTo>
                    <a:pt x="155" y="641"/>
                  </a:lnTo>
                  <a:lnTo>
                    <a:pt x="141" y="632"/>
                  </a:lnTo>
                  <a:lnTo>
                    <a:pt x="127" y="622"/>
                  </a:lnTo>
                  <a:lnTo>
                    <a:pt x="115" y="611"/>
                  </a:lnTo>
                  <a:lnTo>
                    <a:pt x="103" y="598"/>
                  </a:lnTo>
                  <a:lnTo>
                    <a:pt x="90" y="587"/>
                  </a:lnTo>
                  <a:lnTo>
                    <a:pt x="81" y="574"/>
                  </a:lnTo>
                  <a:lnTo>
                    <a:pt x="69" y="561"/>
                  </a:lnTo>
                  <a:lnTo>
                    <a:pt x="60" y="546"/>
                  </a:lnTo>
                  <a:lnTo>
                    <a:pt x="51" y="533"/>
                  </a:lnTo>
                  <a:lnTo>
                    <a:pt x="42" y="518"/>
                  </a:lnTo>
                  <a:lnTo>
                    <a:pt x="35" y="503"/>
                  </a:lnTo>
                  <a:lnTo>
                    <a:pt x="27" y="487"/>
                  </a:lnTo>
                  <a:lnTo>
                    <a:pt x="21" y="471"/>
                  </a:lnTo>
                  <a:lnTo>
                    <a:pt x="15" y="455"/>
                  </a:lnTo>
                  <a:lnTo>
                    <a:pt x="11" y="439"/>
                  </a:lnTo>
                  <a:lnTo>
                    <a:pt x="7" y="422"/>
                  </a:lnTo>
                  <a:lnTo>
                    <a:pt x="4" y="405"/>
                  </a:lnTo>
                  <a:lnTo>
                    <a:pt x="2" y="387"/>
                  </a:lnTo>
                  <a:lnTo>
                    <a:pt x="0" y="369"/>
                  </a:lnTo>
                  <a:lnTo>
                    <a:pt x="0" y="352"/>
                  </a:lnTo>
                  <a:lnTo>
                    <a:pt x="0" y="352"/>
                  </a:lnTo>
                  <a:lnTo>
                    <a:pt x="0" y="333"/>
                  </a:lnTo>
                  <a:lnTo>
                    <a:pt x="2" y="316"/>
                  </a:lnTo>
                  <a:lnTo>
                    <a:pt x="4" y="297"/>
                  </a:lnTo>
                  <a:lnTo>
                    <a:pt x="7" y="280"/>
                  </a:lnTo>
                  <a:lnTo>
                    <a:pt x="11" y="264"/>
                  </a:lnTo>
                  <a:lnTo>
                    <a:pt x="15" y="247"/>
                  </a:lnTo>
                  <a:lnTo>
                    <a:pt x="21" y="231"/>
                  </a:lnTo>
                  <a:lnTo>
                    <a:pt x="27" y="215"/>
                  </a:lnTo>
                  <a:lnTo>
                    <a:pt x="35" y="199"/>
                  </a:lnTo>
                  <a:lnTo>
                    <a:pt x="42" y="184"/>
                  </a:lnTo>
                  <a:lnTo>
                    <a:pt x="51" y="169"/>
                  </a:lnTo>
                  <a:lnTo>
                    <a:pt x="60" y="155"/>
                  </a:lnTo>
                  <a:lnTo>
                    <a:pt x="69" y="142"/>
                  </a:lnTo>
                  <a:lnTo>
                    <a:pt x="81" y="128"/>
                  </a:lnTo>
                  <a:lnTo>
                    <a:pt x="90" y="116"/>
                  </a:lnTo>
                  <a:lnTo>
                    <a:pt x="103" y="104"/>
                  </a:lnTo>
                  <a:lnTo>
                    <a:pt x="115" y="91"/>
                  </a:lnTo>
                  <a:lnTo>
                    <a:pt x="127" y="80"/>
                  </a:lnTo>
                  <a:lnTo>
                    <a:pt x="141" y="70"/>
                  </a:lnTo>
                  <a:lnTo>
                    <a:pt x="155" y="60"/>
                  </a:lnTo>
                  <a:lnTo>
                    <a:pt x="168" y="52"/>
                  </a:lnTo>
                  <a:lnTo>
                    <a:pt x="183" y="43"/>
                  </a:lnTo>
                  <a:lnTo>
                    <a:pt x="199" y="35"/>
                  </a:lnTo>
                  <a:lnTo>
                    <a:pt x="214" y="28"/>
                  </a:lnTo>
                  <a:lnTo>
                    <a:pt x="230" y="22"/>
                  </a:lnTo>
                  <a:lnTo>
                    <a:pt x="246" y="16"/>
                  </a:lnTo>
                  <a:lnTo>
                    <a:pt x="263" y="11"/>
                  </a:lnTo>
                  <a:lnTo>
                    <a:pt x="280" y="7"/>
                  </a:lnTo>
                  <a:lnTo>
                    <a:pt x="298" y="5"/>
                  </a:lnTo>
                  <a:lnTo>
                    <a:pt x="315" y="2"/>
                  </a:lnTo>
                  <a:lnTo>
                    <a:pt x="332" y="1"/>
                  </a:lnTo>
                  <a:lnTo>
                    <a:pt x="351" y="0"/>
                  </a:lnTo>
                  <a:lnTo>
                    <a:pt x="351" y="0"/>
                  </a:lnTo>
                  <a:lnTo>
                    <a:pt x="368" y="1"/>
                  </a:lnTo>
                  <a:lnTo>
                    <a:pt x="386" y="2"/>
                  </a:lnTo>
                  <a:lnTo>
                    <a:pt x="404" y="5"/>
                  </a:lnTo>
                  <a:lnTo>
                    <a:pt x="421" y="7"/>
                  </a:lnTo>
                  <a:lnTo>
                    <a:pt x="438" y="11"/>
                  </a:lnTo>
                  <a:lnTo>
                    <a:pt x="454" y="16"/>
                  </a:lnTo>
                  <a:lnTo>
                    <a:pt x="470" y="22"/>
                  </a:lnTo>
                  <a:lnTo>
                    <a:pt x="486" y="28"/>
                  </a:lnTo>
                  <a:lnTo>
                    <a:pt x="502" y="35"/>
                  </a:lnTo>
                  <a:lnTo>
                    <a:pt x="517" y="43"/>
                  </a:lnTo>
                  <a:lnTo>
                    <a:pt x="532" y="52"/>
                  </a:lnTo>
                  <a:lnTo>
                    <a:pt x="547" y="60"/>
                  </a:lnTo>
                  <a:lnTo>
                    <a:pt x="560" y="70"/>
                  </a:lnTo>
                  <a:lnTo>
                    <a:pt x="574" y="80"/>
                  </a:lnTo>
                  <a:lnTo>
                    <a:pt x="586" y="91"/>
                  </a:lnTo>
                  <a:lnTo>
                    <a:pt x="599" y="104"/>
                  </a:lnTo>
                  <a:lnTo>
                    <a:pt x="610" y="116"/>
                  </a:lnTo>
                  <a:lnTo>
                    <a:pt x="621" y="128"/>
                  </a:lnTo>
                  <a:lnTo>
                    <a:pt x="631" y="142"/>
                  </a:lnTo>
                  <a:lnTo>
                    <a:pt x="640" y="155"/>
                  </a:lnTo>
                  <a:lnTo>
                    <a:pt x="650" y="169"/>
                  </a:lnTo>
                  <a:lnTo>
                    <a:pt x="659" y="184"/>
                  </a:lnTo>
                  <a:lnTo>
                    <a:pt x="666" y="199"/>
                  </a:lnTo>
                  <a:lnTo>
                    <a:pt x="674" y="215"/>
                  </a:lnTo>
                  <a:lnTo>
                    <a:pt x="680" y="231"/>
                  </a:lnTo>
                  <a:lnTo>
                    <a:pt x="685" y="247"/>
                  </a:lnTo>
                  <a:lnTo>
                    <a:pt x="690" y="264"/>
                  </a:lnTo>
                  <a:lnTo>
                    <a:pt x="693" y="280"/>
                  </a:lnTo>
                  <a:lnTo>
                    <a:pt x="697" y="297"/>
                  </a:lnTo>
                  <a:lnTo>
                    <a:pt x="698" y="316"/>
                  </a:lnTo>
                  <a:lnTo>
                    <a:pt x="701" y="333"/>
                  </a:lnTo>
                  <a:lnTo>
                    <a:pt x="701" y="352"/>
                  </a:lnTo>
                  <a:lnTo>
                    <a:pt x="701" y="352"/>
                  </a:lnTo>
                  <a:lnTo>
                    <a:pt x="701" y="369"/>
                  </a:lnTo>
                  <a:lnTo>
                    <a:pt x="698" y="387"/>
                  </a:lnTo>
                  <a:lnTo>
                    <a:pt x="697" y="405"/>
                  </a:lnTo>
                  <a:lnTo>
                    <a:pt x="693" y="422"/>
                  </a:lnTo>
                  <a:lnTo>
                    <a:pt x="690" y="439"/>
                  </a:lnTo>
                  <a:lnTo>
                    <a:pt x="685" y="455"/>
                  </a:lnTo>
                  <a:lnTo>
                    <a:pt x="680" y="471"/>
                  </a:lnTo>
                  <a:lnTo>
                    <a:pt x="674" y="487"/>
                  </a:lnTo>
                  <a:lnTo>
                    <a:pt x="666" y="503"/>
                  </a:lnTo>
                  <a:lnTo>
                    <a:pt x="659" y="518"/>
                  </a:lnTo>
                  <a:lnTo>
                    <a:pt x="650" y="533"/>
                  </a:lnTo>
                  <a:lnTo>
                    <a:pt x="640" y="546"/>
                  </a:lnTo>
                  <a:lnTo>
                    <a:pt x="631" y="561"/>
                  </a:lnTo>
                  <a:lnTo>
                    <a:pt x="621" y="574"/>
                  </a:lnTo>
                  <a:lnTo>
                    <a:pt x="610" y="587"/>
                  </a:lnTo>
                  <a:lnTo>
                    <a:pt x="599" y="598"/>
                  </a:lnTo>
                  <a:lnTo>
                    <a:pt x="586" y="611"/>
                  </a:lnTo>
                  <a:lnTo>
                    <a:pt x="574" y="622"/>
                  </a:lnTo>
                  <a:lnTo>
                    <a:pt x="560" y="632"/>
                  </a:lnTo>
                  <a:lnTo>
                    <a:pt x="547" y="641"/>
                  </a:lnTo>
                  <a:lnTo>
                    <a:pt x="532" y="651"/>
                  </a:lnTo>
                  <a:lnTo>
                    <a:pt x="517" y="659"/>
                  </a:lnTo>
                  <a:lnTo>
                    <a:pt x="502" y="667"/>
                  </a:lnTo>
                  <a:lnTo>
                    <a:pt x="486" y="674"/>
                  </a:lnTo>
                  <a:lnTo>
                    <a:pt x="470" y="680"/>
                  </a:lnTo>
                  <a:lnTo>
                    <a:pt x="454" y="686"/>
                  </a:lnTo>
                  <a:lnTo>
                    <a:pt x="438" y="691"/>
                  </a:lnTo>
                  <a:lnTo>
                    <a:pt x="421" y="695"/>
                  </a:lnTo>
                  <a:lnTo>
                    <a:pt x="404" y="697"/>
                  </a:lnTo>
                  <a:lnTo>
                    <a:pt x="386" y="699"/>
                  </a:lnTo>
                  <a:lnTo>
                    <a:pt x="368" y="701"/>
                  </a:lnTo>
                  <a:lnTo>
                    <a:pt x="351" y="702"/>
                  </a:lnTo>
                  <a:lnTo>
                    <a:pt x="351" y="702"/>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202">
              <a:extLst>
                <a:ext uri="{FF2B5EF4-FFF2-40B4-BE49-F238E27FC236}">
                  <a16:creationId xmlns:a16="http://schemas.microsoft.com/office/drawing/2014/main" id="{41C539E9-DFD2-6760-A391-C3F83D126EA8}"/>
                </a:ext>
              </a:extLst>
            </p:cNvPr>
            <p:cNvSpPr>
              <a:spLocks/>
            </p:cNvSpPr>
            <p:nvPr/>
          </p:nvSpPr>
          <p:spPr bwMode="auto">
            <a:xfrm>
              <a:off x="3392488" y="244475"/>
              <a:ext cx="841375" cy="844550"/>
            </a:xfrm>
            <a:custGeom>
              <a:avLst/>
              <a:gdLst>
                <a:gd name="T0" fmla="*/ 343 w 530"/>
                <a:gd name="T1" fmla="*/ 110 h 532"/>
                <a:gd name="T2" fmla="*/ 340 w 530"/>
                <a:gd name="T3" fmla="*/ 109 h 532"/>
                <a:gd name="T4" fmla="*/ 311 w 530"/>
                <a:gd name="T5" fmla="*/ 79 h 532"/>
                <a:gd name="T6" fmla="*/ 277 w 530"/>
                <a:gd name="T7" fmla="*/ 58 h 532"/>
                <a:gd name="T8" fmla="*/ 275 w 530"/>
                <a:gd name="T9" fmla="*/ 58 h 532"/>
                <a:gd name="T10" fmla="*/ 269 w 530"/>
                <a:gd name="T11" fmla="*/ 59 h 532"/>
                <a:gd name="T12" fmla="*/ 260 w 530"/>
                <a:gd name="T13" fmla="*/ 72 h 532"/>
                <a:gd name="T14" fmla="*/ 234 w 530"/>
                <a:gd name="T15" fmla="*/ 46 h 532"/>
                <a:gd name="T16" fmla="*/ 229 w 530"/>
                <a:gd name="T17" fmla="*/ 40 h 532"/>
                <a:gd name="T18" fmla="*/ 208 w 530"/>
                <a:gd name="T19" fmla="*/ 24 h 532"/>
                <a:gd name="T20" fmla="*/ 185 w 530"/>
                <a:gd name="T21" fmla="*/ 11 h 532"/>
                <a:gd name="T22" fmla="*/ 160 w 530"/>
                <a:gd name="T23" fmla="*/ 4 h 532"/>
                <a:gd name="T24" fmla="*/ 134 w 530"/>
                <a:gd name="T25" fmla="*/ 0 h 532"/>
                <a:gd name="T26" fmla="*/ 121 w 530"/>
                <a:gd name="T27" fmla="*/ 1 h 532"/>
                <a:gd name="T28" fmla="*/ 95 w 530"/>
                <a:gd name="T29" fmla="*/ 6 h 532"/>
                <a:gd name="T30" fmla="*/ 70 w 530"/>
                <a:gd name="T31" fmla="*/ 16 h 532"/>
                <a:gd name="T32" fmla="*/ 49 w 530"/>
                <a:gd name="T33" fmla="*/ 31 h 532"/>
                <a:gd name="T34" fmla="*/ 39 w 530"/>
                <a:gd name="T35" fmla="*/ 40 h 532"/>
                <a:gd name="T36" fmla="*/ 22 w 530"/>
                <a:gd name="T37" fmla="*/ 61 h 532"/>
                <a:gd name="T38" fmla="*/ 10 w 530"/>
                <a:gd name="T39" fmla="*/ 84 h 532"/>
                <a:gd name="T40" fmla="*/ 2 w 530"/>
                <a:gd name="T41" fmla="*/ 109 h 532"/>
                <a:gd name="T42" fmla="*/ 0 w 530"/>
                <a:gd name="T43" fmla="*/ 135 h 532"/>
                <a:gd name="T44" fmla="*/ 0 w 530"/>
                <a:gd name="T45" fmla="*/ 149 h 532"/>
                <a:gd name="T46" fmla="*/ 6 w 530"/>
                <a:gd name="T47" fmla="*/ 177 h 532"/>
                <a:gd name="T48" fmla="*/ 17 w 530"/>
                <a:gd name="T49" fmla="*/ 201 h 532"/>
                <a:gd name="T50" fmla="*/ 33 w 530"/>
                <a:gd name="T51" fmla="*/ 223 h 532"/>
                <a:gd name="T52" fmla="*/ 74 w 530"/>
                <a:gd name="T53" fmla="*/ 264 h 532"/>
                <a:gd name="T54" fmla="*/ 63 w 530"/>
                <a:gd name="T55" fmla="*/ 270 h 532"/>
                <a:gd name="T56" fmla="*/ 59 w 530"/>
                <a:gd name="T57" fmla="*/ 275 h 532"/>
                <a:gd name="T58" fmla="*/ 59 w 530"/>
                <a:gd name="T59" fmla="*/ 283 h 532"/>
                <a:gd name="T60" fmla="*/ 76 w 530"/>
                <a:gd name="T61" fmla="*/ 312 h 532"/>
                <a:gd name="T62" fmla="*/ 79 w 530"/>
                <a:gd name="T63" fmla="*/ 315 h 532"/>
                <a:gd name="T64" fmla="*/ 296 w 530"/>
                <a:gd name="T65" fmla="*/ 532 h 532"/>
                <a:gd name="T66" fmla="*/ 336 w 530"/>
                <a:gd name="T67" fmla="*/ 517 h 532"/>
                <a:gd name="T68" fmla="*/ 375 w 530"/>
                <a:gd name="T69" fmla="*/ 496 h 532"/>
                <a:gd name="T70" fmla="*/ 410 w 530"/>
                <a:gd name="T71" fmla="*/ 473 h 532"/>
                <a:gd name="T72" fmla="*/ 443 w 530"/>
                <a:gd name="T73" fmla="*/ 443 h 532"/>
                <a:gd name="T74" fmla="*/ 471 w 530"/>
                <a:gd name="T75" fmla="*/ 411 h 532"/>
                <a:gd name="T76" fmla="*/ 494 w 530"/>
                <a:gd name="T77" fmla="*/ 375 h 532"/>
                <a:gd name="T78" fmla="*/ 514 w 530"/>
                <a:gd name="T79" fmla="*/ 337 h 532"/>
                <a:gd name="T80" fmla="*/ 530 w 530"/>
                <a:gd name="T81" fmla="*/ 296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0" h="532">
                  <a:moveTo>
                    <a:pt x="343" y="110"/>
                  </a:moveTo>
                  <a:lnTo>
                    <a:pt x="343" y="110"/>
                  </a:lnTo>
                  <a:lnTo>
                    <a:pt x="343" y="110"/>
                  </a:lnTo>
                  <a:lnTo>
                    <a:pt x="340" y="109"/>
                  </a:lnTo>
                  <a:lnTo>
                    <a:pt x="311" y="79"/>
                  </a:lnTo>
                  <a:lnTo>
                    <a:pt x="311" y="79"/>
                  </a:lnTo>
                  <a:lnTo>
                    <a:pt x="307" y="75"/>
                  </a:lnTo>
                  <a:lnTo>
                    <a:pt x="277" y="58"/>
                  </a:lnTo>
                  <a:lnTo>
                    <a:pt x="277" y="58"/>
                  </a:lnTo>
                  <a:lnTo>
                    <a:pt x="275" y="58"/>
                  </a:lnTo>
                  <a:lnTo>
                    <a:pt x="271" y="58"/>
                  </a:lnTo>
                  <a:lnTo>
                    <a:pt x="269" y="59"/>
                  </a:lnTo>
                  <a:lnTo>
                    <a:pt x="266" y="62"/>
                  </a:lnTo>
                  <a:lnTo>
                    <a:pt x="260" y="72"/>
                  </a:lnTo>
                  <a:lnTo>
                    <a:pt x="234" y="46"/>
                  </a:lnTo>
                  <a:lnTo>
                    <a:pt x="234" y="46"/>
                  </a:lnTo>
                  <a:lnTo>
                    <a:pt x="229" y="40"/>
                  </a:lnTo>
                  <a:lnTo>
                    <a:pt x="229" y="40"/>
                  </a:lnTo>
                  <a:lnTo>
                    <a:pt x="219" y="31"/>
                  </a:lnTo>
                  <a:lnTo>
                    <a:pt x="208" y="24"/>
                  </a:lnTo>
                  <a:lnTo>
                    <a:pt x="197" y="16"/>
                  </a:lnTo>
                  <a:lnTo>
                    <a:pt x="185" y="11"/>
                  </a:lnTo>
                  <a:lnTo>
                    <a:pt x="174" y="6"/>
                  </a:lnTo>
                  <a:lnTo>
                    <a:pt x="160" y="4"/>
                  </a:lnTo>
                  <a:lnTo>
                    <a:pt x="148" y="1"/>
                  </a:lnTo>
                  <a:lnTo>
                    <a:pt x="134" y="0"/>
                  </a:lnTo>
                  <a:lnTo>
                    <a:pt x="134" y="0"/>
                  </a:lnTo>
                  <a:lnTo>
                    <a:pt x="121" y="1"/>
                  </a:lnTo>
                  <a:lnTo>
                    <a:pt x="107" y="4"/>
                  </a:lnTo>
                  <a:lnTo>
                    <a:pt x="95" y="6"/>
                  </a:lnTo>
                  <a:lnTo>
                    <a:pt x="82" y="11"/>
                  </a:lnTo>
                  <a:lnTo>
                    <a:pt x="70" y="16"/>
                  </a:lnTo>
                  <a:lnTo>
                    <a:pt x="59" y="24"/>
                  </a:lnTo>
                  <a:lnTo>
                    <a:pt x="49" y="31"/>
                  </a:lnTo>
                  <a:lnTo>
                    <a:pt x="39" y="40"/>
                  </a:lnTo>
                  <a:lnTo>
                    <a:pt x="39" y="40"/>
                  </a:lnTo>
                  <a:lnTo>
                    <a:pt x="29" y="50"/>
                  </a:lnTo>
                  <a:lnTo>
                    <a:pt x="22" y="61"/>
                  </a:lnTo>
                  <a:lnTo>
                    <a:pt x="16" y="72"/>
                  </a:lnTo>
                  <a:lnTo>
                    <a:pt x="10" y="84"/>
                  </a:lnTo>
                  <a:lnTo>
                    <a:pt x="5" y="96"/>
                  </a:lnTo>
                  <a:lnTo>
                    <a:pt x="2" y="109"/>
                  </a:lnTo>
                  <a:lnTo>
                    <a:pt x="0" y="121"/>
                  </a:lnTo>
                  <a:lnTo>
                    <a:pt x="0" y="135"/>
                  </a:lnTo>
                  <a:lnTo>
                    <a:pt x="0" y="135"/>
                  </a:lnTo>
                  <a:lnTo>
                    <a:pt x="0" y="149"/>
                  </a:lnTo>
                  <a:lnTo>
                    <a:pt x="2" y="163"/>
                  </a:lnTo>
                  <a:lnTo>
                    <a:pt x="6" y="177"/>
                  </a:lnTo>
                  <a:lnTo>
                    <a:pt x="11" y="190"/>
                  </a:lnTo>
                  <a:lnTo>
                    <a:pt x="17" y="201"/>
                  </a:lnTo>
                  <a:lnTo>
                    <a:pt x="24" y="214"/>
                  </a:lnTo>
                  <a:lnTo>
                    <a:pt x="33" y="223"/>
                  </a:lnTo>
                  <a:lnTo>
                    <a:pt x="43" y="233"/>
                  </a:lnTo>
                  <a:lnTo>
                    <a:pt x="74" y="264"/>
                  </a:lnTo>
                  <a:lnTo>
                    <a:pt x="63" y="270"/>
                  </a:lnTo>
                  <a:lnTo>
                    <a:pt x="63" y="270"/>
                  </a:lnTo>
                  <a:lnTo>
                    <a:pt x="60" y="273"/>
                  </a:lnTo>
                  <a:lnTo>
                    <a:pt x="59" y="275"/>
                  </a:lnTo>
                  <a:lnTo>
                    <a:pt x="58" y="279"/>
                  </a:lnTo>
                  <a:lnTo>
                    <a:pt x="59" y="283"/>
                  </a:lnTo>
                  <a:lnTo>
                    <a:pt x="76" y="312"/>
                  </a:lnTo>
                  <a:lnTo>
                    <a:pt x="76" y="312"/>
                  </a:lnTo>
                  <a:lnTo>
                    <a:pt x="79" y="315"/>
                  </a:lnTo>
                  <a:lnTo>
                    <a:pt x="79" y="315"/>
                  </a:lnTo>
                  <a:lnTo>
                    <a:pt x="296" y="532"/>
                  </a:lnTo>
                  <a:lnTo>
                    <a:pt x="296" y="532"/>
                  </a:lnTo>
                  <a:lnTo>
                    <a:pt x="317" y="526"/>
                  </a:lnTo>
                  <a:lnTo>
                    <a:pt x="336" y="517"/>
                  </a:lnTo>
                  <a:lnTo>
                    <a:pt x="356" y="507"/>
                  </a:lnTo>
                  <a:lnTo>
                    <a:pt x="375" y="496"/>
                  </a:lnTo>
                  <a:lnTo>
                    <a:pt x="393" y="485"/>
                  </a:lnTo>
                  <a:lnTo>
                    <a:pt x="410" y="473"/>
                  </a:lnTo>
                  <a:lnTo>
                    <a:pt x="426" y="458"/>
                  </a:lnTo>
                  <a:lnTo>
                    <a:pt x="443" y="443"/>
                  </a:lnTo>
                  <a:lnTo>
                    <a:pt x="457" y="428"/>
                  </a:lnTo>
                  <a:lnTo>
                    <a:pt x="471" y="411"/>
                  </a:lnTo>
                  <a:lnTo>
                    <a:pt x="483" y="394"/>
                  </a:lnTo>
                  <a:lnTo>
                    <a:pt x="494" y="375"/>
                  </a:lnTo>
                  <a:lnTo>
                    <a:pt x="505" y="357"/>
                  </a:lnTo>
                  <a:lnTo>
                    <a:pt x="514" y="337"/>
                  </a:lnTo>
                  <a:lnTo>
                    <a:pt x="523" y="317"/>
                  </a:lnTo>
                  <a:lnTo>
                    <a:pt x="530" y="296"/>
                  </a:lnTo>
                  <a:lnTo>
                    <a:pt x="343" y="11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203">
              <a:extLst>
                <a:ext uri="{FF2B5EF4-FFF2-40B4-BE49-F238E27FC236}">
                  <a16:creationId xmlns:a16="http://schemas.microsoft.com/office/drawing/2014/main" id="{D7E80F2B-0264-58C8-01AD-B187B039CC69}"/>
                </a:ext>
              </a:extLst>
            </p:cNvPr>
            <p:cNvSpPr>
              <a:spLocks noEditPoints="1"/>
            </p:cNvSpPr>
            <p:nvPr/>
          </p:nvSpPr>
          <p:spPr bwMode="auto">
            <a:xfrm>
              <a:off x="3462338" y="317500"/>
              <a:ext cx="528638" cy="528638"/>
            </a:xfrm>
            <a:custGeom>
              <a:avLst/>
              <a:gdLst>
                <a:gd name="T0" fmla="*/ 299 w 333"/>
                <a:gd name="T1" fmla="*/ 118 h 333"/>
                <a:gd name="T2" fmla="*/ 320 w 333"/>
                <a:gd name="T3" fmla="*/ 100 h 333"/>
                <a:gd name="T4" fmla="*/ 296 w 333"/>
                <a:gd name="T5" fmla="*/ 63 h 333"/>
                <a:gd name="T6" fmla="*/ 264 w 333"/>
                <a:gd name="T7" fmla="*/ 66 h 333"/>
                <a:gd name="T8" fmla="*/ 268 w 333"/>
                <a:gd name="T9" fmla="*/ 36 h 333"/>
                <a:gd name="T10" fmla="*/ 231 w 333"/>
                <a:gd name="T11" fmla="*/ 12 h 333"/>
                <a:gd name="T12" fmla="*/ 212 w 333"/>
                <a:gd name="T13" fmla="*/ 33 h 333"/>
                <a:gd name="T14" fmla="*/ 190 w 333"/>
                <a:gd name="T15" fmla="*/ 5 h 333"/>
                <a:gd name="T16" fmla="*/ 148 w 333"/>
                <a:gd name="T17" fmla="*/ 0 h 333"/>
                <a:gd name="T18" fmla="*/ 140 w 333"/>
                <a:gd name="T19" fmla="*/ 29 h 333"/>
                <a:gd name="T20" fmla="*/ 109 w 333"/>
                <a:gd name="T21" fmla="*/ 18 h 333"/>
                <a:gd name="T22" fmla="*/ 67 w 333"/>
                <a:gd name="T23" fmla="*/ 32 h 333"/>
                <a:gd name="T24" fmla="*/ 64 w 333"/>
                <a:gd name="T25" fmla="*/ 43 h 333"/>
                <a:gd name="T26" fmla="*/ 42 w 333"/>
                <a:gd name="T27" fmla="*/ 66 h 333"/>
                <a:gd name="T28" fmla="*/ 31 w 333"/>
                <a:gd name="T29" fmla="*/ 70 h 333"/>
                <a:gd name="T30" fmla="*/ 14 w 333"/>
                <a:gd name="T31" fmla="*/ 108 h 333"/>
                <a:gd name="T32" fmla="*/ 29 w 333"/>
                <a:gd name="T33" fmla="*/ 143 h 333"/>
                <a:gd name="T34" fmla="*/ 1 w 333"/>
                <a:gd name="T35" fmla="*/ 148 h 333"/>
                <a:gd name="T36" fmla="*/ 3 w 333"/>
                <a:gd name="T37" fmla="*/ 191 h 333"/>
                <a:gd name="T38" fmla="*/ 32 w 333"/>
                <a:gd name="T39" fmla="*/ 205 h 333"/>
                <a:gd name="T40" fmla="*/ 15 w 333"/>
                <a:gd name="T41" fmla="*/ 229 h 333"/>
                <a:gd name="T42" fmla="*/ 35 w 333"/>
                <a:gd name="T43" fmla="*/ 269 h 333"/>
                <a:gd name="T44" fmla="*/ 62 w 333"/>
                <a:gd name="T45" fmla="*/ 259 h 333"/>
                <a:gd name="T46" fmla="*/ 67 w 333"/>
                <a:gd name="T47" fmla="*/ 295 h 333"/>
                <a:gd name="T48" fmla="*/ 100 w 333"/>
                <a:gd name="T49" fmla="*/ 319 h 333"/>
                <a:gd name="T50" fmla="*/ 122 w 333"/>
                <a:gd name="T51" fmla="*/ 298 h 333"/>
                <a:gd name="T52" fmla="*/ 143 w 333"/>
                <a:gd name="T53" fmla="*/ 324 h 333"/>
                <a:gd name="T54" fmla="*/ 186 w 333"/>
                <a:gd name="T55" fmla="*/ 333 h 333"/>
                <a:gd name="T56" fmla="*/ 195 w 333"/>
                <a:gd name="T57" fmla="*/ 324 h 333"/>
                <a:gd name="T58" fmla="*/ 226 w 333"/>
                <a:gd name="T59" fmla="*/ 314 h 333"/>
                <a:gd name="T60" fmla="*/ 237 w 333"/>
                <a:gd name="T61" fmla="*/ 318 h 333"/>
                <a:gd name="T62" fmla="*/ 270 w 333"/>
                <a:gd name="T63" fmla="*/ 292 h 333"/>
                <a:gd name="T64" fmla="*/ 275 w 333"/>
                <a:gd name="T65" fmla="*/ 256 h 333"/>
                <a:gd name="T66" fmla="*/ 301 w 333"/>
                <a:gd name="T67" fmla="*/ 265 h 333"/>
                <a:gd name="T68" fmla="*/ 321 w 333"/>
                <a:gd name="T69" fmla="*/ 227 h 333"/>
                <a:gd name="T70" fmla="*/ 302 w 333"/>
                <a:gd name="T71" fmla="*/ 201 h 333"/>
                <a:gd name="T72" fmla="*/ 331 w 333"/>
                <a:gd name="T73" fmla="*/ 187 h 333"/>
                <a:gd name="T74" fmla="*/ 333 w 333"/>
                <a:gd name="T75" fmla="*/ 144 h 333"/>
                <a:gd name="T76" fmla="*/ 167 w 333"/>
                <a:gd name="T77" fmla="*/ 255 h 333"/>
                <a:gd name="T78" fmla="*/ 132 w 333"/>
                <a:gd name="T79" fmla="*/ 248 h 333"/>
                <a:gd name="T80" fmla="*/ 99 w 333"/>
                <a:gd name="T81" fmla="*/ 223 h 333"/>
                <a:gd name="T82" fmla="*/ 80 w 333"/>
                <a:gd name="T83" fmla="*/ 184 h 333"/>
                <a:gd name="T84" fmla="*/ 80 w 333"/>
                <a:gd name="T85" fmla="*/ 148 h 333"/>
                <a:gd name="T86" fmla="*/ 99 w 333"/>
                <a:gd name="T87" fmla="*/ 110 h 333"/>
                <a:gd name="T88" fmla="*/ 132 w 333"/>
                <a:gd name="T89" fmla="*/ 85 h 333"/>
                <a:gd name="T90" fmla="*/ 167 w 333"/>
                <a:gd name="T91" fmla="*/ 78 h 333"/>
                <a:gd name="T92" fmla="*/ 210 w 333"/>
                <a:gd name="T93" fmla="*/ 89 h 333"/>
                <a:gd name="T94" fmla="*/ 241 w 333"/>
                <a:gd name="T95" fmla="*/ 117 h 333"/>
                <a:gd name="T96" fmla="*/ 255 w 333"/>
                <a:gd name="T97" fmla="*/ 158 h 333"/>
                <a:gd name="T98" fmla="*/ 252 w 333"/>
                <a:gd name="T99" fmla="*/ 192 h 333"/>
                <a:gd name="T100" fmla="*/ 230 w 333"/>
                <a:gd name="T101" fmla="*/ 229 h 333"/>
                <a:gd name="T102" fmla="*/ 194 w 333"/>
                <a:gd name="T103" fmla="*/ 25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3" h="333">
                  <a:moveTo>
                    <a:pt x="325" y="139"/>
                  </a:moveTo>
                  <a:lnTo>
                    <a:pt x="305" y="139"/>
                  </a:lnTo>
                  <a:lnTo>
                    <a:pt x="305" y="139"/>
                  </a:lnTo>
                  <a:lnTo>
                    <a:pt x="302" y="128"/>
                  </a:lnTo>
                  <a:lnTo>
                    <a:pt x="299" y="118"/>
                  </a:lnTo>
                  <a:lnTo>
                    <a:pt x="316" y="108"/>
                  </a:lnTo>
                  <a:lnTo>
                    <a:pt x="316" y="108"/>
                  </a:lnTo>
                  <a:lnTo>
                    <a:pt x="318" y="106"/>
                  </a:lnTo>
                  <a:lnTo>
                    <a:pt x="320" y="102"/>
                  </a:lnTo>
                  <a:lnTo>
                    <a:pt x="320" y="100"/>
                  </a:lnTo>
                  <a:lnTo>
                    <a:pt x="318" y="96"/>
                  </a:lnTo>
                  <a:lnTo>
                    <a:pt x="301" y="66"/>
                  </a:lnTo>
                  <a:lnTo>
                    <a:pt x="301" y="66"/>
                  </a:lnTo>
                  <a:lnTo>
                    <a:pt x="299" y="64"/>
                  </a:lnTo>
                  <a:lnTo>
                    <a:pt x="296" y="63"/>
                  </a:lnTo>
                  <a:lnTo>
                    <a:pt x="292" y="63"/>
                  </a:lnTo>
                  <a:lnTo>
                    <a:pt x="290" y="64"/>
                  </a:lnTo>
                  <a:lnTo>
                    <a:pt x="271" y="74"/>
                  </a:lnTo>
                  <a:lnTo>
                    <a:pt x="271" y="74"/>
                  </a:lnTo>
                  <a:lnTo>
                    <a:pt x="264" y="66"/>
                  </a:lnTo>
                  <a:lnTo>
                    <a:pt x="257" y="59"/>
                  </a:lnTo>
                  <a:lnTo>
                    <a:pt x="267" y="42"/>
                  </a:lnTo>
                  <a:lnTo>
                    <a:pt x="267" y="42"/>
                  </a:lnTo>
                  <a:lnTo>
                    <a:pt x="268" y="38"/>
                  </a:lnTo>
                  <a:lnTo>
                    <a:pt x="268" y="36"/>
                  </a:lnTo>
                  <a:lnTo>
                    <a:pt x="265" y="32"/>
                  </a:lnTo>
                  <a:lnTo>
                    <a:pt x="263" y="29"/>
                  </a:lnTo>
                  <a:lnTo>
                    <a:pt x="233" y="12"/>
                  </a:lnTo>
                  <a:lnTo>
                    <a:pt x="233" y="12"/>
                  </a:lnTo>
                  <a:lnTo>
                    <a:pt x="231" y="12"/>
                  </a:lnTo>
                  <a:lnTo>
                    <a:pt x="227" y="12"/>
                  </a:lnTo>
                  <a:lnTo>
                    <a:pt x="225" y="13"/>
                  </a:lnTo>
                  <a:lnTo>
                    <a:pt x="222" y="16"/>
                  </a:lnTo>
                  <a:lnTo>
                    <a:pt x="212" y="33"/>
                  </a:lnTo>
                  <a:lnTo>
                    <a:pt x="212" y="33"/>
                  </a:lnTo>
                  <a:lnTo>
                    <a:pt x="201" y="31"/>
                  </a:lnTo>
                  <a:lnTo>
                    <a:pt x="191" y="28"/>
                  </a:lnTo>
                  <a:lnTo>
                    <a:pt x="191" y="8"/>
                  </a:lnTo>
                  <a:lnTo>
                    <a:pt x="191" y="8"/>
                  </a:lnTo>
                  <a:lnTo>
                    <a:pt x="190" y="5"/>
                  </a:lnTo>
                  <a:lnTo>
                    <a:pt x="188" y="2"/>
                  </a:lnTo>
                  <a:lnTo>
                    <a:pt x="185" y="1"/>
                  </a:lnTo>
                  <a:lnTo>
                    <a:pt x="183" y="0"/>
                  </a:lnTo>
                  <a:lnTo>
                    <a:pt x="148" y="0"/>
                  </a:lnTo>
                  <a:lnTo>
                    <a:pt x="148" y="0"/>
                  </a:lnTo>
                  <a:lnTo>
                    <a:pt x="144" y="1"/>
                  </a:lnTo>
                  <a:lnTo>
                    <a:pt x="142" y="2"/>
                  </a:lnTo>
                  <a:lnTo>
                    <a:pt x="140" y="5"/>
                  </a:lnTo>
                  <a:lnTo>
                    <a:pt x="140" y="8"/>
                  </a:lnTo>
                  <a:lnTo>
                    <a:pt x="140" y="29"/>
                  </a:lnTo>
                  <a:lnTo>
                    <a:pt x="140" y="29"/>
                  </a:lnTo>
                  <a:lnTo>
                    <a:pt x="128" y="32"/>
                  </a:lnTo>
                  <a:lnTo>
                    <a:pt x="119" y="34"/>
                  </a:lnTo>
                  <a:lnTo>
                    <a:pt x="109" y="18"/>
                  </a:lnTo>
                  <a:lnTo>
                    <a:pt x="109" y="18"/>
                  </a:lnTo>
                  <a:lnTo>
                    <a:pt x="106" y="15"/>
                  </a:lnTo>
                  <a:lnTo>
                    <a:pt x="104" y="13"/>
                  </a:lnTo>
                  <a:lnTo>
                    <a:pt x="100" y="13"/>
                  </a:lnTo>
                  <a:lnTo>
                    <a:pt x="96" y="15"/>
                  </a:lnTo>
                  <a:lnTo>
                    <a:pt x="67" y="32"/>
                  </a:lnTo>
                  <a:lnTo>
                    <a:pt x="67" y="32"/>
                  </a:lnTo>
                  <a:lnTo>
                    <a:pt x="64" y="34"/>
                  </a:lnTo>
                  <a:lnTo>
                    <a:pt x="63" y="37"/>
                  </a:lnTo>
                  <a:lnTo>
                    <a:pt x="63" y="41"/>
                  </a:lnTo>
                  <a:lnTo>
                    <a:pt x="64" y="43"/>
                  </a:lnTo>
                  <a:lnTo>
                    <a:pt x="74" y="62"/>
                  </a:lnTo>
                  <a:lnTo>
                    <a:pt x="74" y="62"/>
                  </a:lnTo>
                  <a:lnTo>
                    <a:pt x="67" y="69"/>
                  </a:lnTo>
                  <a:lnTo>
                    <a:pt x="59" y="76"/>
                  </a:lnTo>
                  <a:lnTo>
                    <a:pt x="42" y="66"/>
                  </a:lnTo>
                  <a:lnTo>
                    <a:pt x="42" y="66"/>
                  </a:lnTo>
                  <a:lnTo>
                    <a:pt x="40" y="65"/>
                  </a:lnTo>
                  <a:lnTo>
                    <a:pt x="36" y="66"/>
                  </a:lnTo>
                  <a:lnTo>
                    <a:pt x="32" y="68"/>
                  </a:lnTo>
                  <a:lnTo>
                    <a:pt x="31" y="70"/>
                  </a:lnTo>
                  <a:lnTo>
                    <a:pt x="14" y="100"/>
                  </a:lnTo>
                  <a:lnTo>
                    <a:pt x="14" y="100"/>
                  </a:lnTo>
                  <a:lnTo>
                    <a:pt x="12" y="102"/>
                  </a:lnTo>
                  <a:lnTo>
                    <a:pt x="12" y="106"/>
                  </a:lnTo>
                  <a:lnTo>
                    <a:pt x="14" y="108"/>
                  </a:lnTo>
                  <a:lnTo>
                    <a:pt x="16" y="111"/>
                  </a:lnTo>
                  <a:lnTo>
                    <a:pt x="35" y="122"/>
                  </a:lnTo>
                  <a:lnTo>
                    <a:pt x="35" y="122"/>
                  </a:lnTo>
                  <a:lnTo>
                    <a:pt x="31" y="132"/>
                  </a:lnTo>
                  <a:lnTo>
                    <a:pt x="29" y="143"/>
                  </a:lnTo>
                  <a:lnTo>
                    <a:pt x="9" y="143"/>
                  </a:lnTo>
                  <a:lnTo>
                    <a:pt x="9" y="143"/>
                  </a:lnTo>
                  <a:lnTo>
                    <a:pt x="6" y="143"/>
                  </a:lnTo>
                  <a:lnTo>
                    <a:pt x="3" y="145"/>
                  </a:lnTo>
                  <a:lnTo>
                    <a:pt x="1" y="148"/>
                  </a:lnTo>
                  <a:lnTo>
                    <a:pt x="0" y="152"/>
                  </a:lnTo>
                  <a:lnTo>
                    <a:pt x="0" y="185"/>
                  </a:lnTo>
                  <a:lnTo>
                    <a:pt x="0" y="185"/>
                  </a:lnTo>
                  <a:lnTo>
                    <a:pt x="1" y="189"/>
                  </a:lnTo>
                  <a:lnTo>
                    <a:pt x="3" y="191"/>
                  </a:lnTo>
                  <a:lnTo>
                    <a:pt x="6" y="194"/>
                  </a:lnTo>
                  <a:lnTo>
                    <a:pt x="9" y="194"/>
                  </a:lnTo>
                  <a:lnTo>
                    <a:pt x="30" y="194"/>
                  </a:lnTo>
                  <a:lnTo>
                    <a:pt x="30" y="194"/>
                  </a:lnTo>
                  <a:lnTo>
                    <a:pt x="32" y="205"/>
                  </a:lnTo>
                  <a:lnTo>
                    <a:pt x="36" y="214"/>
                  </a:lnTo>
                  <a:lnTo>
                    <a:pt x="19" y="224"/>
                  </a:lnTo>
                  <a:lnTo>
                    <a:pt x="19" y="224"/>
                  </a:lnTo>
                  <a:lnTo>
                    <a:pt x="16" y="227"/>
                  </a:lnTo>
                  <a:lnTo>
                    <a:pt x="15" y="229"/>
                  </a:lnTo>
                  <a:lnTo>
                    <a:pt x="14" y="233"/>
                  </a:lnTo>
                  <a:lnTo>
                    <a:pt x="15" y="237"/>
                  </a:lnTo>
                  <a:lnTo>
                    <a:pt x="32" y="266"/>
                  </a:lnTo>
                  <a:lnTo>
                    <a:pt x="32" y="266"/>
                  </a:lnTo>
                  <a:lnTo>
                    <a:pt x="35" y="269"/>
                  </a:lnTo>
                  <a:lnTo>
                    <a:pt x="37" y="270"/>
                  </a:lnTo>
                  <a:lnTo>
                    <a:pt x="41" y="270"/>
                  </a:lnTo>
                  <a:lnTo>
                    <a:pt x="45" y="269"/>
                  </a:lnTo>
                  <a:lnTo>
                    <a:pt x="62" y="259"/>
                  </a:lnTo>
                  <a:lnTo>
                    <a:pt x="62" y="259"/>
                  </a:lnTo>
                  <a:lnTo>
                    <a:pt x="69" y="266"/>
                  </a:lnTo>
                  <a:lnTo>
                    <a:pt x="78" y="274"/>
                  </a:lnTo>
                  <a:lnTo>
                    <a:pt x="68" y="291"/>
                  </a:lnTo>
                  <a:lnTo>
                    <a:pt x="68" y="291"/>
                  </a:lnTo>
                  <a:lnTo>
                    <a:pt x="67" y="295"/>
                  </a:lnTo>
                  <a:lnTo>
                    <a:pt x="67" y="297"/>
                  </a:lnTo>
                  <a:lnTo>
                    <a:pt x="68" y="301"/>
                  </a:lnTo>
                  <a:lnTo>
                    <a:pt x="70" y="302"/>
                  </a:lnTo>
                  <a:lnTo>
                    <a:pt x="100" y="319"/>
                  </a:lnTo>
                  <a:lnTo>
                    <a:pt x="100" y="319"/>
                  </a:lnTo>
                  <a:lnTo>
                    <a:pt x="104" y="321"/>
                  </a:lnTo>
                  <a:lnTo>
                    <a:pt x="106" y="321"/>
                  </a:lnTo>
                  <a:lnTo>
                    <a:pt x="110" y="319"/>
                  </a:lnTo>
                  <a:lnTo>
                    <a:pt x="112" y="317"/>
                  </a:lnTo>
                  <a:lnTo>
                    <a:pt x="122" y="298"/>
                  </a:lnTo>
                  <a:lnTo>
                    <a:pt x="122" y="298"/>
                  </a:lnTo>
                  <a:lnTo>
                    <a:pt x="132" y="302"/>
                  </a:lnTo>
                  <a:lnTo>
                    <a:pt x="143" y="305"/>
                  </a:lnTo>
                  <a:lnTo>
                    <a:pt x="143" y="324"/>
                  </a:lnTo>
                  <a:lnTo>
                    <a:pt x="143" y="324"/>
                  </a:lnTo>
                  <a:lnTo>
                    <a:pt x="144" y="327"/>
                  </a:lnTo>
                  <a:lnTo>
                    <a:pt x="146" y="330"/>
                  </a:lnTo>
                  <a:lnTo>
                    <a:pt x="148" y="332"/>
                  </a:lnTo>
                  <a:lnTo>
                    <a:pt x="152" y="333"/>
                  </a:lnTo>
                  <a:lnTo>
                    <a:pt x="186" y="333"/>
                  </a:lnTo>
                  <a:lnTo>
                    <a:pt x="186" y="333"/>
                  </a:lnTo>
                  <a:lnTo>
                    <a:pt x="189" y="332"/>
                  </a:lnTo>
                  <a:lnTo>
                    <a:pt x="193" y="330"/>
                  </a:lnTo>
                  <a:lnTo>
                    <a:pt x="194" y="327"/>
                  </a:lnTo>
                  <a:lnTo>
                    <a:pt x="195" y="324"/>
                  </a:lnTo>
                  <a:lnTo>
                    <a:pt x="195" y="303"/>
                  </a:lnTo>
                  <a:lnTo>
                    <a:pt x="195" y="303"/>
                  </a:lnTo>
                  <a:lnTo>
                    <a:pt x="205" y="301"/>
                  </a:lnTo>
                  <a:lnTo>
                    <a:pt x="216" y="297"/>
                  </a:lnTo>
                  <a:lnTo>
                    <a:pt x="226" y="314"/>
                  </a:lnTo>
                  <a:lnTo>
                    <a:pt x="226" y="314"/>
                  </a:lnTo>
                  <a:lnTo>
                    <a:pt x="227" y="317"/>
                  </a:lnTo>
                  <a:lnTo>
                    <a:pt x="231" y="319"/>
                  </a:lnTo>
                  <a:lnTo>
                    <a:pt x="233" y="319"/>
                  </a:lnTo>
                  <a:lnTo>
                    <a:pt x="237" y="318"/>
                  </a:lnTo>
                  <a:lnTo>
                    <a:pt x="267" y="301"/>
                  </a:lnTo>
                  <a:lnTo>
                    <a:pt x="267" y="301"/>
                  </a:lnTo>
                  <a:lnTo>
                    <a:pt x="269" y="298"/>
                  </a:lnTo>
                  <a:lnTo>
                    <a:pt x="270" y="296"/>
                  </a:lnTo>
                  <a:lnTo>
                    <a:pt x="270" y="292"/>
                  </a:lnTo>
                  <a:lnTo>
                    <a:pt x="270" y="288"/>
                  </a:lnTo>
                  <a:lnTo>
                    <a:pt x="259" y="271"/>
                  </a:lnTo>
                  <a:lnTo>
                    <a:pt x="259" y="271"/>
                  </a:lnTo>
                  <a:lnTo>
                    <a:pt x="268" y="264"/>
                  </a:lnTo>
                  <a:lnTo>
                    <a:pt x="275" y="256"/>
                  </a:lnTo>
                  <a:lnTo>
                    <a:pt x="291" y="266"/>
                  </a:lnTo>
                  <a:lnTo>
                    <a:pt x="291" y="266"/>
                  </a:lnTo>
                  <a:lnTo>
                    <a:pt x="295" y="266"/>
                  </a:lnTo>
                  <a:lnTo>
                    <a:pt x="299" y="266"/>
                  </a:lnTo>
                  <a:lnTo>
                    <a:pt x="301" y="265"/>
                  </a:lnTo>
                  <a:lnTo>
                    <a:pt x="304" y="263"/>
                  </a:lnTo>
                  <a:lnTo>
                    <a:pt x="321" y="233"/>
                  </a:lnTo>
                  <a:lnTo>
                    <a:pt x="321" y="233"/>
                  </a:lnTo>
                  <a:lnTo>
                    <a:pt x="322" y="229"/>
                  </a:lnTo>
                  <a:lnTo>
                    <a:pt x="321" y="227"/>
                  </a:lnTo>
                  <a:lnTo>
                    <a:pt x="320" y="223"/>
                  </a:lnTo>
                  <a:lnTo>
                    <a:pt x="317" y="221"/>
                  </a:lnTo>
                  <a:lnTo>
                    <a:pt x="300" y="211"/>
                  </a:lnTo>
                  <a:lnTo>
                    <a:pt x="300" y="211"/>
                  </a:lnTo>
                  <a:lnTo>
                    <a:pt x="302" y="201"/>
                  </a:lnTo>
                  <a:lnTo>
                    <a:pt x="305" y="190"/>
                  </a:lnTo>
                  <a:lnTo>
                    <a:pt x="325" y="190"/>
                  </a:lnTo>
                  <a:lnTo>
                    <a:pt x="325" y="190"/>
                  </a:lnTo>
                  <a:lnTo>
                    <a:pt x="328" y="190"/>
                  </a:lnTo>
                  <a:lnTo>
                    <a:pt x="331" y="187"/>
                  </a:lnTo>
                  <a:lnTo>
                    <a:pt x="333" y="185"/>
                  </a:lnTo>
                  <a:lnTo>
                    <a:pt x="333" y="181"/>
                  </a:lnTo>
                  <a:lnTo>
                    <a:pt x="333" y="148"/>
                  </a:lnTo>
                  <a:lnTo>
                    <a:pt x="333" y="148"/>
                  </a:lnTo>
                  <a:lnTo>
                    <a:pt x="333" y="144"/>
                  </a:lnTo>
                  <a:lnTo>
                    <a:pt x="331" y="142"/>
                  </a:lnTo>
                  <a:lnTo>
                    <a:pt x="328" y="139"/>
                  </a:lnTo>
                  <a:lnTo>
                    <a:pt x="325" y="139"/>
                  </a:lnTo>
                  <a:lnTo>
                    <a:pt x="325" y="139"/>
                  </a:lnTo>
                  <a:close/>
                  <a:moveTo>
                    <a:pt x="167" y="255"/>
                  </a:moveTo>
                  <a:lnTo>
                    <a:pt x="167" y="255"/>
                  </a:lnTo>
                  <a:lnTo>
                    <a:pt x="158" y="254"/>
                  </a:lnTo>
                  <a:lnTo>
                    <a:pt x="149" y="253"/>
                  </a:lnTo>
                  <a:lnTo>
                    <a:pt x="141" y="251"/>
                  </a:lnTo>
                  <a:lnTo>
                    <a:pt x="132" y="248"/>
                  </a:lnTo>
                  <a:lnTo>
                    <a:pt x="125" y="244"/>
                  </a:lnTo>
                  <a:lnTo>
                    <a:pt x="117" y="240"/>
                  </a:lnTo>
                  <a:lnTo>
                    <a:pt x="110" y="234"/>
                  </a:lnTo>
                  <a:lnTo>
                    <a:pt x="104" y="229"/>
                  </a:lnTo>
                  <a:lnTo>
                    <a:pt x="99" y="223"/>
                  </a:lnTo>
                  <a:lnTo>
                    <a:pt x="94" y="216"/>
                  </a:lnTo>
                  <a:lnTo>
                    <a:pt x="89" y="208"/>
                  </a:lnTo>
                  <a:lnTo>
                    <a:pt x="85" y="201"/>
                  </a:lnTo>
                  <a:lnTo>
                    <a:pt x="83" y="192"/>
                  </a:lnTo>
                  <a:lnTo>
                    <a:pt x="80" y="184"/>
                  </a:lnTo>
                  <a:lnTo>
                    <a:pt x="79" y="175"/>
                  </a:lnTo>
                  <a:lnTo>
                    <a:pt x="78" y="166"/>
                  </a:lnTo>
                  <a:lnTo>
                    <a:pt x="78" y="166"/>
                  </a:lnTo>
                  <a:lnTo>
                    <a:pt x="79" y="158"/>
                  </a:lnTo>
                  <a:lnTo>
                    <a:pt x="80" y="148"/>
                  </a:lnTo>
                  <a:lnTo>
                    <a:pt x="83" y="140"/>
                  </a:lnTo>
                  <a:lnTo>
                    <a:pt x="85" y="132"/>
                  </a:lnTo>
                  <a:lnTo>
                    <a:pt x="89" y="124"/>
                  </a:lnTo>
                  <a:lnTo>
                    <a:pt x="94" y="117"/>
                  </a:lnTo>
                  <a:lnTo>
                    <a:pt x="99" y="110"/>
                  </a:lnTo>
                  <a:lnTo>
                    <a:pt x="104" y="103"/>
                  </a:lnTo>
                  <a:lnTo>
                    <a:pt x="110" y="97"/>
                  </a:lnTo>
                  <a:lnTo>
                    <a:pt x="117" y="92"/>
                  </a:lnTo>
                  <a:lnTo>
                    <a:pt x="125" y="89"/>
                  </a:lnTo>
                  <a:lnTo>
                    <a:pt x="132" y="85"/>
                  </a:lnTo>
                  <a:lnTo>
                    <a:pt x="141" y="81"/>
                  </a:lnTo>
                  <a:lnTo>
                    <a:pt x="149" y="79"/>
                  </a:lnTo>
                  <a:lnTo>
                    <a:pt x="158" y="78"/>
                  </a:lnTo>
                  <a:lnTo>
                    <a:pt x="167" y="78"/>
                  </a:lnTo>
                  <a:lnTo>
                    <a:pt x="167" y="78"/>
                  </a:lnTo>
                  <a:lnTo>
                    <a:pt x="177" y="78"/>
                  </a:lnTo>
                  <a:lnTo>
                    <a:pt x="185" y="79"/>
                  </a:lnTo>
                  <a:lnTo>
                    <a:pt x="194" y="81"/>
                  </a:lnTo>
                  <a:lnTo>
                    <a:pt x="201" y="85"/>
                  </a:lnTo>
                  <a:lnTo>
                    <a:pt x="210" y="89"/>
                  </a:lnTo>
                  <a:lnTo>
                    <a:pt x="216" y="92"/>
                  </a:lnTo>
                  <a:lnTo>
                    <a:pt x="223" y="97"/>
                  </a:lnTo>
                  <a:lnTo>
                    <a:pt x="230" y="103"/>
                  </a:lnTo>
                  <a:lnTo>
                    <a:pt x="236" y="110"/>
                  </a:lnTo>
                  <a:lnTo>
                    <a:pt x="241" y="117"/>
                  </a:lnTo>
                  <a:lnTo>
                    <a:pt x="246" y="124"/>
                  </a:lnTo>
                  <a:lnTo>
                    <a:pt x="249" y="132"/>
                  </a:lnTo>
                  <a:lnTo>
                    <a:pt x="252" y="140"/>
                  </a:lnTo>
                  <a:lnTo>
                    <a:pt x="254" y="148"/>
                  </a:lnTo>
                  <a:lnTo>
                    <a:pt x="255" y="158"/>
                  </a:lnTo>
                  <a:lnTo>
                    <a:pt x="255" y="166"/>
                  </a:lnTo>
                  <a:lnTo>
                    <a:pt x="255" y="166"/>
                  </a:lnTo>
                  <a:lnTo>
                    <a:pt x="255" y="175"/>
                  </a:lnTo>
                  <a:lnTo>
                    <a:pt x="254" y="184"/>
                  </a:lnTo>
                  <a:lnTo>
                    <a:pt x="252" y="192"/>
                  </a:lnTo>
                  <a:lnTo>
                    <a:pt x="249" y="201"/>
                  </a:lnTo>
                  <a:lnTo>
                    <a:pt x="246" y="208"/>
                  </a:lnTo>
                  <a:lnTo>
                    <a:pt x="241" y="216"/>
                  </a:lnTo>
                  <a:lnTo>
                    <a:pt x="236" y="223"/>
                  </a:lnTo>
                  <a:lnTo>
                    <a:pt x="230" y="229"/>
                  </a:lnTo>
                  <a:lnTo>
                    <a:pt x="223" y="234"/>
                  </a:lnTo>
                  <a:lnTo>
                    <a:pt x="216" y="240"/>
                  </a:lnTo>
                  <a:lnTo>
                    <a:pt x="210" y="244"/>
                  </a:lnTo>
                  <a:lnTo>
                    <a:pt x="201" y="248"/>
                  </a:lnTo>
                  <a:lnTo>
                    <a:pt x="194" y="251"/>
                  </a:lnTo>
                  <a:lnTo>
                    <a:pt x="185" y="253"/>
                  </a:lnTo>
                  <a:lnTo>
                    <a:pt x="177" y="254"/>
                  </a:lnTo>
                  <a:lnTo>
                    <a:pt x="167" y="255"/>
                  </a:lnTo>
                  <a:lnTo>
                    <a:pt x="167" y="255"/>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204">
              <a:extLst>
                <a:ext uri="{FF2B5EF4-FFF2-40B4-BE49-F238E27FC236}">
                  <a16:creationId xmlns:a16="http://schemas.microsoft.com/office/drawing/2014/main" id="{F739D0A8-1506-3A5F-794A-2AAA38A8E9D1}"/>
                </a:ext>
              </a:extLst>
            </p:cNvPr>
            <p:cNvSpPr>
              <a:spLocks/>
            </p:cNvSpPr>
            <p:nvPr/>
          </p:nvSpPr>
          <p:spPr bwMode="auto">
            <a:xfrm>
              <a:off x="3462338" y="317500"/>
              <a:ext cx="260350" cy="528638"/>
            </a:xfrm>
            <a:custGeom>
              <a:avLst/>
              <a:gdLst>
                <a:gd name="T0" fmla="*/ 156 w 164"/>
                <a:gd name="T1" fmla="*/ 254 h 333"/>
                <a:gd name="T2" fmla="*/ 131 w 164"/>
                <a:gd name="T3" fmla="*/ 247 h 333"/>
                <a:gd name="T4" fmla="*/ 110 w 164"/>
                <a:gd name="T5" fmla="*/ 234 h 333"/>
                <a:gd name="T6" fmla="*/ 93 w 164"/>
                <a:gd name="T7" fmla="*/ 214 h 333"/>
                <a:gd name="T8" fmla="*/ 82 w 164"/>
                <a:gd name="T9" fmla="*/ 192 h 333"/>
                <a:gd name="T10" fmla="*/ 78 w 164"/>
                <a:gd name="T11" fmla="*/ 166 h 333"/>
                <a:gd name="T12" fmla="*/ 80 w 164"/>
                <a:gd name="T13" fmla="*/ 149 h 333"/>
                <a:gd name="T14" fmla="*/ 89 w 164"/>
                <a:gd name="T15" fmla="*/ 124 h 333"/>
                <a:gd name="T16" fmla="*/ 104 w 164"/>
                <a:gd name="T17" fmla="*/ 105 h 333"/>
                <a:gd name="T18" fmla="*/ 123 w 164"/>
                <a:gd name="T19" fmla="*/ 89 h 333"/>
                <a:gd name="T20" fmla="*/ 147 w 164"/>
                <a:gd name="T21" fmla="*/ 80 h 333"/>
                <a:gd name="T22" fmla="*/ 164 w 164"/>
                <a:gd name="T23" fmla="*/ 0 h 333"/>
                <a:gd name="T24" fmla="*/ 144 w 164"/>
                <a:gd name="T25" fmla="*/ 1 h 333"/>
                <a:gd name="T26" fmla="*/ 140 w 164"/>
                <a:gd name="T27" fmla="*/ 8 h 333"/>
                <a:gd name="T28" fmla="*/ 128 w 164"/>
                <a:gd name="T29" fmla="*/ 32 h 333"/>
                <a:gd name="T30" fmla="*/ 109 w 164"/>
                <a:gd name="T31" fmla="*/ 18 h 333"/>
                <a:gd name="T32" fmla="*/ 100 w 164"/>
                <a:gd name="T33" fmla="*/ 13 h 333"/>
                <a:gd name="T34" fmla="*/ 67 w 164"/>
                <a:gd name="T35" fmla="*/ 32 h 333"/>
                <a:gd name="T36" fmla="*/ 63 w 164"/>
                <a:gd name="T37" fmla="*/ 41 h 333"/>
                <a:gd name="T38" fmla="*/ 74 w 164"/>
                <a:gd name="T39" fmla="*/ 62 h 333"/>
                <a:gd name="T40" fmla="*/ 42 w 164"/>
                <a:gd name="T41" fmla="*/ 66 h 333"/>
                <a:gd name="T42" fmla="*/ 36 w 164"/>
                <a:gd name="T43" fmla="*/ 66 h 333"/>
                <a:gd name="T44" fmla="*/ 14 w 164"/>
                <a:gd name="T45" fmla="*/ 100 h 333"/>
                <a:gd name="T46" fmla="*/ 12 w 164"/>
                <a:gd name="T47" fmla="*/ 106 h 333"/>
                <a:gd name="T48" fmla="*/ 35 w 164"/>
                <a:gd name="T49" fmla="*/ 122 h 333"/>
                <a:gd name="T50" fmla="*/ 29 w 164"/>
                <a:gd name="T51" fmla="*/ 143 h 333"/>
                <a:gd name="T52" fmla="*/ 6 w 164"/>
                <a:gd name="T53" fmla="*/ 143 h 333"/>
                <a:gd name="T54" fmla="*/ 0 w 164"/>
                <a:gd name="T55" fmla="*/ 152 h 333"/>
                <a:gd name="T56" fmla="*/ 1 w 164"/>
                <a:gd name="T57" fmla="*/ 189 h 333"/>
                <a:gd name="T58" fmla="*/ 9 w 164"/>
                <a:gd name="T59" fmla="*/ 194 h 333"/>
                <a:gd name="T60" fmla="*/ 32 w 164"/>
                <a:gd name="T61" fmla="*/ 205 h 333"/>
                <a:gd name="T62" fmla="*/ 19 w 164"/>
                <a:gd name="T63" fmla="*/ 224 h 333"/>
                <a:gd name="T64" fmla="*/ 14 w 164"/>
                <a:gd name="T65" fmla="*/ 233 h 333"/>
                <a:gd name="T66" fmla="*/ 32 w 164"/>
                <a:gd name="T67" fmla="*/ 266 h 333"/>
                <a:gd name="T68" fmla="*/ 41 w 164"/>
                <a:gd name="T69" fmla="*/ 270 h 333"/>
                <a:gd name="T70" fmla="*/ 62 w 164"/>
                <a:gd name="T71" fmla="*/ 259 h 333"/>
                <a:gd name="T72" fmla="*/ 68 w 164"/>
                <a:gd name="T73" fmla="*/ 291 h 333"/>
                <a:gd name="T74" fmla="*/ 67 w 164"/>
                <a:gd name="T75" fmla="*/ 297 h 333"/>
                <a:gd name="T76" fmla="*/ 100 w 164"/>
                <a:gd name="T77" fmla="*/ 319 h 333"/>
                <a:gd name="T78" fmla="*/ 106 w 164"/>
                <a:gd name="T79" fmla="*/ 321 h 333"/>
                <a:gd name="T80" fmla="*/ 122 w 164"/>
                <a:gd name="T81" fmla="*/ 298 h 333"/>
                <a:gd name="T82" fmla="*/ 143 w 164"/>
                <a:gd name="T83" fmla="*/ 305 h 333"/>
                <a:gd name="T84" fmla="*/ 144 w 164"/>
                <a:gd name="T85" fmla="*/ 327 h 333"/>
                <a:gd name="T86" fmla="*/ 152 w 164"/>
                <a:gd name="T87"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333">
                  <a:moveTo>
                    <a:pt x="164" y="255"/>
                  </a:moveTo>
                  <a:lnTo>
                    <a:pt x="164" y="255"/>
                  </a:lnTo>
                  <a:lnTo>
                    <a:pt x="156" y="254"/>
                  </a:lnTo>
                  <a:lnTo>
                    <a:pt x="147" y="253"/>
                  </a:lnTo>
                  <a:lnTo>
                    <a:pt x="138" y="250"/>
                  </a:lnTo>
                  <a:lnTo>
                    <a:pt x="131" y="247"/>
                  </a:lnTo>
                  <a:lnTo>
                    <a:pt x="123" y="243"/>
                  </a:lnTo>
                  <a:lnTo>
                    <a:pt x="116" y="239"/>
                  </a:lnTo>
                  <a:lnTo>
                    <a:pt x="110" y="234"/>
                  </a:lnTo>
                  <a:lnTo>
                    <a:pt x="104" y="228"/>
                  </a:lnTo>
                  <a:lnTo>
                    <a:pt x="98" y="222"/>
                  </a:lnTo>
                  <a:lnTo>
                    <a:pt x="93" y="214"/>
                  </a:lnTo>
                  <a:lnTo>
                    <a:pt x="89" y="208"/>
                  </a:lnTo>
                  <a:lnTo>
                    <a:pt x="85" y="200"/>
                  </a:lnTo>
                  <a:lnTo>
                    <a:pt x="82" y="192"/>
                  </a:lnTo>
                  <a:lnTo>
                    <a:pt x="80" y="184"/>
                  </a:lnTo>
                  <a:lnTo>
                    <a:pt x="79" y="175"/>
                  </a:lnTo>
                  <a:lnTo>
                    <a:pt x="78" y="166"/>
                  </a:lnTo>
                  <a:lnTo>
                    <a:pt x="78" y="166"/>
                  </a:lnTo>
                  <a:lnTo>
                    <a:pt x="79" y="158"/>
                  </a:lnTo>
                  <a:lnTo>
                    <a:pt x="80" y="149"/>
                  </a:lnTo>
                  <a:lnTo>
                    <a:pt x="82" y="140"/>
                  </a:lnTo>
                  <a:lnTo>
                    <a:pt x="85" y="132"/>
                  </a:lnTo>
                  <a:lnTo>
                    <a:pt x="89" y="124"/>
                  </a:lnTo>
                  <a:lnTo>
                    <a:pt x="93" y="117"/>
                  </a:lnTo>
                  <a:lnTo>
                    <a:pt x="98" y="111"/>
                  </a:lnTo>
                  <a:lnTo>
                    <a:pt x="104" y="105"/>
                  </a:lnTo>
                  <a:lnTo>
                    <a:pt x="110" y="99"/>
                  </a:lnTo>
                  <a:lnTo>
                    <a:pt x="116" y="94"/>
                  </a:lnTo>
                  <a:lnTo>
                    <a:pt x="123" y="89"/>
                  </a:lnTo>
                  <a:lnTo>
                    <a:pt x="131" y="85"/>
                  </a:lnTo>
                  <a:lnTo>
                    <a:pt x="138" y="82"/>
                  </a:lnTo>
                  <a:lnTo>
                    <a:pt x="147" y="80"/>
                  </a:lnTo>
                  <a:lnTo>
                    <a:pt x="156" y="79"/>
                  </a:lnTo>
                  <a:lnTo>
                    <a:pt x="164" y="78"/>
                  </a:lnTo>
                  <a:lnTo>
                    <a:pt x="164" y="0"/>
                  </a:lnTo>
                  <a:lnTo>
                    <a:pt x="148" y="0"/>
                  </a:lnTo>
                  <a:lnTo>
                    <a:pt x="148" y="0"/>
                  </a:lnTo>
                  <a:lnTo>
                    <a:pt x="144" y="1"/>
                  </a:lnTo>
                  <a:lnTo>
                    <a:pt x="142" y="2"/>
                  </a:lnTo>
                  <a:lnTo>
                    <a:pt x="140" y="5"/>
                  </a:lnTo>
                  <a:lnTo>
                    <a:pt x="140" y="8"/>
                  </a:lnTo>
                  <a:lnTo>
                    <a:pt x="140" y="29"/>
                  </a:lnTo>
                  <a:lnTo>
                    <a:pt x="140" y="29"/>
                  </a:lnTo>
                  <a:lnTo>
                    <a:pt x="128" y="32"/>
                  </a:lnTo>
                  <a:lnTo>
                    <a:pt x="119" y="34"/>
                  </a:lnTo>
                  <a:lnTo>
                    <a:pt x="109" y="18"/>
                  </a:lnTo>
                  <a:lnTo>
                    <a:pt x="109" y="18"/>
                  </a:lnTo>
                  <a:lnTo>
                    <a:pt x="106" y="15"/>
                  </a:lnTo>
                  <a:lnTo>
                    <a:pt x="104" y="13"/>
                  </a:lnTo>
                  <a:lnTo>
                    <a:pt x="100" y="13"/>
                  </a:lnTo>
                  <a:lnTo>
                    <a:pt x="96" y="15"/>
                  </a:lnTo>
                  <a:lnTo>
                    <a:pt x="67" y="32"/>
                  </a:lnTo>
                  <a:lnTo>
                    <a:pt x="67" y="32"/>
                  </a:lnTo>
                  <a:lnTo>
                    <a:pt x="64" y="34"/>
                  </a:lnTo>
                  <a:lnTo>
                    <a:pt x="63" y="37"/>
                  </a:lnTo>
                  <a:lnTo>
                    <a:pt x="63" y="41"/>
                  </a:lnTo>
                  <a:lnTo>
                    <a:pt x="64" y="43"/>
                  </a:lnTo>
                  <a:lnTo>
                    <a:pt x="74" y="62"/>
                  </a:lnTo>
                  <a:lnTo>
                    <a:pt x="74" y="62"/>
                  </a:lnTo>
                  <a:lnTo>
                    <a:pt x="67" y="69"/>
                  </a:lnTo>
                  <a:lnTo>
                    <a:pt x="59" y="76"/>
                  </a:lnTo>
                  <a:lnTo>
                    <a:pt x="42" y="66"/>
                  </a:lnTo>
                  <a:lnTo>
                    <a:pt x="42" y="66"/>
                  </a:lnTo>
                  <a:lnTo>
                    <a:pt x="40" y="65"/>
                  </a:lnTo>
                  <a:lnTo>
                    <a:pt x="36" y="66"/>
                  </a:lnTo>
                  <a:lnTo>
                    <a:pt x="32" y="68"/>
                  </a:lnTo>
                  <a:lnTo>
                    <a:pt x="31" y="70"/>
                  </a:lnTo>
                  <a:lnTo>
                    <a:pt x="14" y="100"/>
                  </a:lnTo>
                  <a:lnTo>
                    <a:pt x="14" y="100"/>
                  </a:lnTo>
                  <a:lnTo>
                    <a:pt x="12" y="102"/>
                  </a:lnTo>
                  <a:lnTo>
                    <a:pt x="12" y="106"/>
                  </a:lnTo>
                  <a:lnTo>
                    <a:pt x="14" y="108"/>
                  </a:lnTo>
                  <a:lnTo>
                    <a:pt x="16" y="111"/>
                  </a:lnTo>
                  <a:lnTo>
                    <a:pt x="35" y="122"/>
                  </a:lnTo>
                  <a:lnTo>
                    <a:pt x="35" y="122"/>
                  </a:lnTo>
                  <a:lnTo>
                    <a:pt x="31" y="132"/>
                  </a:lnTo>
                  <a:lnTo>
                    <a:pt x="29" y="143"/>
                  </a:lnTo>
                  <a:lnTo>
                    <a:pt x="9" y="143"/>
                  </a:lnTo>
                  <a:lnTo>
                    <a:pt x="9" y="143"/>
                  </a:lnTo>
                  <a:lnTo>
                    <a:pt x="6" y="143"/>
                  </a:lnTo>
                  <a:lnTo>
                    <a:pt x="3" y="145"/>
                  </a:lnTo>
                  <a:lnTo>
                    <a:pt x="1" y="148"/>
                  </a:lnTo>
                  <a:lnTo>
                    <a:pt x="0" y="152"/>
                  </a:lnTo>
                  <a:lnTo>
                    <a:pt x="0" y="185"/>
                  </a:lnTo>
                  <a:lnTo>
                    <a:pt x="0" y="185"/>
                  </a:lnTo>
                  <a:lnTo>
                    <a:pt x="1" y="189"/>
                  </a:lnTo>
                  <a:lnTo>
                    <a:pt x="3" y="191"/>
                  </a:lnTo>
                  <a:lnTo>
                    <a:pt x="6" y="194"/>
                  </a:lnTo>
                  <a:lnTo>
                    <a:pt x="9" y="194"/>
                  </a:lnTo>
                  <a:lnTo>
                    <a:pt x="30" y="194"/>
                  </a:lnTo>
                  <a:lnTo>
                    <a:pt x="30" y="194"/>
                  </a:lnTo>
                  <a:lnTo>
                    <a:pt x="32" y="205"/>
                  </a:lnTo>
                  <a:lnTo>
                    <a:pt x="36" y="214"/>
                  </a:lnTo>
                  <a:lnTo>
                    <a:pt x="19" y="224"/>
                  </a:lnTo>
                  <a:lnTo>
                    <a:pt x="19" y="224"/>
                  </a:lnTo>
                  <a:lnTo>
                    <a:pt x="16" y="227"/>
                  </a:lnTo>
                  <a:lnTo>
                    <a:pt x="15" y="229"/>
                  </a:lnTo>
                  <a:lnTo>
                    <a:pt x="14" y="233"/>
                  </a:lnTo>
                  <a:lnTo>
                    <a:pt x="15" y="237"/>
                  </a:lnTo>
                  <a:lnTo>
                    <a:pt x="32" y="266"/>
                  </a:lnTo>
                  <a:lnTo>
                    <a:pt x="32" y="266"/>
                  </a:lnTo>
                  <a:lnTo>
                    <a:pt x="35" y="269"/>
                  </a:lnTo>
                  <a:lnTo>
                    <a:pt x="37" y="270"/>
                  </a:lnTo>
                  <a:lnTo>
                    <a:pt x="41" y="270"/>
                  </a:lnTo>
                  <a:lnTo>
                    <a:pt x="45" y="269"/>
                  </a:lnTo>
                  <a:lnTo>
                    <a:pt x="62" y="259"/>
                  </a:lnTo>
                  <a:lnTo>
                    <a:pt x="62" y="259"/>
                  </a:lnTo>
                  <a:lnTo>
                    <a:pt x="69" y="266"/>
                  </a:lnTo>
                  <a:lnTo>
                    <a:pt x="78" y="274"/>
                  </a:lnTo>
                  <a:lnTo>
                    <a:pt x="68" y="291"/>
                  </a:lnTo>
                  <a:lnTo>
                    <a:pt x="68" y="291"/>
                  </a:lnTo>
                  <a:lnTo>
                    <a:pt x="67" y="295"/>
                  </a:lnTo>
                  <a:lnTo>
                    <a:pt x="67" y="297"/>
                  </a:lnTo>
                  <a:lnTo>
                    <a:pt x="68" y="301"/>
                  </a:lnTo>
                  <a:lnTo>
                    <a:pt x="70" y="302"/>
                  </a:lnTo>
                  <a:lnTo>
                    <a:pt x="100" y="319"/>
                  </a:lnTo>
                  <a:lnTo>
                    <a:pt x="100" y="319"/>
                  </a:lnTo>
                  <a:lnTo>
                    <a:pt x="104" y="321"/>
                  </a:lnTo>
                  <a:lnTo>
                    <a:pt x="106" y="321"/>
                  </a:lnTo>
                  <a:lnTo>
                    <a:pt x="110" y="319"/>
                  </a:lnTo>
                  <a:lnTo>
                    <a:pt x="112" y="317"/>
                  </a:lnTo>
                  <a:lnTo>
                    <a:pt x="122" y="298"/>
                  </a:lnTo>
                  <a:lnTo>
                    <a:pt x="122" y="298"/>
                  </a:lnTo>
                  <a:lnTo>
                    <a:pt x="132" y="302"/>
                  </a:lnTo>
                  <a:lnTo>
                    <a:pt x="143" y="305"/>
                  </a:lnTo>
                  <a:lnTo>
                    <a:pt x="143" y="324"/>
                  </a:lnTo>
                  <a:lnTo>
                    <a:pt x="143" y="324"/>
                  </a:lnTo>
                  <a:lnTo>
                    <a:pt x="144" y="327"/>
                  </a:lnTo>
                  <a:lnTo>
                    <a:pt x="146" y="330"/>
                  </a:lnTo>
                  <a:lnTo>
                    <a:pt x="148" y="332"/>
                  </a:lnTo>
                  <a:lnTo>
                    <a:pt x="152" y="333"/>
                  </a:lnTo>
                  <a:lnTo>
                    <a:pt x="164" y="333"/>
                  </a:lnTo>
                  <a:lnTo>
                    <a:pt x="164" y="255"/>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206">
              <a:extLst>
                <a:ext uri="{FF2B5EF4-FFF2-40B4-BE49-F238E27FC236}">
                  <a16:creationId xmlns:a16="http://schemas.microsoft.com/office/drawing/2014/main" id="{FF683ECF-EBE6-CB47-3721-4AAB2773360E}"/>
                </a:ext>
              </a:extLst>
            </p:cNvPr>
            <p:cNvSpPr>
              <a:spLocks noEditPoints="1"/>
            </p:cNvSpPr>
            <p:nvPr/>
          </p:nvSpPr>
          <p:spPr bwMode="auto">
            <a:xfrm>
              <a:off x="3556000" y="409575"/>
              <a:ext cx="342900" cy="344488"/>
            </a:xfrm>
            <a:custGeom>
              <a:avLst/>
              <a:gdLst>
                <a:gd name="T0" fmla="*/ 97 w 216"/>
                <a:gd name="T1" fmla="*/ 1 h 217"/>
                <a:gd name="T2" fmla="*/ 66 w 216"/>
                <a:gd name="T3" fmla="*/ 8 h 217"/>
                <a:gd name="T4" fmla="*/ 40 w 216"/>
                <a:gd name="T5" fmla="*/ 24 h 217"/>
                <a:gd name="T6" fmla="*/ 19 w 216"/>
                <a:gd name="T7" fmla="*/ 48 h 217"/>
                <a:gd name="T8" fmla="*/ 5 w 216"/>
                <a:gd name="T9" fmla="*/ 76 h 217"/>
                <a:gd name="T10" fmla="*/ 0 w 216"/>
                <a:gd name="T11" fmla="*/ 108 h 217"/>
                <a:gd name="T12" fmla="*/ 2 w 216"/>
                <a:gd name="T13" fmla="*/ 131 h 217"/>
                <a:gd name="T14" fmla="*/ 13 w 216"/>
                <a:gd name="T15" fmla="*/ 160 h 217"/>
                <a:gd name="T16" fmla="*/ 31 w 216"/>
                <a:gd name="T17" fmla="*/ 185 h 217"/>
                <a:gd name="T18" fmla="*/ 56 w 216"/>
                <a:gd name="T19" fmla="*/ 203 h 217"/>
                <a:gd name="T20" fmla="*/ 87 w 216"/>
                <a:gd name="T21" fmla="*/ 214 h 217"/>
                <a:gd name="T22" fmla="*/ 108 w 216"/>
                <a:gd name="T23" fmla="*/ 217 h 217"/>
                <a:gd name="T24" fmla="*/ 140 w 216"/>
                <a:gd name="T25" fmla="*/ 212 h 217"/>
                <a:gd name="T26" fmla="*/ 168 w 216"/>
                <a:gd name="T27" fmla="*/ 198 h 217"/>
                <a:gd name="T28" fmla="*/ 192 w 216"/>
                <a:gd name="T29" fmla="*/ 177 h 217"/>
                <a:gd name="T30" fmla="*/ 208 w 216"/>
                <a:gd name="T31" fmla="*/ 150 h 217"/>
                <a:gd name="T32" fmla="*/ 215 w 216"/>
                <a:gd name="T33" fmla="*/ 119 h 217"/>
                <a:gd name="T34" fmla="*/ 215 w 216"/>
                <a:gd name="T35" fmla="*/ 97 h 217"/>
                <a:gd name="T36" fmla="*/ 208 w 216"/>
                <a:gd name="T37" fmla="*/ 66 h 217"/>
                <a:gd name="T38" fmla="*/ 192 w 216"/>
                <a:gd name="T39" fmla="*/ 39 h 217"/>
                <a:gd name="T40" fmla="*/ 168 w 216"/>
                <a:gd name="T41" fmla="*/ 18 h 217"/>
                <a:gd name="T42" fmla="*/ 140 w 216"/>
                <a:gd name="T43" fmla="*/ 5 h 217"/>
                <a:gd name="T44" fmla="*/ 108 w 216"/>
                <a:gd name="T45" fmla="*/ 0 h 217"/>
                <a:gd name="T46" fmla="*/ 108 w 216"/>
                <a:gd name="T47" fmla="*/ 197 h 217"/>
                <a:gd name="T48" fmla="*/ 82 w 216"/>
                <a:gd name="T49" fmla="*/ 193 h 217"/>
                <a:gd name="T50" fmla="*/ 58 w 216"/>
                <a:gd name="T51" fmla="*/ 182 h 217"/>
                <a:gd name="T52" fmla="*/ 40 w 216"/>
                <a:gd name="T53" fmla="*/ 165 h 217"/>
                <a:gd name="T54" fmla="*/ 26 w 216"/>
                <a:gd name="T55" fmla="*/ 143 h 217"/>
                <a:gd name="T56" fmla="*/ 20 w 216"/>
                <a:gd name="T57" fmla="*/ 117 h 217"/>
                <a:gd name="T58" fmla="*/ 20 w 216"/>
                <a:gd name="T59" fmla="*/ 100 h 217"/>
                <a:gd name="T60" fmla="*/ 26 w 216"/>
                <a:gd name="T61" fmla="*/ 74 h 217"/>
                <a:gd name="T62" fmla="*/ 40 w 216"/>
                <a:gd name="T63" fmla="*/ 52 h 217"/>
                <a:gd name="T64" fmla="*/ 58 w 216"/>
                <a:gd name="T65" fmla="*/ 34 h 217"/>
                <a:gd name="T66" fmla="*/ 82 w 216"/>
                <a:gd name="T67" fmla="*/ 23 h 217"/>
                <a:gd name="T68" fmla="*/ 108 w 216"/>
                <a:gd name="T69" fmla="*/ 20 h 217"/>
                <a:gd name="T70" fmla="*/ 126 w 216"/>
                <a:gd name="T71" fmla="*/ 21 h 217"/>
                <a:gd name="T72" fmla="*/ 151 w 216"/>
                <a:gd name="T73" fmla="*/ 31 h 217"/>
                <a:gd name="T74" fmla="*/ 171 w 216"/>
                <a:gd name="T75" fmla="*/ 45 h 217"/>
                <a:gd name="T76" fmla="*/ 187 w 216"/>
                <a:gd name="T77" fmla="*/ 66 h 217"/>
                <a:gd name="T78" fmla="*/ 195 w 216"/>
                <a:gd name="T79" fmla="*/ 90 h 217"/>
                <a:gd name="T80" fmla="*/ 196 w 216"/>
                <a:gd name="T81" fmla="*/ 108 h 217"/>
                <a:gd name="T82" fmla="*/ 193 w 216"/>
                <a:gd name="T83" fmla="*/ 134 h 217"/>
                <a:gd name="T84" fmla="*/ 182 w 216"/>
                <a:gd name="T85" fmla="*/ 158 h 217"/>
                <a:gd name="T86" fmla="*/ 164 w 216"/>
                <a:gd name="T87" fmla="*/ 176 h 217"/>
                <a:gd name="T88" fmla="*/ 142 w 216"/>
                <a:gd name="T89" fmla="*/ 190 h 217"/>
                <a:gd name="T90" fmla="*/ 118 w 216"/>
                <a:gd name="T91" fmla="*/ 19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6" h="217">
                  <a:moveTo>
                    <a:pt x="108" y="0"/>
                  </a:moveTo>
                  <a:lnTo>
                    <a:pt x="108" y="0"/>
                  </a:lnTo>
                  <a:lnTo>
                    <a:pt x="97" y="1"/>
                  </a:lnTo>
                  <a:lnTo>
                    <a:pt x="87" y="2"/>
                  </a:lnTo>
                  <a:lnTo>
                    <a:pt x="76" y="5"/>
                  </a:lnTo>
                  <a:lnTo>
                    <a:pt x="66" y="8"/>
                  </a:lnTo>
                  <a:lnTo>
                    <a:pt x="56" y="13"/>
                  </a:lnTo>
                  <a:lnTo>
                    <a:pt x="47" y="18"/>
                  </a:lnTo>
                  <a:lnTo>
                    <a:pt x="40" y="24"/>
                  </a:lnTo>
                  <a:lnTo>
                    <a:pt x="31" y="32"/>
                  </a:lnTo>
                  <a:lnTo>
                    <a:pt x="25" y="39"/>
                  </a:lnTo>
                  <a:lnTo>
                    <a:pt x="19" y="48"/>
                  </a:lnTo>
                  <a:lnTo>
                    <a:pt x="13" y="57"/>
                  </a:lnTo>
                  <a:lnTo>
                    <a:pt x="9" y="66"/>
                  </a:lnTo>
                  <a:lnTo>
                    <a:pt x="5" y="76"/>
                  </a:lnTo>
                  <a:lnTo>
                    <a:pt x="2" y="86"/>
                  </a:lnTo>
                  <a:lnTo>
                    <a:pt x="0" y="97"/>
                  </a:lnTo>
                  <a:lnTo>
                    <a:pt x="0" y="108"/>
                  </a:lnTo>
                  <a:lnTo>
                    <a:pt x="0" y="108"/>
                  </a:lnTo>
                  <a:lnTo>
                    <a:pt x="0" y="119"/>
                  </a:lnTo>
                  <a:lnTo>
                    <a:pt x="2" y="131"/>
                  </a:lnTo>
                  <a:lnTo>
                    <a:pt x="5" y="140"/>
                  </a:lnTo>
                  <a:lnTo>
                    <a:pt x="9" y="150"/>
                  </a:lnTo>
                  <a:lnTo>
                    <a:pt x="13" y="160"/>
                  </a:lnTo>
                  <a:lnTo>
                    <a:pt x="19" y="169"/>
                  </a:lnTo>
                  <a:lnTo>
                    <a:pt x="25" y="177"/>
                  </a:lnTo>
                  <a:lnTo>
                    <a:pt x="31" y="185"/>
                  </a:lnTo>
                  <a:lnTo>
                    <a:pt x="40" y="191"/>
                  </a:lnTo>
                  <a:lnTo>
                    <a:pt x="47" y="198"/>
                  </a:lnTo>
                  <a:lnTo>
                    <a:pt x="56" y="203"/>
                  </a:lnTo>
                  <a:lnTo>
                    <a:pt x="66" y="208"/>
                  </a:lnTo>
                  <a:lnTo>
                    <a:pt x="76" y="212"/>
                  </a:lnTo>
                  <a:lnTo>
                    <a:pt x="87" y="214"/>
                  </a:lnTo>
                  <a:lnTo>
                    <a:pt x="97" y="216"/>
                  </a:lnTo>
                  <a:lnTo>
                    <a:pt x="108" y="217"/>
                  </a:lnTo>
                  <a:lnTo>
                    <a:pt x="108" y="217"/>
                  </a:lnTo>
                  <a:lnTo>
                    <a:pt x="119" y="216"/>
                  </a:lnTo>
                  <a:lnTo>
                    <a:pt x="130" y="214"/>
                  </a:lnTo>
                  <a:lnTo>
                    <a:pt x="140" y="212"/>
                  </a:lnTo>
                  <a:lnTo>
                    <a:pt x="150" y="208"/>
                  </a:lnTo>
                  <a:lnTo>
                    <a:pt x="159" y="203"/>
                  </a:lnTo>
                  <a:lnTo>
                    <a:pt x="168" y="198"/>
                  </a:lnTo>
                  <a:lnTo>
                    <a:pt x="177" y="191"/>
                  </a:lnTo>
                  <a:lnTo>
                    <a:pt x="184" y="185"/>
                  </a:lnTo>
                  <a:lnTo>
                    <a:pt x="192" y="177"/>
                  </a:lnTo>
                  <a:lnTo>
                    <a:pt x="198" y="169"/>
                  </a:lnTo>
                  <a:lnTo>
                    <a:pt x="203" y="160"/>
                  </a:lnTo>
                  <a:lnTo>
                    <a:pt x="208" y="150"/>
                  </a:lnTo>
                  <a:lnTo>
                    <a:pt x="211" y="140"/>
                  </a:lnTo>
                  <a:lnTo>
                    <a:pt x="214" y="131"/>
                  </a:lnTo>
                  <a:lnTo>
                    <a:pt x="215" y="119"/>
                  </a:lnTo>
                  <a:lnTo>
                    <a:pt x="216" y="108"/>
                  </a:lnTo>
                  <a:lnTo>
                    <a:pt x="216" y="108"/>
                  </a:lnTo>
                  <a:lnTo>
                    <a:pt x="215" y="97"/>
                  </a:lnTo>
                  <a:lnTo>
                    <a:pt x="214" y="86"/>
                  </a:lnTo>
                  <a:lnTo>
                    <a:pt x="211" y="76"/>
                  </a:lnTo>
                  <a:lnTo>
                    <a:pt x="208" y="66"/>
                  </a:lnTo>
                  <a:lnTo>
                    <a:pt x="203" y="57"/>
                  </a:lnTo>
                  <a:lnTo>
                    <a:pt x="198" y="48"/>
                  </a:lnTo>
                  <a:lnTo>
                    <a:pt x="192" y="39"/>
                  </a:lnTo>
                  <a:lnTo>
                    <a:pt x="184" y="32"/>
                  </a:lnTo>
                  <a:lnTo>
                    <a:pt x="177" y="24"/>
                  </a:lnTo>
                  <a:lnTo>
                    <a:pt x="168" y="18"/>
                  </a:lnTo>
                  <a:lnTo>
                    <a:pt x="159" y="13"/>
                  </a:lnTo>
                  <a:lnTo>
                    <a:pt x="150" y="8"/>
                  </a:lnTo>
                  <a:lnTo>
                    <a:pt x="140" y="5"/>
                  </a:lnTo>
                  <a:lnTo>
                    <a:pt x="130" y="2"/>
                  </a:lnTo>
                  <a:lnTo>
                    <a:pt x="119" y="1"/>
                  </a:lnTo>
                  <a:lnTo>
                    <a:pt x="108" y="0"/>
                  </a:lnTo>
                  <a:lnTo>
                    <a:pt x="108" y="0"/>
                  </a:lnTo>
                  <a:close/>
                  <a:moveTo>
                    <a:pt x="108" y="197"/>
                  </a:moveTo>
                  <a:lnTo>
                    <a:pt x="108" y="197"/>
                  </a:lnTo>
                  <a:lnTo>
                    <a:pt x="99" y="196"/>
                  </a:lnTo>
                  <a:lnTo>
                    <a:pt x="90" y="195"/>
                  </a:lnTo>
                  <a:lnTo>
                    <a:pt x="82" y="193"/>
                  </a:lnTo>
                  <a:lnTo>
                    <a:pt x="73" y="190"/>
                  </a:lnTo>
                  <a:lnTo>
                    <a:pt x="66" y="186"/>
                  </a:lnTo>
                  <a:lnTo>
                    <a:pt x="58" y="182"/>
                  </a:lnTo>
                  <a:lnTo>
                    <a:pt x="51" y="176"/>
                  </a:lnTo>
                  <a:lnTo>
                    <a:pt x="45" y="171"/>
                  </a:lnTo>
                  <a:lnTo>
                    <a:pt x="40" y="165"/>
                  </a:lnTo>
                  <a:lnTo>
                    <a:pt x="35" y="158"/>
                  </a:lnTo>
                  <a:lnTo>
                    <a:pt x="30" y="150"/>
                  </a:lnTo>
                  <a:lnTo>
                    <a:pt x="26" y="143"/>
                  </a:lnTo>
                  <a:lnTo>
                    <a:pt x="24" y="134"/>
                  </a:lnTo>
                  <a:lnTo>
                    <a:pt x="21" y="126"/>
                  </a:lnTo>
                  <a:lnTo>
                    <a:pt x="20" y="117"/>
                  </a:lnTo>
                  <a:lnTo>
                    <a:pt x="19" y="108"/>
                  </a:lnTo>
                  <a:lnTo>
                    <a:pt x="19" y="108"/>
                  </a:lnTo>
                  <a:lnTo>
                    <a:pt x="20" y="100"/>
                  </a:lnTo>
                  <a:lnTo>
                    <a:pt x="21" y="90"/>
                  </a:lnTo>
                  <a:lnTo>
                    <a:pt x="24" y="82"/>
                  </a:lnTo>
                  <a:lnTo>
                    <a:pt x="26" y="74"/>
                  </a:lnTo>
                  <a:lnTo>
                    <a:pt x="30" y="66"/>
                  </a:lnTo>
                  <a:lnTo>
                    <a:pt x="35" y="59"/>
                  </a:lnTo>
                  <a:lnTo>
                    <a:pt x="40" y="52"/>
                  </a:lnTo>
                  <a:lnTo>
                    <a:pt x="45" y="45"/>
                  </a:lnTo>
                  <a:lnTo>
                    <a:pt x="51" y="39"/>
                  </a:lnTo>
                  <a:lnTo>
                    <a:pt x="58" y="34"/>
                  </a:lnTo>
                  <a:lnTo>
                    <a:pt x="66" y="31"/>
                  </a:lnTo>
                  <a:lnTo>
                    <a:pt x="73" y="27"/>
                  </a:lnTo>
                  <a:lnTo>
                    <a:pt x="82" y="23"/>
                  </a:lnTo>
                  <a:lnTo>
                    <a:pt x="90" y="21"/>
                  </a:lnTo>
                  <a:lnTo>
                    <a:pt x="99" y="20"/>
                  </a:lnTo>
                  <a:lnTo>
                    <a:pt x="108" y="20"/>
                  </a:lnTo>
                  <a:lnTo>
                    <a:pt x="108" y="20"/>
                  </a:lnTo>
                  <a:lnTo>
                    <a:pt x="118" y="20"/>
                  </a:lnTo>
                  <a:lnTo>
                    <a:pt x="126" y="21"/>
                  </a:lnTo>
                  <a:lnTo>
                    <a:pt x="135" y="23"/>
                  </a:lnTo>
                  <a:lnTo>
                    <a:pt x="142" y="27"/>
                  </a:lnTo>
                  <a:lnTo>
                    <a:pt x="151" y="31"/>
                  </a:lnTo>
                  <a:lnTo>
                    <a:pt x="157" y="34"/>
                  </a:lnTo>
                  <a:lnTo>
                    <a:pt x="164" y="39"/>
                  </a:lnTo>
                  <a:lnTo>
                    <a:pt x="171" y="45"/>
                  </a:lnTo>
                  <a:lnTo>
                    <a:pt x="177" y="52"/>
                  </a:lnTo>
                  <a:lnTo>
                    <a:pt x="182" y="59"/>
                  </a:lnTo>
                  <a:lnTo>
                    <a:pt x="187" y="66"/>
                  </a:lnTo>
                  <a:lnTo>
                    <a:pt x="190" y="74"/>
                  </a:lnTo>
                  <a:lnTo>
                    <a:pt x="193" y="82"/>
                  </a:lnTo>
                  <a:lnTo>
                    <a:pt x="195" y="90"/>
                  </a:lnTo>
                  <a:lnTo>
                    <a:pt x="196" y="100"/>
                  </a:lnTo>
                  <a:lnTo>
                    <a:pt x="196" y="108"/>
                  </a:lnTo>
                  <a:lnTo>
                    <a:pt x="196" y="108"/>
                  </a:lnTo>
                  <a:lnTo>
                    <a:pt x="196" y="117"/>
                  </a:lnTo>
                  <a:lnTo>
                    <a:pt x="195" y="126"/>
                  </a:lnTo>
                  <a:lnTo>
                    <a:pt x="193" y="134"/>
                  </a:lnTo>
                  <a:lnTo>
                    <a:pt x="190" y="143"/>
                  </a:lnTo>
                  <a:lnTo>
                    <a:pt x="187" y="150"/>
                  </a:lnTo>
                  <a:lnTo>
                    <a:pt x="182" y="158"/>
                  </a:lnTo>
                  <a:lnTo>
                    <a:pt x="177" y="165"/>
                  </a:lnTo>
                  <a:lnTo>
                    <a:pt x="171" y="171"/>
                  </a:lnTo>
                  <a:lnTo>
                    <a:pt x="164" y="176"/>
                  </a:lnTo>
                  <a:lnTo>
                    <a:pt x="157" y="182"/>
                  </a:lnTo>
                  <a:lnTo>
                    <a:pt x="151" y="186"/>
                  </a:lnTo>
                  <a:lnTo>
                    <a:pt x="142" y="190"/>
                  </a:lnTo>
                  <a:lnTo>
                    <a:pt x="135" y="193"/>
                  </a:lnTo>
                  <a:lnTo>
                    <a:pt x="126" y="195"/>
                  </a:lnTo>
                  <a:lnTo>
                    <a:pt x="118" y="196"/>
                  </a:lnTo>
                  <a:lnTo>
                    <a:pt x="108" y="197"/>
                  </a:lnTo>
                  <a:lnTo>
                    <a:pt x="108" y="197"/>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207">
              <a:extLst>
                <a:ext uri="{FF2B5EF4-FFF2-40B4-BE49-F238E27FC236}">
                  <a16:creationId xmlns:a16="http://schemas.microsoft.com/office/drawing/2014/main" id="{8329FA94-E09D-7B48-82CC-C89FA4FC7883}"/>
                </a:ext>
              </a:extLst>
            </p:cNvPr>
            <p:cNvSpPr>
              <a:spLocks/>
            </p:cNvSpPr>
            <p:nvPr/>
          </p:nvSpPr>
          <p:spPr bwMode="auto">
            <a:xfrm>
              <a:off x="3722688" y="409575"/>
              <a:ext cx="176213" cy="344488"/>
            </a:xfrm>
            <a:custGeom>
              <a:avLst/>
              <a:gdLst>
                <a:gd name="T0" fmla="*/ 3 w 111"/>
                <a:gd name="T1" fmla="*/ 0 h 217"/>
                <a:gd name="T2" fmla="*/ 0 w 111"/>
                <a:gd name="T3" fmla="*/ 20 h 217"/>
                <a:gd name="T4" fmla="*/ 3 w 111"/>
                <a:gd name="T5" fmla="*/ 20 h 217"/>
                <a:gd name="T6" fmla="*/ 13 w 111"/>
                <a:gd name="T7" fmla="*/ 20 h 217"/>
                <a:gd name="T8" fmla="*/ 30 w 111"/>
                <a:gd name="T9" fmla="*/ 23 h 217"/>
                <a:gd name="T10" fmla="*/ 46 w 111"/>
                <a:gd name="T11" fmla="*/ 31 h 217"/>
                <a:gd name="T12" fmla="*/ 59 w 111"/>
                <a:gd name="T13" fmla="*/ 39 h 217"/>
                <a:gd name="T14" fmla="*/ 72 w 111"/>
                <a:gd name="T15" fmla="*/ 52 h 217"/>
                <a:gd name="T16" fmla="*/ 82 w 111"/>
                <a:gd name="T17" fmla="*/ 66 h 217"/>
                <a:gd name="T18" fmla="*/ 88 w 111"/>
                <a:gd name="T19" fmla="*/ 82 h 217"/>
                <a:gd name="T20" fmla="*/ 91 w 111"/>
                <a:gd name="T21" fmla="*/ 100 h 217"/>
                <a:gd name="T22" fmla="*/ 91 w 111"/>
                <a:gd name="T23" fmla="*/ 108 h 217"/>
                <a:gd name="T24" fmla="*/ 90 w 111"/>
                <a:gd name="T25" fmla="*/ 126 h 217"/>
                <a:gd name="T26" fmla="*/ 85 w 111"/>
                <a:gd name="T27" fmla="*/ 143 h 217"/>
                <a:gd name="T28" fmla="*/ 77 w 111"/>
                <a:gd name="T29" fmla="*/ 158 h 217"/>
                <a:gd name="T30" fmla="*/ 66 w 111"/>
                <a:gd name="T31" fmla="*/ 171 h 217"/>
                <a:gd name="T32" fmla="*/ 52 w 111"/>
                <a:gd name="T33" fmla="*/ 182 h 217"/>
                <a:gd name="T34" fmla="*/ 37 w 111"/>
                <a:gd name="T35" fmla="*/ 190 h 217"/>
                <a:gd name="T36" fmla="*/ 21 w 111"/>
                <a:gd name="T37" fmla="*/ 195 h 217"/>
                <a:gd name="T38" fmla="*/ 3 w 111"/>
                <a:gd name="T39" fmla="*/ 197 h 217"/>
                <a:gd name="T40" fmla="*/ 0 w 111"/>
                <a:gd name="T41" fmla="*/ 197 h 217"/>
                <a:gd name="T42" fmla="*/ 0 w 111"/>
                <a:gd name="T43" fmla="*/ 216 h 217"/>
                <a:gd name="T44" fmla="*/ 3 w 111"/>
                <a:gd name="T45" fmla="*/ 217 h 217"/>
                <a:gd name="T46" fmla="*/ 25 w 111"/>
                <a:gd name="T47" fmla="*/ 214 h 217"/>
                <a:gd name="T48" fmla="*/ 45 w 111"/>
                <a:gd name="T49" fmla="*/ 208 h 217"/>
                <a:gd name="T50" fmla="*/ 63 w 111"/>
                <a:gd name="T51" fmla="*/ 198 h 217"/>
                <a:gd name="T52" fmla="*/ 79 w 111"/>
                <a:gd name="T53" fmla="*/ 185 h 217"/>
                <a:gd name="T54" fmla="*/ 93 w 111"/>
                <a:gd name="T55" fmla="*/ 169 h 217"/>
                <a:gd name="T56" fmla="*/ 103 w 111"/>
                <a:gd name="T57" fmla="*/ 150 h 217"/>
                <a:gd name="T58" fmla="*/ 109 w 111"/>
                <a:gd name="T59" fmla="*/ 131 h 217"/>
                <a:gd name="T60" fmla="*/ 111 w 111"/>
                <a:gd name="T61" fmla="*/ 108 h 217"/>
                <a:gd name="T62" fmla="*/ 110 w 111"/>
                <a:gd name="T63" fmla="*/ 97 h 217"/>
                <a:gd name="T64" fmla="*/ 106 w 111"/>
                <a:gd name="T65" fmla="*/ 76 h 217"/>
                <a:gd name="T66" fmla="*/ 98 w 111"/>
                <a:gd name="T67" fmla="*/ 57 h 217"/>
                <a:gd name="T68" fmla="*/ 87 w 111"/>
                <a:gd name="T69" fmla="*/ 39 h 217"/>
                <a:gd name="T70" fmla="*/ 72 w 111"/>
                <a:gd name="T71" fmla="*/ 24 h 217"/>
                <a:gd name="T72" fmla="*/ 54 w 111"/>
                <a:gd name="T73" fmla="*/ 13 h 217"/>
                <a:gd name="T74" fmla="*/ 35 w 111"/>
                <a:gd name="T75" fmla="*/ 5 h 217"/>
                <a:gd name="T76" fmla="*/ 14 w 111"/>
                <a:gd name="T77" fmla="*/ 1 h 217"/>
                <a:gd name="T78" fmla="*/ 3 w 111"/>
                <a:gd name="T7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1" h="217">
                  <a:moveTo>
                    <a:pt x="3" y="0"/>
                  </a:moveTo>
                  <a:lnTo>
                    <a:pt x="3" y="0"/>
                  </a:lnTo>
                  <a:lnTo>
                    <a:pt x="0" y="0"/>
                  </a:lnTo>
                  <a:lnTo>
                    <a:pt x="0" y="20"/>
                  </a:lnTo>
                  <a:lnTo>
                    <a:pt x="0" y="20"/>
                  </a:lnTo>
                  <a:lnTo>
                    <a:pt x="3" y="20"/>
                  </a:lnTo>
                  <a:lnTo>
                    <a:pt x="3" y="20"/>
                  </a:lnTo>
                  <a:lnTo>
                    <a:pt x="13" y="20"/>
                  </a:lnTo>
                  <a:lnTo>
                    <a:pt x="21" y="21"/>
                  </a:lnTo>
                  <a:lnTo>
                    <a:pt x="30" y="23"/>
                  </a:lnTo>
                  <a:lnTo>
                    <a:pt x="37" y="27"/>
                  </a:lnTo>
                  <a:lnTo>
                    <a:pt x="46" y="31"/>
                  </a:lnTo>
                  <a:lnTo>
                    <a:pt x="52" y="34"/>
                  </a:lnTo>
                  <a:lnTo>
                    <a:pt x="59" y="39"/>
                  </a:lnTo>
                  <a:lnTo>
                    <a:pt x="66" y="45"/>
                  </a:lnTo>
                  <a:lnTo>
                    <a:pt x="72" y="52"/>
                  </a:lnTo>
                  <a:lnTo>
                    <a:pt x="77" y="59"/>
                  </a:lnTo>
                  <a:lnTo>
                    <a:pt x="82" y="66"/>
                  </a:lnTo>
                  <a:lnTo>
                    <a:pt x="85" y="74"/>
                  </a:lnTo>
                  <a:lnTo>
                    <a:pt x="88" y="82"/>
                  </a:lnTo>
                  <a:lnTo>
                    <a:pt x="90" y="90"/>
                  </a:lnTo>
                  <a:lnTo>
                    <a:pt x="91" y="100"/>
                  </a:lnTo>
                  <a:lnTo>
                    <a:pt x="91" y="108"/>
                  </a:lnTo>
                  <a:lnTo>
                    <a:pt x="91" y="108"/>
                  </a:lnTo>
                  <a:lnTo>
                    <a:pt x="91" y="117"/>
                  </a:lnTo>
                  <a:lnTo>
                    <a:pt x="90" y="126"/>
                  </a:lnTo>
                  <a:lnTo>
                    <a:pt x="88" y="134"/>
                  </a:lnTo>
                  <a:lnTo>
                    <a:pt x="85" y="143"/>
                  </a:lnTo>
                  <a:lnTo>
                    <a:pt x="82" y="150"/>
                  </a:lnTo>
                  <a:lnTo>
                    <a:pt x="77" y="158"/>
                  </a:lnTo>
                  <a:lnTo>
                    <a:pt x="72" y="165"/>
                  </a:lnTo>
                  <a:lnTo>
                    <a:pt x="66" y="171"/>
                  </a:lnTo>
                  <a:lnTo>
                    <a:pt x="59" y="176"/>
                  </a:lnTo>
                  <a:lnTo>
                    <a:pt x="52" y="182"/>
                  </a:lnTo>
                  <a:lnTo>
                    <a:pt x="46" y="186"/>
                  </a:lnTo>
                  <a:lnTo>
                    <a:pt x="37" y="190"/>
                  </a:lnTo>
                  <a:lnTo>
                    <a:pt x="30" y="193"/>
                  </a:lnTo>
                  <a:lnTo>
                    <a:pt x="21" y="195"/>
                  </a:lnTo>
                  <a:lnTo>
                    <a:pt x="13" y="196"/>
                  </a:lnTo>
                  <a:lnTo>
                    <a:pt x="3" y="197"/>
                  </a:lnTo>
                  <a:lnTo>
                    <a:pt x="3" y="197"/>
                  </a:lnTo>
                  <a:lnTo>
                    <a:pt x="0" y="197"/>
                  </a:lnTo>
                  <a:lnTo>
                    <a:pt x="0" y="216"/>
                  </a:lnTo>
                  <a:lnTo>
                    <a:pt x="0" y="216"/>
                  </a:lnTo>
                  <a:lnTo>
                    <a:pt x="3" y="217"/>
                  </a:lnTo>
                  <a:lnTo>
                    <a:pt x="3" y="217"/>
                  </a:lnTo>
                  <a:lnTo>
                    <a:pt x="14" y="216"/>
                  </a:lnTo>
                  <a:lnTo>
                    <a:pt x="25" y="214"/>
                  </a:lnTo>
                  <a:lnTo>
                    <a:pt x="35" y="212"/>
                  </a:lnTo>
                  <a:lnTo>
                    <a:pt x="45" y="208"/>
                  </a:lnTo>
                  <a:lnTo>
                    <a:pt x="54" y="203"/>
                  </a:lnTo>
                  <a:lnTo>
                    <a:pt x="63" y="198"/>
                  </a:lnTo>
                  <a:lnTo>
                    <a:pt x="72" y="191"/>
                  </a:lnTo>
                  <a:lnTo>
                    <a:pt x="79" y="185"/>
                  </a:lnTo>
                  <a:lnTo>
                    <a:pt x="87" y="177"/>
                  </a:lnTo>
                  <a:lnTo>
                    <a:pt x="93" y="169"/>
                  </a:lnTo>
                  <a:lnTo>
                    <a:pt x="98" y="160"/>
                  </a:lnTo>
                  <a:lnTo>
                    <a:pt x="103" y="150"/>
                  </a:lnTo>
                  <a:lnTo>
                    <a:pt x="106" y="140"/>
                  </a:lnTo>
                  <a:lnTo>
                    <a:pt x="109" y="131"/>
                  </a:lnTo>
                  <a:lnTo>
                    <a:pt x="110" y="119"/>
                  </a:lnTo>
                  <a:lnTo>
                    <a:pt x="111" y="108"/>
                  </a:lnTo>
                  <a:lnTo>
                    <a:pt x="111" y="108"/>
                  </a:lnTo>
                  <a:lnTo>
                    <a:pt x="110" y="97"/>
                  </a:lnTo>
                  <a:lnTo>
                    <a:pt x="109" y="86"/>
                  </a:lnTo>
                  <a:lnTo>
                    <a:pt x="106" y="76"/>
                  </a:lnTo>
                  <a:lnTo>
                    <a:pt x="103" y="66"/>
                  </a:lnTo>
                  <a:lnTo>
                    <a:pt x="98" y="57"/>
                  </a:lnTo>
                  <a:lnTo>
                    <a:pt x="93" y="48"/>
                  </a:lnTo>
                  <a:lnTo>
                    <a:pt x="87" y="39"/>
                  </a:lnTo>
                  <a:lnTo>
                    <a:pt x="79" y="32"/>
                  </a:lnTo>
                  <a:lnTo>
                    <a:pt x="72" y="24"/>
                  </a:lnTo>
                  <a:lnTo>
                    <a:pt x="63" y="18"/>
                  </a:lnTo>
                  <a:lnTo>
                    <a:pt x="54" y="13"/>
                  </a:lnTo>
                  <a:lnTo>
                    <a:pt x="45" y="8"/>
                  </a:lnTo>
                  <a:lnTo>
                    <a:pt x="35" y="5"/>
                  </a:lnTo>
                  <a:lnTo>
                    <a:pt x="25" y="2"/>
                  </a:lnTo>
                  <a:lnTo>
                    <a:pt x="14" y="1"/>
                  </a:lnTo>
                  <a:lnTo>
                    <a:pt x="3" y="0"/>
                  </a:lnTo>
                  <a:lnTo>
                    <a:pt x="3" y="0"/>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208">
              <a:extLst>
                <a:ext uri="{FF2B5EF4-FFF2-40B4-BE49-F238E27FC236}">
                  <a16:creationId xmlns:a16="http://schemas.microsoft.com/office/drawing/2014/main" id="{84AEF8DA-7EB2-E379-240E-80BD0B730184}"/>
                </a:ext>
              </a:extLst>
            </p:cNvPr>
            <p:cNvSpPr>
              <a:spLocks/>
            </p:cNvSpPr>
            <p:nvPr/>
          </p:nvSpPr>
          <p:spPr bwMode="auto">
            <a:xfrm>
              <a:off x="3762375" y="617538"/>
              <a:ext cx="276225" cy="276225"/>
            </a:xfrm>
            <a:custGeom>
              <a:avLst/>
              <a:gdLst>
                <a:gd name="T0" fmla="*/ 164 w 174"/>
                <a:gd name="T1" fmla="*/ 164 h 174"/>
                <a:gd name="T2" fmla="*/ 164 w 174"/>
                <a:gd name="T3" fmla="*/ 164 h 174"/>
                <a:gd name="T4" fmla="*/ 164 w 174"/>
                <a:gd name="T5" fmla="*/ 164 h 174"/>
                <a:gd name="T6" fmla="*/ 164 w 174"/>
                <a:gd name="T7" fmla="*/ 164 h 174"/>
                <a:gd name="T8" fmla="*/ 158 w 174"/>
                <a:gd name="T9" fmla="*/ 169 h 174"/>
                <a:gd name="T10" fmla="*/ 152 w 174"/>
                <a:gd name="T11" fmla="*/ 171 h 174"/>
                <a:gd name="T12" fmla="*/ 145 w 174"/>
                <a:gd name="T13" fmla="*/ 174 h 174"/>
                <a:gd name="T14" fmla="*/ 139 w 174"/>
                <a:gd name="T15" fmla="*/ 174 h 174"/>
                <a:gd name="T16" fmla="*/ 133 w 174"/>
                <a:gd name="T17" fmla="*/ 174 h 174"/>
                <a:gd name="T18" fmla="*/ 127 w 174"/>
                <a:gd name="T19" fmla="*/ 171 h 174"/>
                <a:gd name="T20" fmla="*/ 121 w 174"/>
                <a:gd name="T21" fmla="*/ 169 h 174"/>
                <a:gd name="T22" fmla="*/ 115 w 174"/>
                <a:gd name="T23" fmla="*/ 164 h 174"/>
                <a:gd name="T24" fmla="*/ 10 w 174"/>
                <a:gd name="T25" fmla="*/ 59 h 174"/>
                <a:gd name="T26" fmla="*/ 10 w 174"/>
                <a:gd name="T27" fmla="*/ 59 h 174"/>
                <a:gd name="T28" fmla="*/ 6 w 174"/>
                <a:gd name="T29" fmla="*/ 53 h 174"/>
                <a:gd name="T30" fmla="*/ 2 w 174"/>
                <a:gd name="T31" fmla="*/ 48 h 174"/>
                <a:gd name="T32" fmla="*/ 1 w 174"/>
                <a:gd name="T33" fmla="*/ 40 h 174"/>
                <a:gd name="T34" fmla="*/ 0 w 174"/>
                <a:gd name="T35" fmla="*/ 34 h 174"/>
                <a:gd name="T36" fmla="*/ 1 w 174"/>
                <a:gd name="T37" fmla="*/ 28 h 174"/>
                <a:gd name="T38" fmla="*/ 2 w 174"/>
                <a:gd name="T39" fmla="*/ 22 h 174"/>
                <a:gd name="T40" fmla="*/ 6 w 174"/>
                <a:gd name="T41" fmla="*/ 16 h 174"/>
                <a:gd name="T42" fmla="*/ 10 w 174"/>
                <a:gd name="T43" fmla="*/ 9 h 174"/>
                <a:gd name="T44" fmla="*/ 10 w 174"/>
                <a:gd name="T45" fmla="*/ 9 h 174"/>
                <a:gd name="T46" fmla="*/ 10 w 174"/>
                <a:gd name="T47" fmla="*/ 9 h 174"/>
                <a:gd name="T48" fmla="*/ 10 w 174"/>
                <a:gd name="T49" fmla="*/ 9 h 174"/>
                <a:gd name="T50" fmla="*/ 16 w 174"/>
                <a:gd name="T51" fmla="*/ 6 h 174"/>
                <a:gd name="T52" fmla="*/ 22 w 174"/>
                <a:gd name="T53" fmla="*/ 2 h 174"/>
                <a:gd name="T54" fmla="*/ 28 w 174"/>
                <a:gd name="T55" fmla="*/ 1 h 174"/>
                <a:gd name="T56" fmla="*/ 34 w 174"/>
                <a:gd name="T57" fmla="*/ 0 h 174"/>
                <a:gd name="T58" fmla="*/ 42 w 174"/>
                <a:gd name="T59" fmla="*/ 1 h 174"/>
                <a:gd name="T60" fmla="*/ 48 w 174"/>
                <a:gd name="T61" fmla="*/ 2 h 174"/>
                <a:gd name="T62" fmla="*/ 53 w 174"/>
                <a:gd name="T63" fmla="*/ 6 h 174"/>
                <a:gd name="T64" fmla="*/ 59 w 174"/>
                <a:gd name="T65" fmla="*/ 11 h 174"/>
                <a:gd name="T66" fmla="*/ 164 w 174"/>
                <a:gd name="T67" fmla="*/ 116 h 174"/>
                <a:gd name="T68" fmla="*/ 164 w 174"/>
                <a:gd name="T69" fmla="*/ 116 h 174"/>
                <a:gd name="T70" fmla="*/ 168 w 174"/>
                <a:gd name="T71" fmla="*/ 120 h 174"/>
                <a:gd name="T72" fmla="*/ 171 w 174"/>
                <a:gd name="T73" fmla="*/ 127 h 174"/>
                <a:gd name="T74" fmla="*/ 173 w 174"/>
                <a:gd name="T75" fmla="*/ 133 h 174"/>
                <a:gd name="T76" fmla="*/ 174 w 174"/>
                <a:gd name="T77" fmla="*/ 140 h 174"/>
                <a:gd name="T78" fmla="*/ 173 w 174"/>
                <a:gd name="T79" fmla="*/ 146 h 174"/>
                <a:gd name="T80" fmla="*/ 171 w 174"/>
                <a:gd name="T81" fmla="*/ 153 h 174"/>
                <a:gd name="T82" fmla="*/ 168 w 174"/>
                <a:gd name="T83" fmla="*/ 159 h 174"/>
                <a:gd name="T84" fmla="*/ 164 w 174"/>
                <a:gd name="T85" fmla="*/ 164 h 174"/>
                <a:gd name="T86" fmla="*/ 164 w 174"/>
                <a:gd name="T87" fmla="*/ 16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4" h="174">
                  <a:moveTo>
                    <a:pt x="164" y="164"/>
                  </a:moveTo>
                  <a:lnTo>
                    <a:pt x="164" y="164"/>
                  </a:lnTo>
                  <a:lnTo>
                    <a:pt x="164" y="164"/>
                  </a:lnTo>
                  <a:lnTo>
                    <a:pt x="164" y="164"/>
                  </a:lnTo>
                  <a:lnTo>
                    <a:pt x="158" y="169"/>
                  </a:lnTo>
                  <a:lnTo>
                    <a:pt x="152" y="171"/>
                  </a:lnTo>
                  <a:lnTo>
                    <a:pt x="145" y="174"/>
                  </a:lnTo>
                  <a:lnTo>
                    <a:pt x="139" y="174"/>
                  </a:lnTo>
                  <a:lnTo>
                    <a:pt x="133" y="174"/>
                  </a:lnTo>
                  <a:lnTo>
                    <a:pt x="127" y="171"/>
                  </a:lnTo>
                  <a:lnTo>
                    <a:pt x="121" y="169"/>
                  </a:lnTo>
                  <a:lnTo>
                    <a:pt x="115" y="164"/>
                  </a:lnTo>
                  <a:lnTo>
                    <a:pt x="10" y="59"/>
                  </a:lnTo>
                  <a:lnTo>
                    <a:pt x="10" y="59"/>
                  </a:lnTo>
                  <a:lnTo>
                    <a:pt x="6" y="53"/>
                  </a:lnTo>
                  <a:lnTo>
                    <a:pt x="2" y="48"/>
                  </a:lnTo>
                  <a:lnTo>
                    <a:pt x="1" y="40"/>
                  </a:lnTo>
                  <a:lnTo>
                    <a:pt x="0" y="34"/>
                  </a:lnTo>
                  <a:lnTo>
                    <a:pt x="1" y="28"/>
                  </a:lnTo>
                  <a:lnTo>
                    <a:pt x="2" y="22"/>
                  </a:lnTo>
                  <a:lnTo>
                    <a:pt x="6" y="16"/>
                  </a:lnTo>
                  <a:lnTo>
                    <a:pt x="10" y="9"/>
                  </a:lnTo>
                  <a:lnTo>
                    <a:pt x="10" y="9"/>
                  </a:lnTo>
                  <a:lnTo>
                    <a:pt x="10" y="9"/>
                  </a:lnTo>
                  <a:lnTo>
                    <a:pt x="10" y="9"/>
                  </a:lnTo>
                  <a:lnTo>
                    <a:pt x="16" y="6"/>
                  </a:lnTo>
                  <a:lnTo>
                    <a:pt x="22" y="2"/>
                  </a:lnTo>
                  <a:lnTo>
                    <a:pt x="28" y="1"/>
                  </a:lnTo>
                  <a:lnTo>
                    <a:pt x="34" y="0"/>
                  </a:lnTo>
                  <a:lnTo>
                    <a:pt x="42" y="1"/>
                  </a:lnTo>
                  <a:lnTo>
                    <a:pt x="48" y="2"/>
                  </a:lnTo>
                  <a:lnTo>
                    <a:pt x="53" y="6"/>
                  </a:lnTo>
                  <a:lnTo>
                    <a:pt x="59" y="11"/>
                  </a:lnTo>
                  <a:lnTo>
                    <a:pt x="164" y="116"/>
                  </a:lnTo>
                  <a:lnTo>
                    <a:pt x="164" y="116"/>
                  </a:lnTo>
                  <a:lnTo>
                    <a:pt x="168" y="120"/>
                  </a:lnTo>
                  <a:lnTo>
                    <a:pt x="171" y="127"/>
                  </a:lnTo>
                  <a:lnTo>
                    <a:pt x="173" y="133"/>
                  </a:lnTo>
                  <a:lnTo>
                    <a:pt x="174" y="140"/>
                  </a:lnTo>
                  <a:lnTo>
                    <a:pt x="173" y="146"/>
                  </a:lnTo>
                  <a:lnTo>
                    <a:pt x="171" y="153"/>
                  </a:lnTo>
                  <a:lnTo>
                    <a:pt x="168" y="159"/>
                  </a:lnTo>
                  <a:lnTo>
                    <a:pt x="164" y="164"/>
                  </a:lnTo>
                  <a:lnTo>
                    <a:pt x="164" y="164"/>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209">
              <a:extLst>
                <a:ext uri="{FF2B5EF4-FFF2-40B4-BE49-F238E27FC236}">
                  <a16:creationId xmlns:a16="http://schemas.microsoft.com/office/drawing/2014/main" id="{0D5B87EC-28C2-C483-9C08-25960B844309}"/>
                </a:ext>
              </a:extLst>
            </p:cNvPr>
            <p:cNvSpPr>
              <a:spLocks/>
            </p:cNvSpPr>
            <p:nvPr/>
          </p:nvSpPr>
          <p:spPr bwMode="auto">
            <a:xfrm>
              <a:off x="3795713" y="673100"/>
              <a:ext cx="209550" cy="209550"/>
            </a:xfrm>
            <a:custGeom>
              <a:avLst/>
              <a:gdLst>
                <a:gd name="T0" fmla="*/ 128 w 132"/>
                <a:gd name="T1" fmla="*/ 129 h 132"/>
                <a:gd name="T2" fmla="*/ 128 w 132"/>
                <a:gd name="T3" fmla="*/ 129 h 132"/>
                <a:gd name="T4" fmla="*/ 123 w 132"/>
                <a:gd name="T5" fmla="*/ 131 h 132"/>
                <a:gd name="T6" fmla="*/ 118 w 132"/>
                <a:gd name="T7" fmla="*/ 132 h 132"/>
                <a:gd name="T8" fmla="*/ 113 w 132"/>
                <a:gd name="T9" fmla="*/ 131 h 132"/>
                <a:gd name="T10" fmla="*/ 108 w 132"/>
                <a:gd name="T11" fmla="*/ 129 h 132"/>
                <a:gd name="T12" fmla="*/ 4 w 132"/>
                <a:gd name="T13" fmla="*/ 23 h 132"/>
                <a:gd name="T14" fmla="*/ 4 w 132"/>
                <a:gd name="T15" fmla="*/ 23 h 132"/>
                <a:gd name="T16" fmla="*/ 1 w 132"/>
                <a:gd name="T17" fmla="*/ 19 h 132"/>
                <a:gd name="T18" fmla="*/ 0 w 132"/>
                <a:gd name="T19" fmla="*/ 14 h 132"/>
                <a:gd name="T20" fmla="*/ 1 w 132"/>
                <a:gd name="T21" fmla="*/ 9 h 132"/>
                <a:gd name="T22" fmla="*/ 4 w 132"/>
                <a:gd name="T23" fmla="*/ 4 h 132"/>
                <a:gd name="T24" fmla="*/ 4 w 132"/>
                <a:gd name="T25" fmla="*/ 4 h 132"/>
                <a:gd name="T26" fmla="*/ 8 w 132"/>
                <a:gd name="T27" fmla="*/ 2 h 132"/>
                <a:gd name="T28" fmla="*/ 13 w 132"/>
                <a:gd name="T29" fmla="*/ 0 h 132"/>
                <a:gd name="T30" fmla="*/ 18 w 132"/>
                <a:gd name="T31" fmla="*/ 2 h 132"/>
                <a:gd name="T32" fmla="*/ 23 w 132"/>
                <a:gd name="T33" fmla="*/ 4 h 132"/>
                <a:gd name="T34" fmla="*/ 128 w 132"/>
                <a:gd name="T35" fmla="*/ 109 h 132"/>
                <a:gd name="T36" fmla="*/ 128 w 132"/>
                <a:gd name="T37" fmla="*/ 109 h 132"/>
                <a:gd name="T38" fmla="*/ 131 w 132"/>
                <a:gd name="T39" fmla="*/ 114 h 132"/>
                <a:gd name="T40" fmla="*/ 132 w 132"/>
                <a:gd name="T41" fmla="*/ 119 h 132"/>
                <a:gd name="T42" fmla="*/ 131 w 132"/>
                <a:gd name="T43" fmla="*/ 124 h 132"/>
                <a:gd name="T44" fmla="*/ 128 w 132"/>
                <a:gd name="T45" fmla="*/ 129 h 132"/>
                <a:gd name="T46" fmla="*/ 128 w 132"/>
                <a:gd name="T47"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32">
                  <a:moveTo>
                    <a:pt x="128" y="129"/>
                  </a:moveTo>
                  <a:lnTo>
                    <a:pt x="128" y="129"/>
                  </a:lnTo>
                  <a:lnTo>
                    <a:pt x="123" y="131"/>
                  </a:lnTo>
                  <a:lnTo>
                    <a:pt x="118" y="132"/>
                  </a:lnTo>
                  <a:lnTo>
                    <a:pt x="113" y="131"/>
                  </a:lnTo>
                  <a:lnTo>
                    <a:pt x="108" y="129"/>
                  </a:lnTo>
                  <a:lnTo>
                    <a:pt x="4" y="23"/>
                  </a:lnTo>
                  <a:lnTo>
                    <a:pt x="4" y="23"/>
                  </a:lnTo>
                  <a:lnTo>
                    <a:pt x="1" y="19"/>
                  </a:lnTo>
                  <a:lnTo>
                    <a:pt x="0" y="14"/>
                  </a:lnTo>
                  <a:lnTo>
                    <a:pt x="1" y="9"/>
                  </a:lnTo>
                  <a:lnTo>
                    <a:pt x="4" y="4"/>
                  </a:lnTo>
                  <a:lnTo>
                    <a:pt x="4" y="4"/>
                  </a:lnTo>
                  <a:lnTo>
                    <a:pt x="8" y="2"/>
                  </a:lnTo>
                  <a:lnTo>
                    <a:pt x="13" y="0"/>
                  </a:lnTo>
                  <a:lnTo>
                    <a:pt x="18" y="2"/>
                  </a:lnTo>
                  <a:lnTo>
                    <a:pt x="23" y="4"/>
                  </a:lnTo>
                  <a:lnTo>
                    <a:pt x="128" y="109"/>
                  </a:lnTo>
                  <a:lnTo>
                    <a:pt x="128" y="109"/>
                  </a:lnTo>
                  <a:lnTo>
                    <a:pt x="131" y="114"/>
                  </a:lnTo>
                  <a:lnTo>
                    <a:pt x="132" y="119"/>
                  </a:lnTo>
                  <a:lnTo>
                    <a:pt x="131" y="124"/>
                  </a:lnTo>
                  <a:lnTo>
                    <a:pt x="128" y="129"/>
                  </a:lnTo>
                  <a:lnTo>
                    <a:pt x="128" y="129"/>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210">
              <a:extLst>
                <a:ext uri="{FF2B5EF4-FFF2-40B4-BE49-F238E27FC236}">
                  <a16:creationId xmlns:a16="http://schemas.microsoft.com/office/drawing/2014/main" id="{4810447D-152B-26FC-50C6-BBE8EF49B656}"/>
                </a:ext>
              </a:extLst>
            </p:cNvPr>
            <p:cNvSpPr>
              <a:spLocks/>
            </p:cNvSpPr>
            <p:nvPr/>
          </p:nvSpPr>
          <p:spPr bwMode="auto">
            <a:xfrm>
              <a:off x="3392488" y="244475"/>
              <a:ext cx="427038" cy="427038"/>
            </a:xfrm>
            <a:custGeom>
              <a:avLst/>
              <a:gdLst>
                <a:gd name="T0" fmla="*/ 39 w 269"/>
                <a:gd name="T1" fmla="*/ 40 h 269"/>
                <a:gd name="T2" fmla="*/ 39 w 269"/>
                <a:gd name="T3" fmla="*/ 40 h 269"/>
                <a:gd name="T4" fmla="*/ 59 w 269"/>
                <a:gd name="T5" fmla="*/ 24 h 269"/>
                <a:gd name="T6" fmla="*/ 82 w 269"/>
                <a:gd name="T7" fmla="*/ 11 h 269"/>
                <a:gd name="T8" fmla="*/ 107 w 269"/>
                <a:gd name="T9" fmla="*/ 4 h 269"/>
                <a:gd name="T10" fmla="*/ 134 w 269"/>
                <a:gd name="T11" fmla="*/ 0 h 269"/>
                <a:gd name="T12" fmla="*/ 148 w 269"/>
                <a:gd name="T13" fmla="*/ 1 h 269"/>
                <a:gd name="T14" fmla="*/ 174 w 269"/>
                <a:gd name="T15" fmla="*/ 6 h 269"/>
                <a:gd name="T16" fmla="*/ 198 w 269"/>
                <a:gd name="T17" fmla="*/ 17 h 269"/>
                <a:gd name="T18" fmla="*/ 219 w 269"/>
                <a:gd name="T19" fmla="*/ 31 h 269"/>
                <a:gd name="T20" fmla="*/ 238 w 269"/>
                <a:gd name="T21" fmla="*/ 50 h 269"/>
                <a:gd name="T22" fmla="*/ 251 w 269"/>
                <a:gd name="T23" fmla="*/ 72 h 269"/>
                <a:gd name="T24" fmla="*/ 262 w 269"/>
                <a:gd name="T25" fmla="*/ 95 h 269"/>
                <a:gd name="T26" fmla="*/ 267 w 269"/>
                <a:gd name="T27" fmla="*/ 121 h 269"/>
                <a:gd name="T28" fmla="*/ 269 w 269"/>
                <a:gd name="T29" fmla="*/ 136 h 269"/>
                <a:gd name="T30" fmla="*/ 265 w 269"/>
                <a:gd name="T31" fmla="*/ 162 h 269"/>
                <a:gd name="T32" fmla="*/ 258 w 269"/>
                <a:gd name="T33" fmla="*/ 186 h 269"/>
                <a:gd name="T34" fmla="*/ 245 w 269"/>
                <a:gd name="T35" fmla="*/ 210 h 269"/>
                <a:gd name="T36" fmla="*/ 229 w 269"/>
                <a:gd name="T37" fmla="*/ 230 h 269"/>
                <a:gd name="T38" fmla="*/ 219 w 269"/>
                <a:gd name="T39" fmla="*/ 240 h 269"/>
                <a:gd name="T40" fmla="*/ 197 w 269"/>
                <a:gd name="T41" fmla="*/ 253 h 269"/>
                <a:gd name="T42" fmla="*/ 172 w 269"/>
                <a:gd name="T43" fmla="*/ 264 h 269"/>
                <a:gd name="T44" fmla="*/ 147 w 269"/>
                <a:gd name="T45" fmla="*/ 269 h 269"/>
                <a:gd name="T46" fmla="*/ 133 w 269"/>
                <a:gd name="T47" fmla="*/ 269 h 269"/>
                <a:gd name="T48" fmla="*/ 107 w 269"/>
                <a:gd name="T49" fmla="*/ 267 h 269"/>
                <a:gd name="T50" fmla="*/ 82 w 269"/>
                <a:gd name="T51" fmla="*/ 259 h 269"/>
                <a:gd name="T52" fmla="*/ 59 w 269"/>
                <a:gd name="T53" fmla="*/ 247 h 269"/>
                <a:gd name="T54" fmla="*/ 39 w 269"/>
                <a:gd name="T55" fmla="*/ 230 h 269"/>
                <a:gd name="T56" fmla="*/ 29 w 269"/>
                <a:gd name="T57" fmla="*/ 220 h 269"/>
                <a:gd name="T58" fmla="*/ 15 w 269"/>
                <a:gd name="T59" fmla="*/ 198 h 269"/>
                <a:gd name="T60" fmla="*/ 5 w 269"/>
                <a:gd name="T61" fmla="*/ 174 h 269"/>
                <a:gd name="T62" fmla="*/ 0 w 269"/>
                <a:gd name="T63" fmla="*/ 148 h 269"/>
                <a:gd name="T64" fmla="*/ 0 w 269"/>
                <a:gd name="T65" fmla="*/ 135 h 269"/>
                <a:gd name="T66" fmla="*/ 2 w 269"/>
                <a:gd name="T67" fmla="*/ 109 h 269"/>
                <a:gd name="T68" fmla="*/ 10 w 269"/>
                <a:gd name="T69" fmla="*/ 84 h 269"/>
                <a:gd name="T70" fmla="*/ 22 w 269"/>
                <a:gd name="T71" fmla="*/ 61 h 269"/>
                <a:gd name="T72" fmla="*/ 39 w 269"/>
                <a:gd name="T73" fmla="*/ 4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9" h="269">
                  <a:moveTo>
                    <a:pt x="39" y="40"/>
                  </a:moveTo>
                  <a:lnTo>
                    <a:pt x="39" y="40"/>
                  </a:lnTo>
                  <a:lnTo>
                    <a:pt x="39" y="40"/>
                  </a:lnTo>
                  <a:lnTo>
                    <a:pt x="39" y="40"/>
                  </a:lnTo>
                  <a:lnTo>
                    <a:pt x="49" y="31"/>
                  </a:lnTo>
                  <a:lnTo>
                    <a:pt x="59" y="24"/>
                  </a:lnTo>
                  <a:lnTo>
                    <a:pt x="70" y="16"/>
                  </a:lnTo>
                  <a:lnTo>
                    <a:pt x="82" y="11"/>
                  </a:lnTo>
                  <a:lnTo>
                    <a:pt x="95" y="6"/>
                  </a:lnTo>
                  <a:lnTo>
                    <a:pt x="107" y="4"/>
                  </a:lnTo>
                  <a:lnTo>
                    <a:pt x="121" y="1"/>
                  </a:lnTo>
                  <a:lnTo>
                    <a:pt x="134" y="0"/>
                  </a:lnTo>
                  <a:lnTo>
                    <a:pt x="134" y="0"/>
                  </a:lnTo>
                  <a:lnTo>
                    <a:pt x="148" y="1"/>
                  </a:lnTo>
                  <a:lnTo>
                    <a:pt x="161" y="4"/>
                  </a:lnTo>
                  <a:lnTo>
                    <a:pt x="174" y="6"/>
                  </a:lnTo>
                  <a:lnTo>
                    <a:pt x="186" y="11"/>
                  </a:lnTo>
                  <a:lnTo>
                    <a:pt x="198" y="17"/>
                  </a:lnTo>
                  <a:lnTo>
                    <a:pt x="209" y="24"/>
                  </a:lnTo>
                  <a:lnTo>
                    <a:pt x="219" y="31"/>
                  </a:lnTo>
                  <a:lnTo>
                    <a:pt x="229" y="40"/>
                  </a:lnTo>
                  <a:lnTo>
                    <a:pt x="238" y="50"/>
                  </a:lnTo>
                  <a:lnTo>
                    <a:pt x="245" y="61"/>
                  </a:lnTo>
                  <a:lnTo>
                    <a:pt x="251" y="72"/>
                  </a:lnTo>
                  <a:lnTo>
                    <a:pt x="258" y="83"/>
                  </a:lnTo>
                  <a:lnTo>
                    <a:pt x="262" y="95"/>
                  </a:lnTo>
                  <a:lnTo>
                    <a:pt x="265" y="109"/>
                  </a:lnTo>
                  <a:lnTo>
                    <a:pt x="267" y="121"/>
                  </a:lnTo>
                  <a:lnTo>
                    <a:pt x="269" y="136"/>
                  </a:lnTo>
                  <a:lnTo>
                    <a:pt x="269" y="136"/>
                  </a:lnTo>
                  <a:lnTo>
                    <a:pt x="267" y="148"/>
                  </a:lnTo>
                  <a:lnTo>
                    <a:pt x="265" y="162"/>
                  </a:lnTo>
                  <a:lnTo>
                    <a:pt x="262" y="174"/>
                  </a:lnTo>
                  <a:lnTo>
                    <a:pt x="258" y="186"/>
                  </a:lnTo>
                  <a:lnTo>
                    <a:pt x="253" y="199"/>
                  </a:lnTo>
                  <a:lnTo>
                    <a:pt x="245" y="210"/>
                  </a:lnTo>
                  <a:lnTo>
                    <a:pt x="238" y="220"/>
                  </a:lnTo>
                  <a:lnTo>
                    <a:pt x="229" y="230"/>
                  </a:lnTo>
                  <a:lnTo>
                    <a:pt x="229" y="230"/>
                  </a:lnTo>
                  <a:lnTo>
                    <a:pt x="219" y="240"/>
                  </a:lnTo>
                  <a:lnTo>
                    <a:pt x="208" y="247"/>
                  </a:lnTo>
                  <a:lnTo>
                    <a:pt x="197" y="253"/>
                  </a:lnTo>
                  <a:lnTo>
                    <a:pt x="185" y="259"/>
                  </a:lnTo>
                  <a:lnTo>
                    <a:pt x="172" y="264"/>
                  </a:lnTo>
                  <a:lnTo>
                    <a:pt x="160" y="267"/>
                  </a:lnTo>
                  <a:lnTo>
                    <a:pt x="147" y="269"/>
                  </a:lnTo>
                  <a:lnTo>
                    <a:pt x="133" y="269"/>
                  </a:lnTo>
                  <a:lnTo>
                    <a:pt x="133" y="269"/>
                  </a:lnTo>
                  <a:lnTo>
                    <a:pt x="121" y="269"/>
                  </a:lnTo>
                  <a:lnTo>
                    <a:pt x="107" y="267"/>
                  </a:lnTo>
                  <a:lnTo>
                    <a:pt x="95" y="263"/>
                  </a:lnTo>
                  <a:lnTo>
                    <a:pt x="82" y="259"/>
                  </a:lnTo>
                  <a:lnTo>
                    <a:pt x="70" y="253"/>
                  </a:lnTo>
                  <a:lnTo>
                    <a:pt x="59" y="247"/>
                  </a:lnTo>
                  <a:lnTo>
                    <a:pt x="49" y="238"/>
                  </a:lnTo>
                  <a:lnTo>
                    <a:pt x="39" y="230"/>
                  </a:lnTo>
                  <a:lnTo>
                    <a:pt x="39" y="230"/>
                  </a:lnTo>
                  <a:lnTo>
                    <a:pt x="29" y="220"/>
                  </a:lnTo>
                  <a:lnTo>
                    <a:pt x="22" y="209"/>
                  </a:lnTo>
                  <a:lnTo>
                    <a:pt x="15" y="198"/>
                  </a:lnTo>
                  <a:lnTo>
                    <a:pt x="10" y="186"/>
                  </a:lnTo>
                  <a:lnTo>
                    <a:pt x="5" y="174"/>
                  </a:lnTo>
                  <a:lnTo>
                    <a:pt x="2" y="162"/>
                  </a:lnTo>
                  <a:lnTo>
                    <a:pt x="0" y="148"/>
                  </a:lnTo>
                  <a:lnTo>
                    <a:pt x="0" y="135"/>
                  </a:lnTo>
                  <a:lnTo>
                    <a:pt x="0" y="135"/>
                  </a:lnTo>
                  <a:lnTo>
                    <a:pt x="0" y="121"/>
                  </a:lnTo>
                  <a:lnTo>
                    <a:pt x="2" y="109"/>
                  </a:lnTo>
                  <a:lnTo>
                    <a:pt x="5" y="96"/>
                  </a:lnTo>
                  <a:lnTo>
                    <a:pt x="10" y="84"/>
                  </a:lnTo>
                  <a:lnTo>
                    <a:pt x="16" y="72"/>
                  </a:lnTo>
                  <a:lnTo>
                    <a:pt x="22" y="61"/>
                  </a:lnTo>
                  <a:lnTo>
                    <a:pt x="29" y="50"/>
                  </a:lnTo>
                  <a:lnTo>
                    <a:pt x="39" y="40"/>
                  </a:lnTo>
                  <a:lnTo>
                    <a:pt x="39" y="40"/>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8" name="Freeform 211">
              <a:extLst>
                <a:ext uri="{FF2B5EF4-FFF2-40B4-BE49-F238E27FC236}">
                  <a16:creationId xmlns:a16="http://schemas.microsoft.com/office/drawing/2014/main" id="{BE2A58AC-C298-BCF0-7808-393B946B8031}"/>
                </a:ext>
              </a:extLst>
            </p:cNvPr>
            <p:cNvSpPr>
              <a:spLocks/>
            </p:cNvSpPr>
            <p:nvPr/>
          </p:nvSpPr>
          <p:spPr bwMode="auto">
            <a:xfrm>
              <a:off x="3446463" y="300038"/>
              <a:ext cx="317500" cy="317500"/>
            </a:xfrm>
            <a:custGeom>
              <a:avLst/>
              <a:gdLst>
                <a:gd name="T0" fmla="*/ 29 w 200"/>
                <a:gd name="T1" fmla="*/ 29 h 200"/>
                <a:gd name="T2" fmla="*/ 16 w 200"/>
                <a:gd name="T3" fmla="*/ 44 h 200"/>
                <a:gd name="T4" fmla="*/ 8 w 200"/>
                <a:gd name="T5" fmla="*/ 61 h 200"/>
                <a:gd name="T6" fmla="*/ 2 w 200"/>
                <a:gd name="T7" fmla="*/ 80 h 200"/>
                <a:gd name="T8" fmla="*/ 0 w 200"/>
                <a:gd name="T9" fmla="*/ 100 h 200"/>
                <a:gd name="T10" fmla="*/ 0 w 200"/>
                <a:gd name="T11" fmla="*/ 110 h 200"/>
                <a:gd name="T12" fmla="*/ 4 w 200"/>
                <a:gd name="T13" fmla="*/ 129 h 200"/>
                <a:gd name="T14" fmla="*/ 11 w 200"/>
                <a:gd name="T15" fmla="*/ 148 h 200"/>
                <a:gd name="T16" fmla="*/ 22 w 200"/>
                <a:gd name="T17" fmla="*/ 164 h 200"/>
                <a:gd name="T18" fmla="*/ 36 w 200"/>
                <a:gd name="T19" fmla="*/ 177 h 200"/>
                <a:gd name="T20" fmla="*/ 52 w 200"/>
                <a:gd name="T21" fmla="*/ 187 h 200"/>
                <a:gd name="T22" fmla="*/ 69 w 200"/>
                <a:gd name="T23" fmla="*/ 196 h 200"/>
                <a:gd name="T24" fmla="*/ 89 w 200"/>
                <a:gd name="T25" fmla="*/ 200 h 200"/>
                <a:gd name="T26" fmla="*/ 99 w 200"/>
                <a:gd name="T27" fmla="*/ 200 h 200"/>
                <a:gd name="T28" fmla="*/ 119 w 200"/>
                <a:gd name="T29" fmla="*/ 198 h 200"/>
                <a:gd name="T30" fmla="*/ 138 w 200"/>
                <a:gd name="T31" fmla="*/ 192 h 200"/>
                <a:gd name="T32" fmla="*/ 156 w 200"/>
                <a:gd name="T33" fmla="*/ 184 h 200"/>
                <a:gd name="T34" fmla="*/ 170 w 200"/>
                <a:gd name="T35" fmla="*/ 171 h 200"/>
                <a:gd name="T36" fmla="*/ 170 w 200"/>
                <a:gd name="T37" fmla="*/ 171 h 200"/>
                <a:gd name="T38" fmla="*/ 183 w 200"/>
                <a:gd name="T39" fmla="*/ 155 h 200"/>
                <a:gd name="T40" fmla="*/ 193 w 200"/>
                <a:gd name="T41" fmla="*/ 138 h 200"/>
                <a:gd name="T42" fmla="*/ 198 w 200"/>
                <a:gd name="T43" fmla="*/ 119 h 200"/>
                <a:gd name="T44" fmla="*/ 200 w 200"/>
                <a:gd name="T45" fmla="*/ 100 h 200"/>
                <a:gd name="T46" fmla="*/ 199 w 200"/>
                <a:gd name="T47" fmla="*/ 90 h 200"/>
                <a:gd name="T48" fmla="*/ 195 w 200"/>
                <a:gd name="T49" fmla="*/ 71 h 200"/>
                <a:gd name="T50" fmla="*/ 188 w 200"/>
                <a:gd name="T51" fmla="*/ 53 h 200"/>
                <a:gd name="T52" fmla="*/ 177 w 200"/>
                <a:gd name="T53" fmla="*/ 37 h 200"/>
                <a:gd name="T54" fmla="*/ 170 w 200"/>
                <a:gd name="T55" fmla="*/ 29 h 200"/>
                <a:gd name="T56" fmla="*/ 156 w 200"/>
                <a:gd name="T57" fmla="*/ 17 h 200"/>
                <a:gd name="T58" fmla="*/ 138 w 200"/>
                <a:gd name="T59" fmla="*/ 7 h 200"/>
                <a:gd name="T60" fmla="*/ 120 w 200"/>
                <a:gd name="T61" fmla="*/ 2 h 200"/>
                <a:gd name="T62" fmla="*/ 100 w 200"/>
                <a:gd name="T63" fmla="*/ 0 h 200"/>
                <a:gd name="T64" fmla="*/ 90 w 200"/>
                <a:gd name="T65" fmla="*/ 1 h 200"/>
                <a:gd name="T66" fmla="*/ 71 w 200"/>
                <a:gd name="T67" fmla="*/ 5 h 200"/>
                <a:gd name="T68" fmla="*/ 53 w 200"/>
                <a:gd name="T69" fmla="*/ 12 h 200"/>
                <a:gd name="T70" fmla="*/ 36 w 200"/>
                <a:gd name="T71" fmla="*/ 23 h 200"/>
                <a:gd name="T72" fmla="*/ 29 w 200"/>
                <a:gd name="T73" fmla="*/ 2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200">
                  <a:moveTo>
                    <a:pt x="29" y="29"/>
                  </a:moveTo>
                  <a:lnTo>
                    <a:pt x="29" y="29"/>
                  </a:lnTo>
                  <a:lnTo>
                    <a:pt x="22" y="37"/>
                  </a:lnTo>
                  <a:lnTo>
                    <a:pt x="16" y="44"/>
                  </a:lnTo>
                  <a:lnTo>
                    <a:pt x="11" y="53"/>
                  </a:lnTo>
                  <a:lnTo>
                    <a:pt x="8" y="61"/>
                  </a:lnTo>
                  <a:lnTo>
                    <a:pt x="4" y="71"/>
                  </a:lnTo>
                  <a:lnTo>
                    <a:pt x="2" y="80"/>
                  </a:lnTo>
                  <a:lnTo>
                    <a:pt x="0" y="90"/>
                  </a:lnTo>
                  <a:lnTo>
                    <a:pt x="0" y="100"/>
                  </a:lnTo>
                  <a:lnTo>
                    <a:pt x="0" y="100"/>
                  </a:lnTo>
                  <a:lnTo>
                    <a:pt x="0" y="110"/>
                  </a:lnTo>
                  <a:lnTo>
                    <a:pt x="2" y="119"/>
                  </a:lnTo>
                  <a:lnTo>
                    <a:pt x="4" y="129"/>
                  </a:lnTo>
                  <a:lnTo>
                    <a:pt x="8" y="139"/>
                  </a:lnTo>
                  <a:lnTo>
                    <a:pt x="11" y="148"/>
                  </a:lnTo>
                  <a:lnTo>
                    <a:pt x="16" y="155"/>
                  </a:lnTo>
                  <a:lnTo>
                    <a:pt x="22" y="164"/>
                  </a:lnTo>
                  <a:lnTo>
                    <a:pt x="29" y="170"/>
                  </a:lnTo>
                  <a:lnTo>
                    <a:pt x="36" y="177"/>
                  </a:lnTo>
                  <a:lnTo>
                    <a:pt x="43" y="182"/>
                  </a:lnTo>
                  <a:lnTo>
                    <a:pt x="52" y="187"/>
                  </a:lnTo>
                  <a:lnTo>
                    <a:pt x="61" y="192"/>
                  </a:lnTo>
                  <a:lnTo>
                    <a:pt x="69" y="196"/>
                  </a:lnTo>
                  <a:lnTo>
                    <a:pt x="79" y="198"/>
                  </a:lnTo>
                  <a:lnTo>
                    <a:pt x="89" y="200"/>
                  </a:lnTo>
                  <a:lnTo>
                    <a:pt x="99" y="200"/>
                  </a:lnTo>
                  <a:lnTo>
                    <a:pt x="99" y="200"/>
                  </a:lnTo>
                  <a:lnTo>
                    <a:pt x="110" y="200"/>
                  </a:lnTo>
                  <a:lnTo>
                    <a:pt x="119" y="198"/>
                  </a:lnTo>
                  <a:lnTo>
                    <a:pt x="129" y="196"/>
                  </a:lnTo>
                  <a:lnTo>
                    <a:pt x="138" y="192"/>
                  </a:lnTo>
                  <a:lnTo>
                    <a:pt x="147" y="188"/>
                  </a:lnTo>
                  <a:lnTo>
                    <a:pt x="156" y="184"/>
                  </a:lnTo>
                  <a:lnTo>
                    <a:pt x="163" y="177"/>
                  </a:lnTo>
                  <a:lnTo>
                    <a:pt x="170" y="171"/>
                  </a:lnTo>
                  <a:lnTo>
                    <a:pt x="170" y="171"/>
                  </a:lnTo>
                  <a:lnTo>
                    <a:pt x="170" y="171"/>
                  </a:lnTo>
                  <a:lnTo>
                    <a:pt x="177" y="164"/>
                  </a:lnTo>
                  <a:lnTo>
                    <a:pt x="183" y="155"/>
                  </a:lnTo>
                  <a:lnTo>
                    <a:pt x="188" y="147"/>
                  </a:lnTo>
                  <a:lnTo>
                    <a:pt x="193" y="138"/>
                  </a:lnTo>
                  <a:lnTo>
                    <a:pt x="195" y="129"/>
                  </a:lnTo>
                  <a:lnTo>
                    <a:pt x="198" y="119"/>
                  </a:lnTo>
                  <a:lnTo>
                    <a:pt x="199" y="110"/>
                  </a:lnTo>
                  <a:lnTo>
                    <a:pt x="200" y="100"/>
                  </a:lnTo>
                  <a:lnTo>
                    <a:pt x="200" y="100"/>
                  </a:lnTo>
                  <a:lnTo>
                    <a:pt x="199" y="90"/>
                  </a:lnTo>
                  <a:lnTo>
                    <a:pt x="198" y="81"/>
                  </a:lnTo>
                  <a:lnTo>
                    <a:pt x="195" y="71"/>
                  </a:lnTo>
                  <a:lnTo>
                    <a:pt x="193" y="61"/>
                  </a:lnTo>
                  <a:lnTo>
                    <a:pt x="188" y="53"/>
                  </a:lnTo>
                  <a:lnTo>
                    <a:pt x="183" y="45"/>
                  </a:lnTo>
                  <a:lnTo>
                    <a:pt x="177" y="37"/>
                  </a:lnTo>
                  <a:lnTo>
                    <a:pt x="170" y="29"/>
                  </a:lnTo>
                  <a:lnTo>
                    <a:pt x="170" y="29"/>
                  </a:lnTo>
                  <a:lnTo>
                    <a:pt x="163" y="23"/>
                  </a:lnTo>
                  <a:lnTo>
                    <a:pt x="156" y="17"/>
                  </a:lnTo>
                  <a:lnTo>
                    <a:pt x="147" y="12"/>
                  </a:lnTo>
                  <a:lnTo>
                    <a:pt x="138" y="7"/>
                  </a:lnTo>
                  <a:lnTo>
                    <a:pt x="129" y="5"/>
                  </a:lnTo>
                  <a:lnTo>
                    <a:pt x="120" y="2"/>
                  </a:lnTo>
                  <a:lnTo>
                    <a:pt x="110" y="1"/>
                  </a:lnTo>
                  <a:lnTo>
                    <a:pt x="100" y="0"/>
                  </a:lnTo>
                  <a:lnTo>
                    <a:pt x="100" y="0"/>
                  </a:lnTo>
                  <a:lnTo>
                    <a:pt x="90" y="1"/>
                  </a:lnTo>
                  <a:lnTo>
                    <a:pt x="80" y="2"/>
                  </a:lnTo>
                  <a:lnTo>
                    <a:pt x="71" y="5"/>
                  </a:lnTo>
                  <a:lnTo>
                    <a:pt x="62" y="7"/>
                  </a:lnTo>
                  <a:lnTo>
                    <a:pt x="53" y="12"/>
                  </a:lnTo>
                  <a:lnTo>
                    <a:pt x="45" y="17"/>
                  </a:lnTo>
                  <a:lnTo>
                    <a:pt x="36" y="23"/>
                  </a:lnTo>
                  <a:lnTo>
                    <a:pt x="29" y="29"/>
                  </a:lnTo>
                  <a:lnTo>
                    <a:pt x="29" y="29"/>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9" name="Freeform 212">
              <a:extLst>
                <a:ext uri="{FF2B5EF4-FFF2-40B4-BE49-F238E27FC236}">
                  <a16:creationId xmlns:a16="http://schemas.microsoft.com/office/drawing/2014/main" id="{98B136AA-F593-4EFE-0322-9638945062E9}"/>
                </a:ext>
              </a:extLst>
            </p:cNvPr>
            <p:cNvSpPr>
              <a:spLocks/>
            </p:cNvSpPr>
            <p:nvPr/>
          </p:nvSpPr>
          <p:spPr bwMode="auto">
            <a:xfrm>
              <a:off x="3476625" y="300038"/>
              <a:ext cx="287338" cy="306388"/>
            </a:xfrm>
            <a:custGeom>
              <a:avLst/>
              <a:gdLst>
                <a:gd name="T0" fmla="*/ 151 w 181"/>
                <a:gd name="T1" fmla="*/ 29 h 193"/>
                <a:gd name="T2" fmla="*/ 137 w 181"/>
                <a:gd name="T3" fmla="*/ 17 h 193"/>
                <a:gd name="T4" fmla="*/ 119 w 181"/>
                <a:gd name="T5" fmla="*/ 7 h 193"/>
                <a:gd name="T6" fmla="*/ 101 w 181"/>
                <a:gd name="T7" fmla="*/ 2 h 193"/>
                <a:gd name="T8" fmla="*/ 81 w 181"/>
                <a:gd name="T9" fmla="*/ 0 h 193"/>
                <a:gd name="T10" fmla="*/ 70 w 181"/>
                <a:gd name="T11" fmla="*/ 1 h 193"/>
                <a:gd name="T12" fmla="*/ 59 w 181"/>
                <a:gd name="T13" fmla="*/ 2 h 193"/>
                <a:gd name="T14" fmla="*/ 43 w 181"/>
                <a:gd name="T15" fmla="*/ 11 h 193"/>
                <a:gd name="T16" fmla="*/ 29 w 181"/>
                <a:gd name="T17" fmla="*/ 23 h 193"/>
                <a:gd name="T18" fmla="*/ 23 w 181"/>
                <a:gd name="T19" fmla="*/ 31 h 193"/>
                <a:gd name="T20" fmla="*/ 12 w 181"/>
                <a:gd name="T21" fmla="*/ 47 h 193"/>
                <a:gd name="T22" fmla="*/ 5 w 181"/>
                <a:gd name="T23" fmla="*/ 64 h 193"/>
                <a:gd name="T24" fmla="*/ 1 w 181"/>
                <a:gd name="T25" fmla="*/ 84 h 193"/>
                <a:gd name="T26" fmla="*/ 0 w 181"/>
                <a:gd name="T27" fmla="*/ 93 h 193"/>
                <a:gd name="T28" fmla="*/ 2 w 181"/>
                <a:gd name="T29" fmla="*/ 113 h 193"/>
                <a:gd name="T30" fmla="*/ 7 w 181"/>
                <a:gd name="T31" fmla="*/ 133 h 193"/>
                <a:gd name="T32" fmla="*/ 17 w 181"/>
                <a:gd name="T33" fmla="*/ 149 h 193"/>
                <a:gd name="T34" fmla="*/ 29 w 181"/>
                <a:gd name="T35" fmla="*/ 164 h 193"/>
                <a:gd name="T36" fmla="*/ 44 w 181"/>
                <a:gd name="T37" fmla="*/ 176 h 193"/>
                <a:gd name="T38" fmla="*/ 61 w 181"/>
                <a:gd name="T39" fmla="*/ 186 h 193"/>
                <a:gd name="T40" fmla="*/ 80 w 181"/>
                <a:gd name="T41" fmla="*/ 191 h 193"/>
                <a:gd name="T42" fmla="*/ 100 w 181"/>
                <a:gd name="T43" fmla="*/ 193 h 193"/>
                <a:gd name="T44" fmla="*/ 111 w 181"/>
                <a:gd name="T45" fmla="*/ 193 h 193"/>
                <a:gd name="T46" fmla="*/ 122 w 181"/>
                <a:gd name="T47" fmla="*/ 191 h 193"/>
                <a:gd name="T48" fmla="*/ 138 w 181"/>
                <a:gd name="T49" fmla="*/ 182 h 193"/>
                <a:gd name="T50" fmla="*/ 151 w 181"/>
                <a:gd name="T51" fmla="*/ 171 h 193"/>
                <a:gd name="T52" fmla="*/ 151 w 181"/>
                <a:gd name="T53" fmla="*/ 171 h 193"/>
                <a:gd name="T54" fmla="*/ 164 w 181"/>
                <a:gd name="T55" fmla="*/ 155 h 193"/>
                <a:gd name="T56" fmla="*/ 174 w 181"/>
                <a:gd name="T57" fmla="*/ 138 h 193"/>
                <a:gd name="T58" fmla="*/ 179 w 181"/>
                <a:gd name="T59" fmla="*/ 119 h 193"/>
                <a:gd name="T60" fmla="*/ 181 w 181"/>
                <a:gd name="T61" fmla="*/ 100 h 193"/>
                <a:gd name="T62" fmla="*/ 180 w 181"/>
                <a:gd name="T63" fmla="*/ 90 h 193"/>
                <a:gd name="T64" fmla="*/ 176 w 181"/>
                <a:gd name="T65" fmla="*/ 71 h 193"/>
                <a:gd name="T66" fmla="*/ 169 w 181"/>
                <a:gd name="T67" fmla="*/ 53 h 193"/>
                <a:gd name="T68" fmla="*/ 158 w 181"/>
                <a:gd name="T69" fmla="*/ 37 h 193"/>
                <a:gd name="T70" fmla="*/ 151 w 181"/>
                <a:gd name="T71" fmla="*/ 2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193">
                  <a:moveTo>
                    <a:pt x="151" y="29"/>
                  </a:moveTo>
                  <a:lnTo>
                    <a:pt x="151" y="29"/>
                  </a:lnTo>
                  <a:lnTo>
                    <a:pt x="144" y="23"/>
                  </a:lnTo>
                  <a:lnTo>
                    <a:pt x="137" y="17"/>
                  </a:lnTo>
                  <a:lnTo>
                    <a:pt x="128" y="12"/>
                  </a:lnTo>
                  <a:lnTo>
                    <a:pt x="119" y="7"/>
                  </a:lnTo>
                  <a:lnTo>
                    <a:pt x="110" y="5"/>
                  </a:lnTo>
                  <a:lnTo>
                    <a:pt x="101" y="2"/>
                  </a:lnTo>
                  <a:lnTo>
                    <a:pt x="91" y="1"/>
                  </a:lnTo>
                  <a:lnTo>
                    <a:pt x="81" y="0"/>
                  </a:lnTo>
                  <a:lnTo>
                    <a:pt x="81" y="0"/>
                  </a:lnTo>
                  <a:lnTo>
                    <a:pt x="70" y="1"/>
                  </a:lnTo>
                  <a:lnTo>
                    <a:pt x="59" y="2"/>
                  </a:lnTo>
                  <a:lnTo>
                    <a:pt x="59" y="2"/>
                  </a:lnTo>
                  <a:lnTo>
                    <a:pt x="50" y="7"/>
                  </a:lnTo>
                  <a:lnTo>
                    <a:pt x="43" y="11"/>
                  </a:lnTo>
                  <a:lnTo>
                    <a:pt x="36" y="17"/>
                  </a:lnTo>
                  <a:lnTo>
                    <a:pt x="29" y="23"/>
                  </a:lnTo>
                  <a:lnTo>
                    <a:pt x="29" y="23"/>
                  </a:lnTo>
                  <a:lnTo>
                    <a:pt x="23" y="31"/>
                  </a:lnTo>
                  <a:lnTo>
                    <a:pt x="17" y="38"/>
                  </a:lnTo>
                  <a:lnTo>
                    <a:pt x="12" y="47"/>
                  </a:lnTo>
                  <a:lnTo>
                    <a:pt x="7" y="55"/>
                  </a:lnTo>
                  <a:lnTo>
                    <a:pt x="5" y="64"/>
                  </a:lnTo>
                  <a:lnTo>
                    <a:pt x="2" y="74"/>
                  </a:lnTo>
                  <a:lnTo>
                    <a:pt x="1" y="84"/>
                  </a:lnTo>
                  <a:lnTo>
                    <a:pt x="0" y="93"/>
                  </a:lnTo>
                  <a:lnTo>
                    <a:pt x="0" y="93"/>
                  </a:lnTo>
                  <a:lnTo>
                    <a:pt x="1" y="103"/>
                  </a:lnTo>
                  <a:lnTo>
                    <a:pt x="2" y="113"/>
                  </a:lnTo>
                  <a:lnTo>
                    <a:pt x="5" y="123"/>
                  </a:lnTo>
                  <a:lnTo>
                    <a:pt x="7" y="133"/>
                  </a:lnTo>
                  <a:lnTo>
                    <a:pt x="12" y="142"/>
                  </a:lnTo>
                  <a:lnTo>
                    <a:pt x="17" y="149"/>
                  </a:lnTo>
                  <a:lnTo>
                    <a:pt x="23" y="158"/>
                  </a:lnTo>
                  <a:lnTo>
                    <a:pt x="29" y="164"/>
                  </a:lnTo>
                  <a:lnTo>
                    <a:pt x="37" y="171"/>
                  </a:lnTo>
                  <a:lnTo>
                    <a:pt x="44" y="176"/>
                  </a:lnTo>
                  <a:lnTo>
                    <a:pt x="52" y="181"/>
                  </a:lnTo>
                  <a:lnTo>
                    <a:pt x="61" y="186"/>
                  </a:lnTo>
                  <a:lnTo>
                    <a:pt x="70" y="188"/>
                  </a:lnTo>
                  <a:lnTo>
                    <a:pt x="80" y="191"/>
                  </a:lnTo>
                  <a:lnTo>
                    <a:pt x="90" y="193"/>
                  </a:lnTo>
                  <a:lnTo>
                    <a:pt x="100" y="193"/>
                  </a:lnTo>
                  <a:lnTo>
                    <a:pt x="100" y="193"/>
                  </a:lnTo>
                  <a:lnTo>
                    <a:pt x="111" y="193"/>
                  </a:lnTo>
                  <a:lnTo>
                    <a:pt x="122" y="191"/>
                  </a:lnTo>
                  <a:lnTo>
                    <a:pt x="122" y="191"/>
                  </a:lnTo>
                  <a:lnTo>
                    <a:pt x="129" y="187"/>
                  </a:lnTo>
                  <a:lnTo>
                    <a:pt x="138" y="182"/>
                  </a:lnTo>
                  <a:lnTo>
                    <a:pt x="144" y="177"/>
                  </a:lnTo>
                  <a:lnTo>
                    <a:pt x="151" y="171"/>
                  </a:lnTo>
                  <a:lnTo>
                    <a:pt x="151" y="171"/>
                  </a:lnTo>
                  <a:lnTo>
                    <a:pt x="151" y="171"/>
                  </a:lnTo>
                  <a:lnTo>
                    <a:pt x="158" y="164"/>
                  </a:lnTo>
                  <a:lnTo>
                    <a:pt x="164" y="155"/>
                  </a:lnTo>
                  <a:lnTo>
                    <a:pt x="169" y="147"/>
                  </a:lnTo>
                  <a:lnTo>
                    <a:pt x="174" y="138"/>
                  </a:lnTo>
                  <a:lnTo>
                    <a:pt x="176" y="129"/>
                  </a:lnTo>
                  <a:lnTo>
                    <a:pt x="179" y="119"/>
                  </a:lnTo>
                  <a:lnTo>
                    <a:pt x="180" y="110"/>
                  </a:lnTo>
                  <a:lnTo>
                    <a:pt x="181" y="100"/>
                  </a:lnTo>
                  <a:lnTo>
                    <a:pt x="181" y="100"/>
                  </a:lnTo>
                  <a:lnTo>
                    <a:pt x="180" y="90"/>
                  </a:lnTo>
                  <a:lnTo>
                    <a:pt x="179" y="81"/>
                  </a:lnTo>
                  <a:lnTo>
                    <a:pt x="176" y="71"/>
                  </a:lnTo>
                  <a:lnTo>
                    <a:pt x="174" y="61"/>
                  </a:lnTo>
                  <a:lnTo>
                    <a:pt x="169" y="53"/>
                  </a:lnTo>
                  <a:lnTo>
                    <a:pt x="164" y="45"/>
                  </a:lnTo>
                  <a:lnTo>
                    <a:pt x="158" y="37"/>
                  </a:lnTo>
                  <a:lnTo>
                    <a:pt x="151" y="29"/>
                  </a:lnTo>
                  <a:lnTo>
                    <a:pt x="151"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0" name="Freeform 213">
              <a:extLst>
                <a:ext uri="{FF2B5EF4-FFF2-40B4-BE49-F238E27FC236}">
                  <a16:creationId xmlns:a16="http://schemas.microsoft.com/office/drawing/2014/main" id="{894E86EA-F123-16E2-24C4-4213A1C0E851}"/>
                </a:ext>
              </a:extLst>
            </p:cNvPr>
            <p:cNvSpPr>
              <a:spLocks/>
            </p:cNvSpPr>
            <p:nvPr/>
          </p:nvSpPr>
          <p:spPr bwMode="auto">
            <a:xfrm>
              <a:off x="3719513" y="573088"/>
              <a:ext cx="87313" cy="90488"/>
            </a:xfrm>
            <a:custGeom>
              <a:avLst/>
              <a:gdLst>
                <a:gd name="T0" fmla="*/ 50 w 55"/>
                <a:gd name="T1" fmla="*/ 52 h 57"/>
                <a:gd name="T2" fmla="*/ 50 w 55"/>
                <a:gd name="T3" fmla="*/ 52 h 57"/>
                <a:gd name="T4" fmla="*/ 45 w 55"/>
                <a:gd name="T5" fmla="*/ 56 h 57"/>
                <a:gd name="T6" fmla="*/ 39 w 55"/>
                <a:gd name="T7" fmla="*/ 57 h 57"/>
                <a:gd name="T8" fmla="*/ 32 w 55"/>
                <a:gd name="T9" fmla="*/ 56 h 57"/>
                <a:gd name="T10" fmla="*/ 27 w 55"/>
                <a:gd name="T11" fmla="*/ 52 h 57"/>
                <a:gd name="T12" fmla="*/ 5 w 55"/>
                <a:gd name="T13" fmla="*/ 30 h 57"/>
                <a:gd name="T14" fmla="*/ 5 w 55"/>
                <a:gd name="T15" fmla="*/ 30 h 57"/>
                <a:gd name="T16" fmla="*/ 1 w 55"/>
                <a:gd name="T17" fmla="*/ 24 h 57"/>
                <a:gd name="T18" fmla="*/ 0 w 55"/>
                <a:gd name="T19" fmla="*/ 18 h 57"/>
                <a:gd name="T20" fmla="*/ 1 w 55"/>
                <a:gd name="T21" fmla="*/ 12 h 57"/>
                <a:gd name="T22" fmla="*/ 5 w 55"/>
                <a:gd name="T23" fmla="*/ 5 h 57"/>
                <a:gd name="T24" fmla="*/ 5 w 55"/>
                <a:gd name="T25" fmla="*/ 5 h 57"/>
                <a:gd name="T26" fmla="*/ 5 w 55"/>
                <a:gd name="T27" fmla="*/ 5 h 57"/>
                <a:gd name="T28" fmla="*/ 5 w 55"/>
                <a:gd name="T29" fmla="*/ 5 h 57"/>
                <a:gd name="T30" fmla="*/ 11 w 55"/>
                <a:gd name="T31" fmla="*/ 2 h 57"/>
                <a:gd name="T32" fmla="*/ 17 w 55"/>
                <a:gd name="T33" fmla="*/ 0 h 57"/>
                <a:gd name="T34" fmla="*/ 23 w 55"/>
                <a:gd name="T35" fmla="*/ 2 h 57"/>
                <a:gd name="T36" fmla="*/ 29 w 55"/>
                <a:gd name="T37" fmla="*/ 5 h 57"/>
                <a:gd name="T38" fmla="*/ 50 w 55"/>
                <a:gd name="T39" fmla="*/ 28 h 57"/>
                <a:gd name="T40" fmla="*/ 50 w 55"/>
                <a:gd name="T41" fmla="*/ 28 h 57"/>
                <a:gd name="T42" fmla="*/ 54 w 55"/>
                <a:gd name="T43" fmla="*/ 34 h 57"/>
                <a:gd name="T44" fmla="*/ 55 w 55"/>
                <a:gd name="T45" fmla="*/ 40 h 57"/>
                <a:gd name="T46" fmla="*/ 54 w 55"/>
                <a:gd name="T47" fmla="*/ 46 h 57"/>
                <a:gd name="T48" fmla="*/ 50 w 55"/>
                <a:gd name="T49" fmla="*/ 52 h 57"/>
                <a:gd name="T50" fmla="*/ 50 w 55"/>
                <a:gd name="T51" fmla="*/ 52 h 57"/>
                <a:gd name="T52" fmla="*/ 50 w 55"/>
                <a:gd name="T53" fmla="*/ 52 h 57"/>
                <a:gd name="T54" fmla="*/ 50 w 55"/>
                <a:gd name="T55" fmla="*/ 5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5" h="57">
                  <a:moveTo>
                    <a:pt x="50" y="52"/>
                  </a:moveTo>
                  <a:lnTo>
                    <a:pt x="50" y="52"/>
                  </a:lnTo>
                  <a:lnTo>
                    <a:pt x="45" y="56"/>
                  </a:lnTo>
                  <a:lnTo>
                    <a:pt x="39" y="57"/>
                  </a:lnTo>
                  <a:lnTo>
                    <a:pt x="32" y="56"/>
                  </a:lnTo>
                  <a:lnTo>
                    <a:pt x="27" y="52"/>
                  </a:lnTo>
                  <a:lnTo>
                    <a:pt x="5" y="30"/>
                  </a:lnTo>
                  <a:lnTo>
                    <a:pt x="5" y="30"/>
                  </a:lnTo>
                  <a:lnTo>
                    <a:pt x="1" y="24"/>
                  </a:lnTo>
                  <a:lnTo>
                    <a:pt x="0" y="18"/>
                  </a:lnTo>
                  <a:lnTo>
                    <a:pt x="1" y="12"/>
                  </a:lnTo>
                  <a:lnTo>
                    <a:pt x="5" y="5"/>
                  </a:lnTo>
                  <a:lnTo>
                    <a:pt x="5" y="5"/>
                  </a:lnTo>
                  <a:lnTo>
                    <a:pt x="5" y="5"/>
                  </a:lnTo>
                  <a:lnTo>
                    <a:pt x="5" y="5"/>
                  </a:lnTo>
                  <a:lnTo>
                    <a:pt x="11" y="2"/>
                  </a:lnTo>
                  <a:lnTo>
                    <a:pt x="17" y="0"/>
                  </a:lnTo>
                  <a:lnTo>
                    <a:pt x="23" y="2"/>
                  </a:lnTo>
                  <a:lnTo>
                    <a:pt x="29" y="5"/>
                  </a:lnTo>
                  <a:lnTo>
                    <a:pt x="50" y="28"/>
                  </a:lnTo>
                  <a:lnTo>
                    <a:pt x="50" y="28"/>
                  </a:lnTo>
                  <a:lnTo>
                    <a:pt x="54" y="34"/>
                  </a:lnTo>
                  <a:lnTo>
                    <a:pt x="55" y="40"/>
                  </a:lnTo>
                  <a:lnTo>
                    <a:pt x="54" y="46"/>
                  </a:lnTo>
                  <a:lnTo>
                    <a:pt x="50" y="52"/>
                  </a:lnTo>
                  <a:lnTo>
                    <a:pt x="50" y="52"/>
                  </a:lnTo>
                  <a:lnTo>
                    <a:pt x="50" y="52"/>
                  </a:lnTo>
                  <a:lnTo>
                    <a:pt x="50" y="52"/>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1" name="Freeform 214">
              <a:extLst>
                <a:ext uri="{FF2B5EF4-FFF2-40B4-BE49-F238E27FC236}">
                  <a16:creationId xmlns:a16="http://schemas.microsoft.com/office/drawing/2014/main" id="{A9E5E0D3-115B-9B3B-868C-F7D014D44E63}"/>
                </a:ext>
              </a:extLst>
            </p:cNvPr>
            <p:cNvSpPr>
              <a:spLocks/>
            </p:cNvSpPr>
            <p:nvPr/>
          </p:nvSpPr>
          <p:spPr bwMode="auto">
            <a:xfrm>
              <a:off x="3603625" y="258763"/>
              <a:ext cx="201613" cy="401638"/>
            </a:xfrm>
            <a:custGeom>
              <a:avLst/>
              <a:gdLst>
                <a:gd name="T0" fmla="*/ 1 w 127"/>
                <a:gd name="T1" fmla="*/ 0 h 253"/>
                <a:gd name="T2" fmla="*/ 27 w 127"/>
                <a:gd name="T3" fmla="*/ 2 h 253"/>
                <a:gd name="T4" fmla="*/ 51 w 127"/>
                <a:gd name="T5" fmla="*/ 10 h 253"/>
                <a:gd name="T6" fmla="*/ 71 w 127"/>
                <a:gd name="T7" fmla="*/ 21 h 253"/>
                <a:gd name="T8" fmla="*/ 90 w 127"/>
                <a:gd name="T9" fmla="*/ 37 h 253"/>
                <a:gd name="T10" fmla="*/ 106 w 127"/>
                <a:gd name="T11" fmla="*/ 55 h 253"/>
                <a:gd name="T12" fmla="*/ 117 w 127"/>
                <a:gd name="T13" fmla="*/ 78 h 253"/>
                <a:gd name="T14" fmla="*/ 125 w 127"/>
                <a:gd name="T15" fmla="*/ 101 h 253"/>
                <a:gd name="T16" fmla="*/ 127 w 127"/>
                <a:gd name="T17" fmla="*/ 126 h 253"/>
                <a:gd name="T18" fmla="*/ 127 w 127"/>
                <a:gd name="T19" fmla="*/ 139 h 253"/>
                <a:gd name="T20" fmla="*/ 122 w 127"/>
                <a:gd name="T21" fmla="*/ 163 h 253"/>
                <a:gd name="T22" fmla="*/ 112 w 127"/>
                <a:gd name="T23" fmla="*/ 186 h 253"/>
                <a:gd name="T24" fmla="*/ 99 w 127"/>
                <a:gd name="T25" fmla="*/ 206 h 253"/>
                <a:gd name="T26" fmla="*/ 90 w 127"/>
                <a:gd name="T27" fmla="*/ 216 h 253"/>
                <a:gd name="T28" fmla="*/ 71 w 127"/>
                <a:gd name="T29" fmla="*/ 232 h 253"/>
                <a:gd name="T30" fmla="*/ 49 w 127"/>
                <a:gd name="T31" fmla="*/ 243 h 253"/>
                <a:gd name="T32" fmla="*/ 26 w 127"/>
                <a:gd name="T33" fmla="*/ 250 h 253"/>
                <a:gd name="T34" fmla="*/ 1 w 127"/>
                <a:gd name="T35" fmla="*/ 253 h 253"/>
                <a:gd name="T36" fmla="*/ 0 w 127"/>
                <a:gd name="T37" fmla="*/ 253 h 253"/>
                <a:gd name="T38" fmla="*/ 1 w 127"/>
                <a:gd name="T39" fmla="*/ 235 h 253"/>
                <a:gd name="T40" fmla="*/ 1 w 127"/>
                <a:gd name="T41" fmla="*/ 235 h 253"/>
                <a:gd name="T42" fmla="*/ 22 w 127"/>
                <a:gd name="T43" fmla="*/ 234 h 253"/>
                <a:gd name="T44" fmla="*/ 43 w 127"/>
                <a:gd name="T45" fmla="*/ 228 h 253"/>
                <a:gd name="T46" fmla="*/ 62 w 127"/>
                <a:gd name="T47" fmla="*/ 217 h 253"/>
                <a:gd name="T48" fmla="*/ 79 w 127"/>
                <a:gd name="T49" fmla="*/ 203 h 253"/>
                <a:gd name="T50" fmla="*/ 86 w 127"/>
                <a:gd name="T51" fmla="*/ 196 h 253"/>
                <a:gd name="T52" fmla="*/ 97 w 127"/>
                <a:gd name="T53" fmla="*/ 177 h 253"/>
                <a:gd name="T54" fmla="*/ 106 w 127"/>
                <a:gd name="T55" fmla="*/ 158 h 253"/>
                <a:gd name="T56" fmla="*/ 110 w 127"/>
                <a:gd name="T57" fmla="*/ 137 h 253"/>
                <a:gd name="T58" fmla="*/ 111 w 127"/>
                <a:gd name="T59" fmla="*/ 126 h 253"/>
                <a:gd name="T60" fmla="*/ 108 w 127"/>
                <a:gd name="T61" fmla="*/ 105 h 253"/>
                <a:gd name="T62" fmla="*/ 102 w 127"/>
                <a:gd name="T63" fmla="*/ 84 h 253"/>
                <a:gd name="T64" fmla="*/ 92 w 127"/>
                <a:gd name="T65" fmla="*/ 65 h 253"/>
                <a:gd name="T66" fmla="*/ 79 w 127"/>
                <a:gd name="T67" fmla="*/ 49 h 253"/>
                <a:gd name="T68" fmla="*/ 63 w 127"/>
                <a:gd name="T69" fmla="*/ 36 h 253"/>
                <a:gd name="T70" fmla="*/ 43 w 127"/>
                <a:gd name="T71" fmla="*/ 25 h 253"/>
                <a:gd name="T72" fmla="*/ 23 w 127"/>
                <a:gd name="T73" fmla="*/ 18 h 253"/>
                <a:gd name="T74" fmla="*/ 1 w 127"/>
                <a:gd name="T75" fmla="*/ 16 h 253"/>
                <a:gd name="T76" fmla="*/ 1 w 127"/>
                <a:gd name="T77"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7" h="253">
                  <a:moveTo>
                    <a:pt x="1" y="0"/>
                  </a:moveTo>
                  <a:lnTo>
                    <a:pt x="1" y="0"/>
                  </a:lnTo>
                  <a:lnTo>
                    <a:pt x="14" y="0"/>
                  </a:lnTo>
                  <a:lnTo>
                    <a:pt x="27" y="2"/>
                  </a:lnTo>
                  <a:lnTo>
                    <a:pt x="38" y="5"/>
                  </a:lnTo>
                  <a:lnTo>
                    <a:pt x="51" y="10"/>
                  </a:lnTo>
                  <a:lnTo>
                    <a:pt x="62" y="15"/>
                  </a:lnTo>
                  <a:lnTo>
                    <a:pt x="71" y="21"/>
                  </a:lnTo>
                  <a:lnTo>
                    <a:pt x="81" y="28"/>
                  </a:lnTo>
                  <a:lnTo>
                    <a:pt x="90" y="37"/>
                  </a:lnTo>
                  <a:lnTo>
                    <a:pt x="99" y="45"/>
                  </a:lnTo>
                  <a:lnTo>
                    <a:pt x="106" y="55"/>
                  </a:lnTo>
                  <a:lnTo>
                    <a:pt x="112" y="66"/>
                  </a:lnTo>
                  <a:lnTo>
                    <a:pt x="117" y="78"/>
                  </a:lnTo>
                  <a:lnTo>
                    <a:pt x="122" y="89"/>
                  </a:lnTo>
                  <a:lnTo>
                    <a:pt x="125" y="101"/>
                  </a:lnTo>
                  <a:lnTo>
                    <a:pt x="127" y="113"/>
                  </a:lnTo>
                  <a:lnTo>
                    <a:pt x="127" y="126"/>
                  </a:lnTo>
                  <a:lnTo>
                    <a:pt x="127" y="126"/>
                  </a:lnTo>
                  <a:lnTo>
                    <a:pt x="127" y="139"/>
                  </a:lnTo>
                  <a:lnTo>
                    <a:pt x="125" y="152"/>
                  </a:lnTo>
                  <a:lnTo>
                    <a:pt x="122" y="163"/>
                  </a:lnTo>
                  <a:lnTo>
                    <a:pt x="118" y="175"/>
                  </a:lnTo>
                  <a:lnTo>
                    <a:pt x="112" y="186"/>
                  </a:lnTo>
                  <a:lnTo>
                    <a:pt x="106" y="196"/>
                  </a:lnTo>
                  <a:lnTo>
                    <a:pt x="99" y="206"/>
                  </a:lnTo>
                  <a:lnTo>
                    <a:pt x="90" y="216"/>
                  </a:lnTo>
                  <a:lnTo>
                    <a:pt x="90" y="216"/>
                  </a:lnTo>
                  <a:lnTo>
                    <a:pt x="81" y="224"/>
                  </a:lnTo>
                  <a:lnTo>
                    <a:pt x="71" y="232"/>
                  </a:lnTo>
                  <a:lnTo>
                    <a:pt x="60" y="238"/>
                  </a:lnTo>
                  <a:lnTo>
                    <a:pt x="49" y="243"/>
                  </a:lnTo>
                  <a:lnTo>
                    <a:pt x="38" y="248"/>
                  </a:lnTo>
                  <a:lnTo>
                    <a:pt x="26" y="250"/>
                  </a:lnTo>
                  <a:lnTo>
                    <a:pt x="14" y="253"/>
                  </a:lnTo>
                  <a:lnTo>
                    <a:pt x="1" y="253"/>
                  </a:lnTo>
                  <a:lnTo>
                    <a:pt x="1" y="253"/>
                  </a:lnTo>
                  <a:lnTo>
                    <a:pt x="0" y="253"/>
                  </a:lnTo>
                  <a:lnTo>
                    <a:pt x="1" y="235"/>
                  </a:lnTo>
                  <a:lnTo>
                    <a:pt x="1" y="235"/>
                  </a:lnTo>
                  <a:lnTo>
                    <a:pt x="1" y="235"/>
                  </a:lnTo>
                  <a:lnTo>
                    <a:pt x="1" y="235"/>
                  </a:lnTo>
                  <a:lnTo>
                    <a:pt x="12" y="235"/>
                  </a:lnTo>
                  <a:lnTo>
                    <a:pt x="22" y="234"/>
                  </a:lnTo>
                  <a:lnTo>
                    <a:pt x="33" y="232"/>
                  </a:lnTo>
                  <a:lnTo>
                    <a:pt x="43" y="228"/>
                  </a:lnTo>
                  <a:lnTo>
                    <a:pt x="53" y="223"/>
                  </a:lnTo>
                  <a:lnTo>
                    <a:pt x="62" y="217"/>
                  </a:lnTo>
                  <a:lnTo>
                    <a:pt x="70" y="211"/>
                  </a:lnTo>
                  <a:lnTo>
                    <a:pt x="79" y="203"/>
                  </a:lnTo>
                  <a:lnTo>
                    <a:pt x="79" y="203"/>
                  </a:lnTo>
                  <a:lnTo>
                    <a:pt x="86" y="196"/>
                  </a:lnTo>
                  <a:lnTo>
                    <a:pt x="92" y="187"/>
                  </a:lnTo>
                  <a:lnTo>
                    <a:pt x="97" y="177"/>
                  </a:lnTo>
                  <a:lnTo>
                    <a:pt x="102" y="168"/>
                  </a:lnTo>
                  <a:lnTo>
                    <a:pt x="106" y="158"/>
                  </a:lnTo>
                  <a:lnTo>
                    <a:pt x="108" y="148"/>
                  </a:lnTo>
                  <a:lnTo>
                    <a:pt x="110" y="137"/>
                  </a:lnTo>
                  <a:lnTo>
                    <a:pt x="111" y="126"/>
                  </a:lnTo>
                  <a:lnTo>
                    <a:pt x="111" y="126"/>
                  </a:lnTo>
                  <a:lnTo>
                    <a:pt x="110" y="115"/>
                  </a:lnTo>
                  <a:lnTo>
                    <a:pt x="108" y="105"/>
                  </a:lnTo>
                  <a:lnTo>
                    <a:pt x="106" y="94"/>
                  </a:lnTo>
                  <a:lnTo>
                    <a:pt x="102" y="84"/>
                  </a:lnTo>
                  <a:lnTo>
                    <a:pt x="97" y="74"/>
                  </a:lnTo>
                  <a:lnTo>
                    <a:pt x="92" y="65"/>
                  </a:lnTo>
                  <a:lnTo>
                    <a:pt x="85" y="57"/>
                  </a:lnTo>
                  <a:lnTo>
                    <a:pt x="79" y="49"/>
                  </a:lnTo>
                  <a:lnTo>
                    <a:pt x="70" y="42"/>
                  </a:lnTo>
                  <a:lnTo>
                    <a:pt x="63" y="36"/>
                  </a:lnTo>
                  <a:lnTo>
                    <a:pt x="53" y="29"/>
                  </a:lnTo>
                  <a:lnTo>
                    <a:pt x="43" y="25"/>
                  </a:lnTo>
                  <a:lnTo>
                    <a:pt x="33" y="21"/>
                  </a:lnTo>
                  <a:lnTo>
                    <a:pt x="23" y="18"/>
                  </a:lnTo>
                  <a:lnTo>
                    <a:pt x="12" y="17"/>
                  </a:lnTo>
                  <a:lnTo>
                    <a:pt x="1" y="16"/>
                  </a:lnTo>
                  <a:lnTo>
                    <a:pt x="1" y="0"/>
                  </a:lnTo>
                  <a:lnTo>
                    <a:pt x="1" y="0"/>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2" name="Freeform 215">
              <a:extLst>
                <a:ext uri="{FF2B5EF4-FFF2-40B4-BE49-F238E27FC236}">
                  <a16:creationId xmlns:a16="http://schemas.microsoft.com/office/drawing/2014/main" id="{C968C160-1E23-CD2D-3CD1-19997D8100BE}"/>
                </a:ext>
              </a:extLst>
            </p:cNvPr>
            <p:cNvSpPr>
              <a:spLocks/>
            </p:cNvSpPr>
            <p:nvPr/>
          </p:nvSpPr>
          <p:spPr bwMode="auto">
            <a:xfrm>
              <a:off x="3471863" y="323850"/>
              <a:ext cx="290513" cy="293688"/>
            </a:xfrm>
            <a:custGeom>
              <a:avLst/>
              <a:gdLst>
                <a:gd name="T0" fmla="*/ 72 w 183"/>
                <a:gd name="T1" fmla="*/ 162 h 185"/>
                <a:gd name="T2" fmla="*/ 74 w 183"/>
                <a:gd name="T3" fmla="*/ 144 h 185"/>
                <a:gd name="T4" fmla="*/ 79 w 183"/>
                <a:gd name="T5" fmla="*/ 128 h 185"/>
                <a:gd name="T6" fmla="*/ 88 w 183"/>
                <a:gd name="T7" fmla="*/ 113 h 185"/>
                <a:gd name="T8" fmla="*/ 98 w 183"/>
                <a:gd name="T9" fmla="*/ 99 h 185"/>
                <a:gd name="T10" fmla="*/ 111 w 183"/>
                <a:gd name="T11" fmla="*/ 88 h 185"/>
                <a:gd name="T12" fmla="*/ 126 w 183"/>
                <a:gd name="T13" fmla="*/ 81 h 185"/>
                <a:gd name="T14" fmla="*/ 143 w 183"/>
                <a:gd name="T15" fmla="*/ 75 h 185"/>
                <a:gd name="T16" fmla="*/ 161 w 183"/>
                <a:gd name="T17" fmla="*/ 74 h 185"/>
                <a:gd name="T18" fmla="*/ 172 w 183"/>
                <a:gd name="T19" fmla="*/ 75 h 185"/>
                <a:gd name="T20" fmla="*/ 183 w 183"/>
                <a:gd name="T21" fmla="*/ 76 h 185"/>
                <a:gd name="T22" fmla="*/ 180 w 183"/>
                <a:gd name="T23" fmla="*/ 59 h 185"/>
                <a:gd name="T24" fmla="*/ 174 w 183"/>
                <a:gd name="T25" fmla="*/ 43 h 185"/>
                <a:gd name="T26" fmla="*/ 166 w 183"/>
                <a:gd name="T27" fmla="*/ 28 h 185"/>
                <a:gd name="T28" fmla="*/ 154 w 183"/>
                <a:gd name="T29" fmla="*/ 14 h 185"/>
                <a:gd name="T30" fmla="*/ 145 w 183"/>
                <a:gd name="T31" fmla="*/ 7 h 185"/>
                <a:gd name="T32" fmla="*/ 135 w 183"/>
                <a:gd name="T33" fmla="*/ 0 h 185"/>
                <a:gd name="T34" fmla="*/ 134 w 183"/>
                <a:gd name="T35" fmla="*/ 4 h 185"/>
                <a:gd name="T36" fmla="*/ 134 w 183"/>
                <a:gd name="T37" fmla="*/ 25 h 185"/>
                <a:gd name="T38" fmla="*/ 113 w 183"/>
                <a:gd name="T39" fmla="*/ 30 h 185"/>
                <a:gd name="T40" fmla="*/ 103 w 183"/>
                <a:gd name="T41" fmla="*/ 14 h 185"/>
                <a:gd name="T42" fmla="*/ 98 w 183"/>
                <a:gd name="T43" fmla="*/ 9 h 185"/>
                <a:gd name="T44" fmla="*/ 90 w 183"/>
                <a:gd name="T45" fmla="*/ 11 h 185"/>
                <a:gd name="T46" fmla="*/ 61 w 183"/>
                <a:gd name="T47" fmla="*/ 28 h 185"/>
                <a:gd name="T48" fmla="*/ 57 w 183"/>
                <a:gd name="T49" fmla="*/ 33 h 185"/>
                <a:gd name="T50" fmla="*/ 58 w 183"/>
                <a:gd name="T51" fmla="*/ 39 h 185"/>
                <a:gd name="T52" fmla="*/ 68 w 183"/>
                <a:gd name="T53" fmla="*/ 58 h 185"/>
                <a:gd name="T54" fmla="*/ 53 w 183"/>
                <a:gd name="T55" fmla="*/ 72 h 185"/>
                <a:gd name="T56" fmla="*/ 36 w 183"/>
                <a:gd name="T57" fmla="*/ 62 h 185"/>
                <a:gd name="T58" fmla="*/ 30 w 183"/>
                <a:gd name="T59" fmla="*/ 62 h 185"/>
                <a:gd name="T60" fmla="*/ 25 w 183"/>
                <a:gd name="T61" fmla="*/ 66 h 185"/>
                <a:gd name="T62" fmla="*/ 8 w 183"/>
                <a:gd name="T63" fmla="*/ 96 h 185"/>
                <a:gd name="T64" fmla="*/ 6 w 183"/>
                <a:gd name="T65" fmla="*/ 102 h 185"/>
                <a:gd name="T66" fmla="*/ 10 w 183"/>
                <a:gd name="T67" fmla="*/ 107 h 185"/>
                <a:gd name="T68" fmla="*/ 29 w 183"/>
                <a:gd name="T69" fmla="*/ 118 h 185"/>
                <a:gd name="T70" fmla="*/ 23 w 183"/>
                <a:gd name="T71" fmla="*/ 139 h 185"/>
                <a:gd name="T72" fmla="*/ 3 w 183"/>
                <a:gd name="T73" fmla="*/ 139 h 185"/>
                <a:gd name="T74" fmla="*/ 0 w 183"/>
                <a:gd name="T75" fmla="*/ 139 h 185"/>
                <a:gd name="T76" fmla="*/ 14 w 183"/>
                <a:gd name="T77" fmla="*/ 156 h 185"/>
                <a:gd name="T78" fmla="*/ 32 w 183"/>
                <a:gd name="T79" fmla="*/ 170 h 185"/>
                <a:gd name="T80" fmla="*/ 52 w 183"/>
                <a:gd name="T81" fmla="*/ 180 h 185"/>
                <a:gd name="T82" fmla="*/ 76 w 183"/>
                <a:gd name="T83" fmla="*/ 185 h 185"/>
                <a:gd name="T84" fmla="*/ 73 w 183"/>
                <a:gd name="T85" fmla="*/ 173 h 185"/>
                <a:gd name="T86" fmla="*/ 72 w 183"/>
                <a:gd name="T87" fmla="*/ 16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3" h="185">
                  <a:moveTo>
                    <a:pt x="72" y="162"/>
                  </a:moveTo>
                  <a:lnTo>
                    <a:pt x="72" y="162"/>
                  </a:lnTo>
                  <a:lnTo>
                    <a:pt x="73" y="154"/>
                  </a:lnTo>
                  <a:lnTo>
                    <a:pt x="74" y="144"/>
                  </a:lnTo>
                  <a:lnTo>
                    <a:pt x="77" y="136"/>
                  </a:lnTo>
                  <a:lnTo>
                    <a:pt x="79" y="128"/>
                  </a:lnTo>
                  <a:lnTo>
                    <a:pt x="83" y="120"/>
                  </a:lnTo>
                  <a:lnTo>
                    <a:pt x="88" y="113"/>
                  </a:lnTo>
                  <a:lnTo>
                    <a:pt x="93" y="106"/>
                  </a:lnTo>
                  <a:lnTo>
                    <a:pt x="98" y="99"/>
                  </a:lnTo>
                  <a:lnTo>
                    <a:pt x="104" y="93"/>
                  </a:lnTo>
                  <a:lnTo>
                    <a:pt x="111" y="88"/>
                  </a:lnTo>
                  <a:lnTo>
                    <a:pt x="119" y="85"/>
                  </a:lnTo>
                  <a:lnTo>
                    <a:pt x="126" y="81"/>
                  </a:lnTo>
                  <a:lnTo>
                    <a:pt x="135" y="77"/>
                  </a:lnTo>
                  <a:lnTo>
                    <a:pt x="143" y="75"/>
                  </a:lnTo>
                  <a:lnTo>
                    <a:pt x="152" y="74"/>
                  </a:lnTo>
                  <a:lnTo>
                    <a:pt x="161" y="74"/>
                  </a:lnTo>
                  <a:lnTo>
                    <a:pt x="161" y="74"/>
                  </a:lnTo>
                  <a:lnTo>
                    <a:pt x="172" y="75"/>
                  </a:lnTo>
                  <a:lnTo>
                    <a:pt x="183" y="76"/>
                  </a:lnTo>
                  <a:lnTo>
                    <a:pt x="183" y="76"/>
                  </a:lnTo>
                  <a:lnTo>
                    <a:pt x="182" y="67"/>
                  </a:lnTo>
                  <a:lnTo>
                    <a:pt x="180" y="59"/>
                  </a:lnTo>
                  <a:lnTo>
                    <a:pt x="178" y="51"/>
                  </a:lnTo>
                  <a:lnTo>
                    <a:pt x="174" y="43"/>
                  </a:lnTo>
                  <a:lnTo>
                    <a:pt x="171" y="35"/>
                  </a:lnTo>
                  <a:lnTo>
                    <a:pt x="166" y="28"/>
                  </a:lnTo>
                  <a:lnTo>
                    <a:pt x="161" y="21"/>
                  </a:lnTo>
                  <a:lnTo>
                    <a:pt x="154" y="14"/>
                  </a:lnTo>
                  <a:lnTo>
                    <a:pt x="154" y="14"/>
                  </a:lnTo>
                  <a:lnTo>
                    <a:pt x="145" y="7"/>
                  </a:lnTo>
                  <a:lnTo>
                    <a:pt x="135" y="0"/>
                  </a:lnTo>
                  <a:lnTo>
                    <a:pt x="135" y="0"/>
                  </a:lnTo>
                  <a:lnTo>
                    <a:pt x="134" y="2"/>
                  </a:lnTo>
                  <a:lnTo>
                    <a:pt x="134" y="4"/>
                  </a:lnTo>
                  <a:lnTo>
                    <a:pt x="134" y="25"/>
                  </a:lnTo>
                  <a:lnTo>
                    <a:pt x="134" y="25"/>
                  </a:lnTo>
                  <a:lnTo>
                    <a:pt x="122" y="28"/>
                  </a:lnTo>
                  <a:lnTo>
                    <a:pt x="113" y="30"/>
                  </a:lnTo>
                  <a:lnTo>
                    <a:pt x="103" y="14"/>
                  </a:lnTo>
                  <a:lnTo>
                    <a:pt x="103" y="14"/>
                  </a:lnTo>
                  <a:lnTo>
                    <a:pt x="100" y="11"/>
                  </a:lnTo>
                  <a:lnTo>
                    <a:pt x="98" y="9"/>
                  </a:lnTo>
                  <a:lnTo>
                    <a:pt x="94" y="9"/>
                  </a:lnTo>
                  <a:lnTo>
                    <a:pt x="90" y="11"/>
                  </a:lnTo>
                  <a:lnTo>
                    <a:pt x="61" y="28"/>
                  </a:lnTo>
                  <a:lnTo>
                    <a:pt x="61" y="28"/>
                  </a:lnTo>
                  <a:lnTo>
                    <a:pt x="58" y="30"/>
                  </a:lnTo>
                  <a:lnTo>
                    <a:pt x="57" y="33"/>
                  </a:lnTo>
                  <a:lnTo>
                    <a:pt x="57" y="37"/>
                  </a:lnTo>
                  <a:lnTo>
                    <a:pt x="58" y="39"/>
                  </a:lnTo>
                  <a:lnTo>
                    <a:pt x="68" y="58"/>
                  </a:lnTo>
                  <a:lnTo>
                    <a:pt x="68" y="58"/>
                  </a:lnTo>
                  <a:lnTo>
                    <a:pt x="61" y="65"/>
                  </a:lnTo>
                  <a:lnTo>
                    <a:pt x="53" y="72"/>
                  </a:lnTo>
                  <a:lnTo>
                    <a:pt x="36" y="62"/>
                  </a:lnTo>
                  <a:lnTo>
                    <a:pt x="36" y="62"/>
                  </a:lnTo>
                  <a:lnTo>
                    <a:pt x="34" y="61"/>
                  </a:lnTo>
                  <a:lnTo>
                    <a:pt x="30" y="62"/>
                  </a:lnTo>
                  <a:lnTo>
                    <a:pt x="26" y="64"/>
                  </a:lnTo>
                  <a:lnTo>
                    <a:pt x="25" y="66"/>
                  </a:lnTo>
                  <a:lnTo>
                    <a:pt x="8" y="96"/>
                  </a:lnTo>
                  <a:lnTo>
                    <a:pt x="8" y="96"/>
                  </a:lnTo>
                  <a:lnTo>
                    <a:pt x="6" y="98"/>
                  </a:lnTo>
                  <a:lnTo>
                    <a:pt x="6" y="102"/>
                  </a:lnTo>
                  <a:lnTo>
                    <a:pt x="8" y="104"/>
                  </a:lnTo>
                  <a:lnTo>
                    <a:pt x="10" y="107"/>
                  </a:lnTo>
                  <a:lnTo>
                    <a:pt x="29" y="118"/>
                  </a:lnTo>
                  <a:lnTo>
                    <a:pt x="29" y="118"/>
                  </a:lnTo>
                  <a:lnTo>
                    <a:pt x="25" y="128"/>
                  </a:lnTo>
                  <a:lnTo>
                    <a:pt x="23" y="139"/>
                  </a:lnTo>
                  <a:lnTo>
                    <a:pt x="3" y="139"/>
                  </a:lnTo>
                  <a:lnTo>
                    <a:pt x="3" y="139"/>
                  </a:lnTo>
                  <a:lnTo>
                    <a:pt x="0" y="139"/>
                  </a:lnTo>
                  <a:lnTo>
                    <a:pt x="0" y="139"/>
                  </a:lnTo>
                  <a:lnTo>
                    <a:pt x="6" y="149"/>
                  </a:lnTo>
                  <a:lnTo>
                    <a:pt x="14" y="156"/>
                  </a:lnTo>
                  <a:lnTo>
                    <a:pt x="23" y="164"/>
                  </a:lnTo>
                  <a:lnTo>
                    <a:pt x="32" y="170"/>
                  </a:lnTo>
                  <a:lnTo>
                    <a:pt x="42" y="176"/>
                  </a:lnTo>
                  <a:lnTo>
                    <a:pt x="52" y="180"/>
                  </a:lnTo>
                  <a:lnTo>
                    <a:pt x="63" y="183"/>
                  </a:lnTo>
                  <a:lnTo>
                    <a:pt x="76" y="185"/>
                  </a:lnTo>
                  <a:lnTo>
                    <a:pt x="76" y="185"/>
                  </a:lnTo>
                  <a:lnTo>
                    <a:pt x="73" y="173"/>
                  </a:lnTo>
                  <a:lnTo>
                    <a:pt x="72" y="162"/>
                  </a:lnTo>
                  <a:lnTo>
                    <a:pt x="72" y="162"/>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3" name="Freeform 216">
              <a:extLst>
                <a:ext uri="{FF2B5EF4-FFF2-40B4-BE49-F238E27FC236}">
                  <a16:creationId xmlns:a16="http://schemas.microsoft.com/office/drawing/2014/main" id="{45D71226-BEEB-E80F-0215-AFA1D40C4920}"/>
                </a:ext>
              </a:extLst>
            </p:cNvPr>
            <p:cNvSpPr>
              <a:spLocks/>
            </p:cNvSpPr>
            <p:nvPr/>
          </p:nvSpPr>
          <p:spPr bwMode="auto">
            <a:xfrm>
              <a:off x="3471863" y="544513"/>
              <a:ext cx="120650" cy="73025"/>
            </a:xfrm>
            <a:custGeom>
              <a:avLst/>
              <a:gdLst>
                <a:gd name="T0" fmla="*/ 23 w 76"/>
                <a:gd name="T1" fmla="*/ 0 h 46"/>
                <a:gd name="T2" fmla="*/ 23 w 76"/>
                <a:gd name="T3" fmla="*/ 0 h 46"/>
                <a:gd name="T4" fmla="*/ 23 w 76"/>
                <a:gd name="T5" fmla="*/ 0 h 46"/>
                <a:gd name="T6" fmla="*/ 3 w 76"/>
                <a:gd name="T7" fmla="*/ 0 h 46"/>
                <a:gd name="T8" fmla="*/ 3 w 76"/>
                <a:gd name="T9" fmla="*/ 0 h 46"/>
                <a:gd name="T10" fmla="*/ 0 w 76"/>
                <a:gd name="T11" fmla="*/ 0 h 46"/>
                <a:gd name="T12" fmla="*/ 0 w 76"/>
                <a:gd name="T13" fmla="*/ 0 h 46"/>
                <a:gd name="T14" fmla="*/ 3 w 76"/>
                <a:gd name="T15" fmla="*/ 4 h 46"/>
                <a:gd name="T16" fmla="*/ 3 w 76"/>
                <a:gd name="T17" fmla="*/ 4 h 46"/>
                <a:gd name="T18" fmla="*/ 4 w 76"/>
                <a:gd name="T19" fmla="*/ 6 h 46"/>
                <a:gd name="T20" fmla="*/ 4 w 76"/>
                <a:gd name="T21" fmla="*/ 6 h 46"/>
                <a:gd name="T22" fmla="*/ 9 w 76"/>
                <a:gd name="T23" fmla="*/ 12 h 46"/>
                <a:gd name="T24" fmla="*/ 9 w 76"/>
                <a:gd name="T25" fmla="*/ 12 h 46"/>
                <a:gd name="T26" fmla="*/ 11 w 76"/>
                <a:gd name="T27" fmla="*/ 15 h 46"/>
                <a:gd name="T28" fmla="*/ 11 w 76"/>
                <a:gd name="T29" fmla="*/ 15 h 46"/>
                <a:gd name="T30" fmla="*/ 15 w 76"/>
                <a:gd name="T31" fmla="*/ 18 h 46"/>
                <a:gd name="T32" fmla="*/ 15 w 76"/>
                <a:gd name="T33" fmla="*/ 18 h 46"/>
                <a:gd name="T34" fmla="*/ 19 w 76"/>
                <a:gd name="T35" fmla="*/ 22 h 46"/>
                <a:gd name="T36" fmla="*/ 19 w 76"/>
                <a:gd name="T37" fmla="*/ 22 h 46"/>
                <a:gd name="T38" fmla="*/ 23 w 76"/>
                <a:gd name="T39" fmla="*/ 25 h 46"/>
                <a:gd name="T40" fmla="*/ 23 w 76"/>
                <a:gd name="T41" fmla="*/ 25 h 46"/>
                <a:gd name="T42" fmla="*/ 25 w 76"/>
                <a:gd name="T43" fmla="*/ 27 h 46"/>
                <a:gd name="T44" fmla="*/ 25 w 76"/>
                <a:gd name="T45" fmla="*/ 27 h 46"/>
                <a:gd name="T46" fmla="*/ 30 w 76"/>
                <a:gd name="T47" fmla="*/ 31 h 46"/>
                <a:gd name="T48" fmla="*/ 30 w 76"/>
                <a:gd name="T49" fmla="*/ 31 h 46"/>
                <a:gd name="T50" fmla="*/ 34 w 76"/>
                <a:gd name="T51" fmla="*/ 32 h 46"/>
                <a:gd name="T52" fmla="*/ 34 w 76"/>
                <a:gd name="T53" fmla="*/ 32 h 46"/>
                <a:gd name="T54" fmla="*/ 40 w 76"/>
                <a:gd name="T55" fmla="*/ 36 h 46"/>
                <a:gd name="T56" fmla="*/ 40 w 76"/>
                <a:gd name="T57" fmla="*/ 36 h 46"/>
                <a:gd name="T58" fmla="*/ 42 w 76"/>
                <a:gd name="T59" fmla="*/ 37 h 46"/>
                <a:gd name="T60" fmla="*/ 42 w 76"/>
                <a:gd name="T61" fmla="*/ 37 h 46"/>
                <a:gd name="T62" fmla="*/ 47 w 76"/>
                <a:gd name="T63" fmla="*/ 39 h 46"/>
                <a:gd name="T64" fmla="*/ 47 w 76"/>
                <a:gd name="T65" fmla="*/ 39 h 46"/>
                <a:gd name="T66" fmla="*/ 51 w 76"/>
                <a:gd name="T67" fmla="*/ 41 h 46"/>
                <a:gd name="T68" fmla="*/ 51 w 76"/>
                <a:gd name="T69" fmla="*/ 41 h 46"/>
                <a:gd name="T70" fmla="*/ 57 w 76"/>
                <a:gd name="T71" fmla="*/ 42 h 46"/>
                <a:gd name="T72" fmla="*/ 57 w 76"/>
                <a:gd name="T73" fmla="*/ 42 h 46"/>
                <a:gd name="T74" fmla="*/ 60 w 76"/>
                <a:gd name="T75" fmla="*/ 43 h 46"/>
                <a:gd name="T76" fmla="*/ 60 w 76"/>
                <a:gd name="T77" fmla="*/ 43 h 46"/>
                <a:gd name="T78" fmla="*/ 67 w 76"/>
                <a:gd name="T79" fmla="*/ 44 h 46"/>
                <a:gd name="T80" fmla="*/ 67 w 76"/>
                <a:gd name="T81" fmla="*/ 44 h 46"/>
                <a:gd name="T82" fmla="*/ 71 w 76"/>
                <a:gd name="T83" fmla="*/ 46 h 46"/>
                <a:gd name="T84" fmla="*/ 71 w 76"/>
                <a:gd name="T85" fmla="*/ 46 h 46"/>
                <a:gd name="T86" fmla="*/ 76 w 76"/>
                <a:gd name="T87" fmla="*/ 46 h 46"/>
                <a:gd name="T88" fmla="*/ 76 w 76"/>
                <a:gd name="T89" fmla="*/ 46 h 46"/>
                <a:gd name="T90" fmla="*/ 73 w 76"/>
                <a:gd name="T91" fmla="*/ 34 h 46"/>
                <a:gd name="T92" fmla="*/ 73 w 76"/>
                <a:gd name="T93" fmla="*/ 34 h 46"/>
                <a:gd name="T94" fmla="*/ 58 w 76"/>
                <a:gd name="T95" fmla="*/ 30 h 46"/>
                <a:gd name="T96" fmla="*/ 45 w 76"/>
                <a:gd name="T97" fmla="*/ 21 h 46"/>
                <a:gd name="T98" fmla="*/ 34 w 76"/>
                <a:gd name="T99" fmla="*/ 11 h 46"/>
                <a:gd name="T100" fmla="*/ 23 w 76"/>
                <a:gd name="T101" fmla="*/ 0 h 46"/>
                <a:gd name="T102" fmla="*/ 23 w 76"/>
                <a:gd name="T10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 h="46">
                  <a:moveTo>
                    <a:pt x="23" y="0"/>
                  </a:moveTo>
                  <a:lnTo>
                    <a:pt x="23" y="0"/>
                  </a:lnTo>
                  <a:lnTo>
                    <a:pt x="23" y="0"/>
                  </a:lnTo>
                  <a:lnTo>
                    <a:pt x="3" y="0"/>
                  </a:lnTo>
                  <a:lnTo>
                    <a:pt x="3" y="0"/>
                  </a:lnTo>
                  <a:lnTo>
                    <a:pt x="0" y="0"/>
                  </a:lnTo>
                  <a:lnTo>
                    <a:pt x="0" y="0"/>
                  </a:lnTo>
                  <a:lnTo>
                    <a:pt x="3" y="4"/>
                  </a:lnTo>
                  <a:lnTo>
                    <a:pt x="3" y="4"/>
                  </a:lnTo>
                  <a:lnTo>
                    <a:pt x="4" y="6"/>
                  </a:lnTo>
                  <a:lnTo>
                    <a:pt x="4" y="6"/>
                  </a:lnTo>
                  <a:lnTo>
                    <a:pt x="9" y="12"/>
                  </a:lnTo>
                  <a:lnTo>
                    <a:pt x="9" y="12"/>
                  </a:lnTo>
                  <a:lnTo>
                    <a:pt x="11" y="15"/>
                  </a:lnTo>
                  <a:lnTo>
                    <a:pt x="11" y="15"/>
                  </a:lnTo>
                  <a:lnTo>
                    <a:pt x="15" y="18"/>
                  </a:lnTo>
                  <a:lnTo>
                    <a:pt x="15" y="18"/>
                  </a:lnTo>
                  <a:lnTo>
                    <a:pt x="19" y="22"/>
                  </a:lnTo>
                  <a:lnTo>
                    <a:pt x="19" y="22"/>
                  </a:lnTo>
                  <a:lnTo>
                    <a:pt x="23" y="25"/>
                  </a:lnTo>
                  <a:lnTo>
                    <a:pt x="23" y="25"/>
                  </a:lnTo>
                  <a:lnTo>
                    <a:pt x="25" y="27"/>
                  </a:lnTo>
                  <a:lnTo>
                    <a:pt x="25" y="27"/>
                  </a:lnTo>
                  <a:lnTo>
                    <a:pt x="30" y="31"/>
                  </a:lnTo>
                  <a:lnTo>
                    <a:pt x="30" y="31"/>
                  </a:lnTo>
                  <a:lnTo>
                    <a:pt x="34" y="32"/>
                  </a:lnTo>
                  <a:lnTo>
                    <a:pt x="34" y="32"/>
                  </a:lnTo>
                  <a:lnTo>
                    <a:pt x="40" y="36"/>
                  </a:lnTo>
                  <a:lnTo>
                    <a:pt x="40" y="36"/>
                  </a:lnTo>
                  <a:lnTo>
                    <a:pt x="42" y="37"/>
                  </a:lnTo>
                  <a:lnTo>
                    <a:pt x="42" y="37"/>
                  </a:lnTo>
                  <a:lnTo>
                    <a:pt x="47" y="39"/>
                  </a:lnTo>
                  <a:lnTo>
                    <a:pt x="47" y="39"/>
                  </a:lnTo>
                  <a:lnTo>
                    <a:pt x="51" y="41"/>
                  </a:lnTo>
                  <a:lnTo>
                    <a:pt x="51" y="41"/>
                  </a:lnTo>
                  <a:lnTo>
                    <a:pt x="57" y="42"/>
                  </a:lnTo>
                  <a:lnTo>
                    <a:pt x="57" y="42"/>
                  </a:lnTo>
                  <a:lnTo>
                    <a:pt x="60" y="43"/>
                  </a:lnTo>
                  <a:lnTo>
                    <a:pt x="60" y="43"/>
                  </a:lnTo>
                  <a:lnTo>
                    <a:pt x="67" y="44"/>
                  </a:lnTo>
                  <a:lnTo>
                    <a:pt x="67" y="44"/>
                  </a:lnTo>
                  <a:lnTo>
                    <a:pt x="71" y="46"/>
                  </a:lnTo>
                  <a:lnTo>
                    <a:pt x="71" y="46"/>
                  </a:lnTo>
                  <a:lnTo>
                    <a:pt x="76" y="46"/>
                  </a:lnTo>
                  <a:lnTo>
                    <a:pt x="76" y="46"/>
                  </a:lnTo>
                  <a:lnTo>
                    <a:pt x="73" y="34"/>
                  </a:lnTo>
                  <a:lnTo>
                    <a:pt x="73" y="34"/>
                  </a:lnTo>
                  <a:lnTo>
                    <a:pt x="58" y="30"/>
                  </a:lnTo>
                  <a:lnTo>
                    <a:pt x="45" y="21"/>
                  </a:lnTo>
                  <a:lnTo>
                    <a:pt x="34" y="11"/>
                  </a:lnTo>
                  <a:lnTo>
                    <a:pt x="23" y="0"/>
                  </a:lnTo>
                  <a:lnTo>
                    <a:pt x="23"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7862914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46E2FDE-BF7B-883C-1214-B89AF8AC25EC}"/>
              </a:ext>
            </a:extLst>
          </p:cNvPr>
          <p:cNvSpPr txBox="1">
            <a:spLocks/>
          </p:cNvSpPr>
          <p:nvPr/>
        </p:nvSpPr>
        <p:spPr>
          <a:xfrm>
            <a:off x="228600" y="176586"/>
            <a:ext cx="11124959" cy="6596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200" b="1" dirty="0">
                <a:latin typeface="Open Sans"/>
                <a:ea typeface="Open Sans"/>
                <a:cs typeface="Open Sans"/>
              </a:rPr>
              <a:t>Principali richieste di chiarimento delle Scuole (5/9)</a:t>
            </a:r>
            <a:endParaRPr lang="it-IT" sz="2000" b="1" i="1" dirty="0"/>
          </a:p>
        </p:txBody>
      </p:sp>
      <p:sp>
        <p:nvSpPr>
          <p:cNvPr id="63" name="Rectangle 27">
            <a:extLst>
              <a:ext uri="{FF2B5EF4-FFF2-40B4-BE49-F238E27FC236}">
                <a16:creationId xmlns:a16="http://schemas.microsoft.com/office/drawing/2014/main" id="{76E926A8-9B60-98BC-71CD-4E9DC2AA9CDA}"/>
              </a:ext>
            </a:extLst>
          </p:cNvPr>
          <p:cNvSpPr/>
          <p:nvPr/>
        </p:nvSpPr>
        <p:spPr>
          <a:xfrm>
            <a:off x="1234200" y="1360800"/>
            <a:ext cx="9723600" cy="896727"/>
          </a:xfrm>
          <a:prstGeom prst="rect">
            <a:avLst/>
          </a:prstGeom>
          <a:solidFill>
            <a:schemeClr val="bg1"/>
          </a:solidFill>
          <a:ln w="19050">
            <a:solidFill>
              <a:srgbClr val="A6DAE9"/>
            </a:solidFill>
          </a:ln>
        </p:spPr>
        <p:style>
          <a:lnRef idx="2">
            <a:schemeClr val="accent1">
              <a:shade val="50000"/>
            </a:schemeClr>
          </a:lnRef>
          <a:fillRef idx="1">
            <a:schemeClr val="accent1"/>
          </a:fillRef>
          <a:effectRef idx="0">
            <a:schemeClr val="accent1"/>
          </a:effectRef>
          <a:fontRef idx="minor">
            <a:schemeClr val="lt1"/>
          </a:fontRef>
        </p:style>
        <p:txBody>
          <a:bodyPr lIns="324000" tIns="108000" rIns="324000" bIns="108000" rtlCol="0" anchor="ctr"/>
          <a:lstStyle/>
          <a:p>
            <a:pPr marL="0" marR="0" lvl="0" indent="0" algn="ctr" defTabSz="914400" rtl="0" eaLnBrk="1" fontAlgn="auto" latinLnBrk="0" hangingPunct="1">
              <a:lnSpc>
                <a:spcPct val="120000"/>
              </a:lnSpc>
              <a:spcBef>
                <a:spcPts val="300"/>
              </a:spcBef>
              <a:spcAft>
                <a:spcPts val="300"/>
              </a:spcAft>
              <a:buClrTx/>
              <a:buSzTx/>
              <a:buFontTx/>
              <a:buNone/>
              <a:tabLst/>
              <a:defRPr/>
            </a:pPr>
            <a:r>
              <a:rPr kumimoji="0" lang="it-IT" sz="1600" b="1"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sa succede se un tutor/orientatore si assenta per lunghi periodi durante l’anno scolastico (es. aspettativa, maternità ...)? </a:t>
            </a:r>
          </a:p>
        </p:txBody>
      </p:sp>
      <p:sp>
        <p:nvSpPr>
          <p:cNvPr id="80" name="Triangolo isoscele 79">
            <a:extLst>
              <a:ext uri="{FF2B5EF4-FFF2-40B4-BE49-F238E27FC236}">
                <a16:creationId xmlns:a16="http://schemas.microsoft.com/office/drawing/2014/main" id="{E6550B41-BCCE-6997-D3E2-733B043F0847}"/>
              </a:ext>
            </a:extLst>
          </p:cNvPr>
          <p:cNvSpPr/>
          <p:nvPr/>
        </p:nvSpPr>
        <p:spPr>
          <a:xfrm rot="10800000">
            <a:off x="5167735" y="2410723"/>
            <a:ext cx="1856531" cy="517721"/>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81" name="Rectangle 27">
            <a:extLst>
              <a:ext uri="{FF2B5EF4-FFF2-40B4-BE49-F238E27FC236}">
                <a16:creationId xmlns:a16="http://schemas.microsoft.com/office/drawing/2014/main" id="{857BA48E-8023-9F58-DC20-7E6F63F21941}"/>
              </a:ext>
            </a:extLst>
          </p:cNvPr>
          <p:cNvSpPr/>
          <p:nvPr/>
        </p:nvSpPr>
        <p:spPr>
          <a:xfrm>
            <a:off x="1234668" y="3066793"/>
            <a:ext cx="9722664" cy="2916986"/>
          </a:xfrm>
          <a:prstGeom prst="rect">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lIns="216000" tIns="108000" rIns="216000" bIns="108000" rtlCol="0" anchor="ctr"/>
          <a:lstStyle/>
          <a:p>
            <a:pPr marL="0" marR="0" lvl="0" indent="0" algn="just" defTabSz="914400" rtl="0" eaLnBrk="1" fontAlgn="auto" latinLnBrk="0" hangingPunct="1">
              <a:lnSpc>
                <a:spcPct val="120000"/>
              </a:lnSpc>
              <a:spcBef>
                <a:spcPts val="300"/>
              </a:spcBef>
              <a:spcAft>
                <a:spcPts val="300"/>
              </a:spcAft>
              <a:buClrTx/>
              <a:buSzTx/>
              <a:buFontTx/>
              <a:buNone/>
              <a:tabLst/>
              <a:defRPr/>
            </a:pPr>
            <a:r>
              <a:rPr lang="it-IT" sz="14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er tutte le Istituzioni scolastiche è raccomandabile formare sempre un numero di docenti tale da poter </a:t>
            </a:r>
            <a:r>
              <a:rPr lang="it-IT" sz="1400"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far fronte a eventuali necessità di sostituzione</a:t>
            </a:r>
            <a:r>
              <a:rPr lang="it-IT" sz="14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endParaRPr kumimoji="0" lang="it-IT" sz="1400" i="0" u="none" strike="noStrike" kern="1200" cap="none" spc="0" normalizeH="0" baseline="0" noProof="0" dirty="0">
              <a:ln>
                <a:noFill/>
              </a:ln>
              <a:solidFill>
                <a:schemeClr val="tx1"/>
              </a:solidFill>
              <a:effectLst/>
              <a:highlight>
                <a:srgbClr val="FFFF00"/>
              </a:highligh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3" name="Group 1719">
            <a:extLst>
              <a:ext uri="{FF2B5EF4-FFF2-40B4-BE49-F238E27FC236}">
                <a16:creationId xmlns:a16="http://schemas.microsoft.com/office/drawing/2014/main" id="{FFF7EA6B-DAD2-82A1-D320-155BB44DE9C7}"/>
              </a:ext>
            </a:extLst>
          </p:cNvPr>
          <p:cNvGrpSpPr/>
          <p:nvPr/>
        </p:nvGrpSpPr>
        <p:grpSpPr>
          <a:xfrm>
            <a:off x="10748664" y="5497200"/>
            <a:ext cx="684000" cy="684000"/>
            <a:chOff x="4257676" y="3181350"/>
            <a:chExt cx="839788" cy="839787"/>
          </a:xfrm>
        </p:grpSpPr>
        <p:sp>
          <p:nvSpPr>
            <p:cNvPr id="4" name="Freeform 562">
              <a:extLst>
                <a:ext uri="{FF2B5EF4-FFF2-40B4-BE49-F238E27FC236}">
                  <a16:creationId xmlns:a16="http://schemas.microsoft.com/office/drawing/2014/main" id="{C83E04D5-E3B0-7CA4-4164-A8E2E019211C}"/>
                </a:ext>
              </a:extLst>
            </p:cNvPr>
            <p:cNvSpPr>
              <a:spLocks/>
            </p:cNvSpPr>
            <p:nvPr/>
          </p:nvSpPr>
          <p:spPr bwMode="auto">
            <a:xfrm>
              <a:off x="4257676" y="3181350"/>
              <a:ext cx="839788" cy="839787"/>
            </a:xfrm>
            <a:custGeom>
              <a:avLst/>
              <a:gdLst/>
              <a:ahLst/>
              <a:cxnLst>
                <a:cxn ang="0">
                  <a:pos x="4223" y="2276"/>
                </a:cxn>
                <a:cxn ang="0">
                  <a:pos x="4186" y="2539"/>
                </a:cxn>
                <a:cxn ang="0">
                  <a:pos x="4118" y="2791"/>
                </a:cxn>
                <a:cxn ang="0">
                  <a:pos x="4021" y="3029"/>
                </a:cxn>
                <a:cxn ang="0">
                  <a:pos x="3896" y="3253"/>
                </a:cxn>
                <a:cxn ang="0">
                  <a:pos x="3747" y="3458"/>
                </a:cxn>
                <a:cxn ang="0">
                  <a:pos x="3574" y="3643"/>
                </a:cxn>
                <a:cxn ang="0">
                  <a:pos x="3380" y="3807"/>
                </a:cxn>
                <a:cxn ang="0">
                  <a:pos x="3168" y="3947"/>
                </a:cxn>
                <a:cxn ang="0">
                  <a:pos x="2938" y="4062"/>
                </a:cxn>
                <a:cxn ang="0">
                  <a:pos x="2694" y="4147"/>
                </a:cxn>
                <a:cxn ang="0">
                  <a:pos x="2437" y="4203"/>
                </a:cxn>
                <a:cxn ang="0">
                  <a:pos x="2169" y="4226"/>
                </a:cxn>
                <a:cxn ang="0">
                  <a:pos x="1952" y="4221"/>
                </a:cxn>
                <a:cxn ang="0">
                  <a:pos x="1689" y="4184"/>
                </a:cxn>
                <a:cxn ang="0">
                  <a:pos x="1437" y="4116"/>
                </a:cxn>
                <a:cxn ang="0">
                  <a:pos x="1197" y="4018"/>
                </a:cxn>
                <a:cxn ang="0">
                  <a:pos x="975" y="3895"/>
                </a:cxn>
                <a:cxn ang="0">
                  <a:pos x="770" y="3744"/>
                </a:cxn>
                <a:cxn ang="0">
                  <a:pos x="584" y="3572"/>
                </a:cxn>
                <a:cxn ang="0">
                  <a:pos x="420" y="3379"/>
                </a:cxn>
                <a:cxn ang="0">
                  <a:pos x="280" y="3165"/>
                </a:cxn>
                <a:cxn ang="0">
                  <a:pos x="166" y="2937"/>
                </a:cxn>
                <a:cxn ang="0">
                  <a:pos x="80" y="2692"/>
                </a:cxn>
                <a:cxn ang="0">
                  <a:pos x="25" y="2435"/>
                </a:cxn>
                <a:cxn ang="0">
                  <a:pos x="1" y="2168"/>
                </a:cxn>
                <a:cxn ang="0">
                  <a:pos x="6" y="1951"/>
                </a:cxn>
                <a:cxn ang="0">
                  <a:pos x="43" y="1687"/>
                </a:cxn>
                <a:cxn ang="0">
                  <a:pos x="111" y="1436"/>
                </a:cxn>
                <a:cxn ang="0">
                  <a:pos x="208" y="1197"/>
                </a:cxn>
                <a:cxn ang="0">
                  <a:pos x="333" y="974"/>
                </a:cxn>
                <a:cxn ang="0">
                  <a:pos x="483" y="769"/>
                </a:cxn>
                <a:cxn ang="0">
                  <a:pos x="655" y="583"/>
                </a:cxn>
                <a:cxn ang="0">
                  <a:pos x="849" y="420"/>
                </a:cxn>
                <a:cxn ang="0">
                  <a:pos x="1062" y="280"/>
                </a:cxn>
                <a:cxn ang="0">
                  <a:pos x="1291" y="165"/>
                </a:cxn>
                <a:cxn ang="0">
                  <a:pos x="1535" y="80"/>
                </a:cxn>
                <a:cxn ang="0">
                  <a:pos x="1793" y="23"/>
                </a:cxn>
                <a:cxn ang="0">
                  <a:pos x="2060" y="1"/>
                </a:cxn>
                <a:cxn ang="0">
                  <a:pos x="2277" y="6"/>
                </a:cxn>
                <a:cxn ang="0">
                  <a:pos x="2541" y="43"/>
                </a:cxn>
                <a:cxn ang="0">
                  <a:pos x="2793" y="111"/>
                </a:cxn>
                <a:cxn ang="0">
                  <a:pos x="3032" y="208"/>
                </a:cxn>
                <a:cxn ang="0">
                  <a:pos x="3254" y="332"/>
                </a:cxn>
                <a:cxn ang="0">
                  <a:pos x="3459" y="482"/>
                </a:cxn>
                <a:cxn ang="0">
                  <a:pos x="3645" y="655"/>
                </a:cxn>
                <a:cxn ang="0">
                  <a:pos x="3809" y="848"/>
                </a:cxn>
                <a:cxn ang="0">
                  <a:pos x="3949" y="1061"/>
                </a:cxn>
                <a:cxn ang="0">
                  <a:pos x="4063" y="1290"/>
                </a:cxn>
                <a:cxn ang="0">
                  <a:pos x="4149" y="1534"/>
                </a:cxn>
                <a:cxn ang="0">
                  <a:pos x="4204" y="1791"/>
                </a:cxn>
                <a:cxn ang="0">
                  <a:pos x="4228" y="2059"/>
                </a:cxn>
              </a:cxnLst>
              <a:rect l="0" t="0" r="r" b="b"/>
              <a:pathLst>
                <a:path w="4229" h="4227">
                  <a:moveTo>
                    <a:pt x="4229" y="2113"/>
                  </a:moveTo>
                  <a:lnTo>
                    <a:pt x="4229" y="2113"/>
                  </a:lnTo>
                  <a:lnTo>
                    <a:pt x="4228" y="2168"/>
                  </a:lnTo>
                  <a:lnTo>
                    <a:pt x="4226" y="2222"/>
                  </a:lnTo>
                  <a:lnTo>
                    <a:pt x="4223" y="2276"/>
                  </a:lnTo>
                  <a:lnTo>
                    <a:pt x="4219" y="2330"/>
                  </a:lnTo>
                  <a:lnTo>
                    <a:pt x="4213" y="2382"/>
                  </a:lnTo>
                  <a:lnTo>
                    <a:pt x="4204" y="2435"/>
                  </a:lnTo>
                  <a:lnTo>
                    <a:pt x="4196" y="2487"/>
                  </a:lnTo>
                  <a:lnTo>
                    <a:pt x="4186" y="2539"/>
                  </a:lnTo>
                  <a:lnTo>
                    <a:pt x="4175" y="2590"/>
                  </a:lnTo>
                  <a:lnTo>
                    <a:pt x="4163" y="2642"/>
                  </a:lnTo>
                  <a:lnTo>
                    <a:pt x="4149" y="2692"/>
                  </a:lnTo>
                  <a:lnTo>
                    <a:pt x="4134" y="2742"/>
                  </a:lnTo>
                  <a:lnTo>
                    <a:pt x="4118" y="2791"/>
                  </a:lnTo>
                  <a:lnTo>
                    <a:pt x="4101" y="2840"/>
                  </a:lnTo>
                  <a:lnTo>
                    <a:pt x="4083" y="2888"/>
                  </a:lnTo>
                  <a:lnTo>
                    <a:pt x="4063" y="2937"/>
                  </a:lnTo>
                  <a:lnTo>
                    <a:pt x="4042" y="2983"/>
                  </a:lnTo>
                  <a:lnTo>
                    <a:pt x="4021" y="3029"/>
                  </a:lnTo>
                  <a:lnTo>
                    <a:pt x="3998" y="3076"/>
                  </a:lnTo>
                  <a:lnTo>
                    <a:pt x="3973" y="3121"/>
                  </a:lnTo>
                  <a:lnTo>
                    <a:pt x="3949" y="3165"/>
                  </a:lnTo>
                  <a:lnTo>
                    <a:pt x="3923" y="3210"/>
                  </a:lnTo>
                  <a:lnTo>
                    <a:pt x="3896" y="3253"/>
                  </a:lnTo>
                  <a:lnTo>
                    <a:pt x="3868" y="3295"/>
                  </a:lnTo>
                  <a:lnTo>
                    <a:pt x="3839" y="3337"/>
                  </a:lnTo>
                  <a:lnTo>
                    <a:pt x="3809" y="3379"/>
                  </a:lnTo>
                  <a:lnTo>
                    <a:pt x="3778" y="3419"/>
                  </a:lnTo>
                  <a:lnTo>
                    <a:pt x="3747" y="3458"/>
                  </a:lnTo>
                  <a:lnTo>
                    <a:pt x="3714" y="3497"/>
                  </a:lnTo>
                  <a:lnTo>
                    <a:pt x="3680" y="3535"/>
                  </a:lnTo>
                  <a:lnTo>
                    <a:pt x="3645" y="3572"/>
                  </a:lnTo>
                  <a:lnTo>
                    <a:pt x="3610" y="3608"/>
                  </a:lnTo>
                  <a:lnTo>
                    <a:pt x="3574" y="3643"/>
                  </a:lnTo>
                  <a:lnTo>
                    <a:pt x="3537" y="3678"/>
                  </a:lnTo>
                  <a:lnTo>
                    <a:pt x="3498" y="3711"/>
                  </a:lnTo>
                  <a:lnTo>
                    <a:pt x="3459" y="3744"/>
                  </a:lnTo>
                  <a:lnTo>
                    <a:pt x="3420" y="3776"/>
                  </a:lnTo>
                  <a:lnTo>
                    <a:pt x="3380" y="3807"/>
                  </a:lnTo>
                  <a:lnTo>
                    <a:pt x="3339" y="3837"/>
                  </a:lnTo>
                  <a:lnTo>
                    <a:pt x="3296" y="3866"/>
                  </a:lnTo>
                  <a:lnTo>
                    <a:pt x="3254" y="3895"/>
                  </a:lnTo>
                  <a:lnTo>
                    <a:pt x="3211" y="3921"/>
                  </a:lnTo>
                  <a:lnTo>
                    <a:pt x="3168" y="3947"/>
                  </a:lnTo>
                  <a:lnTo>
                    <a:pt x="3122" y="3972"/>
                  </a:lnTo>
                  <a:lnTo>
                    <a:pt x="3077" y="3996"/>
                  </a:lnTo>
                  <a:lnTo>
                    <a:pt x="3032" y="4018"/>
                  </a:lnTo>
                  <a:lnTo>
                    <a:pt x="2985" y="4041"/>
                  </a:lnTo>
                  <a:lnTo>
                    <a:pt x="2938" y="4062"/>
                  </a:lnTo>
                  <a:lnTo>
                    <a:pt x="2890" y="4081"/>
                  </a:lnTo>
                  <a:lnTo>
                    <a:pt x="2842" y="4099"/>
                  </a:lnTo>
                  <a:lnTo>
                    <a:pt x="2793" y="4116"/>
                  </a:lnTo>
                  <a:lnTo>
                    <a:pt x="2743" y="4133"/>
                  </a:lnTo>
                  <a:lnTo>
                    <a:pt x="2694" y="4147"/>
                  </a:lnTo>
                  <a:lnTo>
                    <a:pt x="2643" y="4160"/>
                  </a:lnTo>
                  <a:lnTo>
                    <a:pt x="2593" y="4173"/>
                  </a:lnTo>
                  <a:lnTo>
                    <a:pt x="2541" y="4184"/>
                  </a:lnTo>
                  <a:lnTo>
                    <a:pt x="2489" y="4194"/>
                  </a:lnTo>
                  <a:lnTo>
                    <a:pt x="2437" y="4203"/>
                  </a:lnTo>
                  <a:lnTo>
                    <a:pt x="2383" y="4210"/>
                  </a:lnTo>
                  <a:lnTo>
                    <a:pt x="2331" y="4216"/>
                  </a:lnTo>
                  <a:lnTo>
                    <a:pt x="2277" y="4221"/>
                  </a:lnTo>
                  <a:lnTo>
                    <a:pt x="2224" y="4224"/>
                  </a:lnTo>
                  <a:lnTo>
                    <a:pt x="2169" y="4226"/>
                  </a:lnTo>
                  <a:lnTo>
                    <a:pt x="2115" y="4227"/>
                  </a:lnTo>
                  <a:lnTo>
                    <a:pt x="2115" y="4227"/>
                  </a:lnTo>
                  <a:lnTo>
                    <a:pt x="2060" y="4226"/>
                  </a:lnTo>
                  <a:lnTo>
                    <a:pt x="2006" y="4224"/>
                  </a:lnTo>
                  <a:lnTo>
                    <a:pt x="1952" y="4221"/>
                  </a:lnTo>
                  <a:lnTo>
                    <a:pt x="1898" y="4216"/>
                  </a:lnTo>
                  <a:lnTo>
                    <a:pt x="1846" y="4210"/>
                  </a:lnTo>
                  <a:lnTo>
                    <a:pt x="1793" y="4203"/>
                  </a:lnTo>
                  <a:lnTo>
                    <a:pt x="1740" y="4194"/>
                  </a:lnTo>
                  <a:lnTo>
                    <a:pt x="1689" y="4184"/>
                  </a:lnTo>
                  <a:lnTo>
                    <a:pt x="1637" y="4173"/>
                  </a:lnTo>
                  <a:lnTo>
                    <a:pt x="1586" y="4160"/>
                  </a:lnTo>
                  <a:lnTo>
                    <a:pt x="1535" y="4147"/>
                  </a:lnTo>
                  <a:lnTo>
                    <a:pt x="1486" y="4133"/>
                  </a:lnTo>
                  <a:lnTo>
                    <a:pt x="1437" y="4116"/>
                  </a:lnTo>
                  <a:lnTo>
                    <a:pt x="1388" y="4099"/>
                  </a:lnTo>
                  <a:lnTo>
                    <a:pt x="1340" y="4081"/>
                  </a:lnTo>
                  <a:lnTo>
                    <a:pt x="1291" y="4062"/>
                  </a:lnTo>
                  <a:lnTo>
                    <a:pt x="1245" y="4041"/>
                  </a:lnTo>
                  <a:lnTo>
                    <a:pt x="1197" y="4018"/>
                  </a:lnTo>
                  <a:lnTo>
                    <a:pt x="1152" y="3996"/>
                  </a:lnTo>
                  <a:lnTo>
                    <a:pt x="1107" y="3972"/>
                  </a:lnTo>
                  <a:lnTo>
                    <a:pt x="1062" y="3947"/>
                  </a:lnTo>
                  <a:lnTo>
                    <a:pt x="1018" y="3921"/>
                  </a:lnTo>
                  <a:lnTo>
                    <a:pt x="975" y="3895"/>
                  </a:lnTo>
                  <a:lnTo>
                    <a:pt x="933" y="3866"/>
                  </a:lnTo>
                  <a:lnTo>
                    <a:pt x="890" y="3837"/>
                  </a:lnTo>
                  <a:lnTo>
                    <a:pt x="849" y="3807"/>
                  </a:lnTo>
                  <a:lnTo>
                    <a:pt x="809" y="3776"/>
                  </a:lnTo>
                  <a:lnTo>
                    <a:pt x="770" y="3744"/>
                  </a:lnTo>
                  <a:lnTo>
                    <a:pt x="731" y="3711"/>
                  </a:lnTo>
                  <a:lnTo>
                    <a:pt x="693" y="3678"/>
                  </a:lnTo>
                  <a:lnTo>
                    <a:pt x="655" y="3643"/>
                  </a:lnTo>
                  <a:lnTo>
                    <a:pt x="619" y="3608"/>
                  </a:lnTo>
                  <a:lnTo>
                    <a:pt x="584" y="3572"/>
                  </a:lnTo>
                  <a:lnTo>
                    <a:pt x="549" y="3535"/>
                  </a:lnTo>
                  <a:lnTo>
                    <a:pt x="516" y="3497"/>
                  </a:lnTo>
                  <a:lnTo>
                    <a:pt x="483" y="3458"/>
                  </a:lnTo>
                  <a:lnTo>
                    <a:pt x="451" y="3419"/>
                  </a:lnTo>
                  <a:lnTo>
                    <a:pt x="420" y="3379"/>
                  </a:lnTo>
                  <a:lnTo>
                    <a:pt x="391" y="3337"/>
                  </a:lnTo>
                  <a:lnTo>
                    <a:pt x="362" y="3295"/>
                  </a:lnTo>
                  <a:lnTo>
                    <a:pt x="333" y="3253"/>
                  </a:lnTo>
                  <a:lnTo>
                    <a:pt x="306" y="3210"/>
                  </a:lnTo>
                  <a:lnTo>
                    <a:pt x="280" y="3165"/>
                  </a:lnTo>
                  <a:lnTo>
                    <a:pt x="256" y="3121"/>
                  </a:lnTo>
                  <a:lnTo>
                    <a:pt x="232" y="3076"/>
                  </a:lnTo>
                  <a:lnTo>
                    <a:pt x="208" y="3029"/>
                  </a:lnTo>
                  <a:lnTo>
                    <a:pt x="187" y="2983"/>
                  </a:lnTo>
                  <a:lnTo>
                    <a:pt x="166" y="2937"/>
                  </a:lnTo>
                  <a:lnTo>
                    <a:pt x="146" y="2888"/>
                  </a:lnTo>
                  <a:lnTo>
                    <a:pt x="129" y="2840"/>
                  </a:lnTo>
                  <a:lnTo>
                    <a:pt x="111" y="2791"/>
                  </a:lnTo>
                  <a:lnTo>
                    <a:pt x="95" y="2742"/>
                  </a:lnTo>
                  <a:lnTo>
                    <a:pt x="80" y="2692"/>
                  </a:lnTo>
                  <a:lnTo>
                    <a:pt x="67" y="2642"/>
                  </a:lnTo>
                  <a:lnTo>
                    <a:pt x="55" y="2590"/>
                  </a:lnTo>
                  <a:lnTo>
                    <a:pt x="43" y="2539"/>
                  </a:lnTo>
                  <a:lnTo>
                    <a:pt x="33" y="2487"/>
                  </a:lnTo>
                  <a:lnTo>
                    <a:pt x="25" y="2435"/>
                  </a:lnTo>
                  <a:lnTo>
                    <a:pt x="18" y="2382"/>
                  </a:lnTo>
                  <a:lnTo>
                    <a:pt x="11" y="2330"/>
                  </a:lnTo>
                  <a:lnTo>
                    <a:pt x="6" y="2276"/>
                  </a:lnTo>
                  <a:lnTo>
                    <a:pt x="3" y="2222"/>
                  </a:lnTo>
                  <a:lnTo>
                    <a:pt x="1" y="2168"/>
                  </a:lnTo>
                  <a:lnTo>
                    <a:pt x="0" y="2113"/>
                  </a:lnTo>
                  <a:lnTo>
                    <a:pt x="0" y="2113"/>
                  </a:lnTo>
                  <a:lnTo>
                    <a:pt x="1" y="2059"/>
                  </a:lnTo>
                  <a:lnTo>
                    <a:pt x="3" y="2004"/>
                  </a:lnTo>
                  <a:lnTo>
                    <a:pt x="6" y="1951"/>
                  </a:lnTo>
                  <a:lnTo>
                    <a:pt x="11" y="1897"/>
                  </a:lnTo>
                  <a:lnTo>
                    <a:pt x="18" y="1844"/>
                  </a:lnTo>
                  <a:lnTo>
                    <a:pt x="25" y="1791"/>
                  </a:lnTo>
                  <a:lnTo>
                    <a:pt x="33" y="1740"/>
                  </a:lnTo>
                  <a:lnTo>
                    <a:pt x="43" y="1687"/>
                  </a:lnTo>
                  <a:lnTo>
                    <a:pt x="55" y="1635"/>
                  </a:lnTo>
                  <a:lnTo>
                    <a:pt x="67" y="1585"/>
                  </a:lnTo>
                  <a:lnTo>
                    <a:pt x="80" y="1534"/>
                  </a:lnTo>
                  <a:lnTo>
                    <a:pt x="95" y="1485"/>
                  </a:lnTo>
                  <a:lnTo>
                    <a:pt x="111" y="1436"/>
                  </a:lnTo>
                  <a:lnTo>
                    <a:pt x="129" y="1386"/>
                  </a:lnTo>
                  <a:lnTo>
                    <a:pt x="146" y="1338"/>
                  </a:lnTo>
                  <a:lnTo>
                    <a:pt x="166" y="1290"/>
                  </a:lnTo>
                  <a:lnTo>
                    <a:pt x="187" y="1243"/>
                  </a:lnTo>
                  <a:lnTo>
                    <a:pt x="208" y="1197"/>
                  </a:lnTo>
                  <a:lnTo>
                    <a:pt x="232" y="1151"/>
                  </a:lnTo>
                  <a:lnTo>
                    <a:pt x="256" y="1106"/>
                  </a:lnTo>
                  <a:lnTo>
                    <a:pt x="280" y="1061"/>
                  </a:lnTo>
                  <a:lnTo>
                    <a:pt x="306" y="1017"/>
                  </a:lnTo>
                  <a:lnTo>
                    <a:pt x="333" y="974"/>
                  </a:lnTo>
                  <a:lnTo>
                    <a:pt x="362" y="932"/>
                  </a:lnTo>
                  <a:lnTo>
                    <a:pt x="391" y="890"/>
                  </a:lnTo>
                  <a:lnTo>
                    <a:pt x="420" y="848"/>
                  </a:lnTo>
                  <a:lnTo>
                    <a:pt x="451" y="808"/>
                  </a:lnTo>
                  <a:lnTo>
                    <a:pt x="483" y="769"/>
                  </a:lnTo>
                  <a:lnTo>
                    <a:pt x="516" y="730"/>
                  </a:lnTo>
                  <a:lnTo>
                    <a:pt x="549" y="692"/>
                  </a:lnTo>
                  <a:lnTo>
                    <a:pt x="584" y="655"/>
                  </a:lnTo>
                  <a:lnTo>
                    <a:pt x="619" y="619"/>
                  </a:lnTo>
                  <a:lnTo>
                    <a:pt x="655" y="583"/>
                  </a:lnTo>
                  <a:lnTo>
                    <a:pt x="693" y="549"/>
                  </a:lnTo>
                  <a:lnTo>
                    <a:pt x="731" y="515"/>
                  </a:lnTo>
                  <a:lnTo>
                    <a:pt x="770" y="482"/>
                  </a:lnTo>
                  <a:lnTo>
                    <a:pt x="809" y="451"/>
                  </a:lnTo>
                  <a:lnTo>
                    <a:pt x="849" y="420"/>
                  </a:lnTo>
                  <a:lnTo>
                    <a:pt x="890" y="389"/>
                  </a:lnTo>
                  <a:lnTo>
                    <a:pt x="933" y="360"/>
                  </a:lnTo>
                  <a:lnTo>
                    <a:pt x="975" y="332"/>
                  </a:lnTo>
                  <a:lnTo>
                    <a:pt x="1018" y="306"/>
                  </a:lnTo>
                  <a:lnTo>
                    <a:pt x="1062" y="280"/>
                  </a:lnTo>
                  <a:lnTo>
                    <a:pt x="1107" y="255"/>
                  </a:lnTo>
                  <a:lnTo>
                    <a:pt x="1152" y="230"/>
                  </a:lnTo>
                  <a:lnTo>
                    <a:pt x="1197" y="208"/>
                  </a:lnTo>
                  <a:lnTo>
                    <a:pt x="1245" y="186"/>
                  </a:lnTo>
                  <a:lnTo>
                    <a:pt x="1291" y="165"/>
                  </a:lnTo>
                  <a:lnTo>
                    <a:pt x="1340" y="146"/>
                  </a:lnTo>
                  <a:lnTo>
                    <a:pt x="1388" y="127"/>
                  </a:lnTo>
                  <a:lnTo>
                    <a:pt x="1437" y="111"/>
                  </a:lnTo>
                  <a:lnTo>
                    <a:pt x="1486" y="94"/>
                  </a:lnTo>
                  <a:lnTo>
                    <a:pt x="1535" y="80"/>
                  </a:lnTo>
                  <a:lnTo>
                    <a:pt x="1586" y="65"/>
                  </a:lnTo>
                  <a:lnTo>
                    <a:pt x="1637" y="53"/>
                  </a:lnTo>
                  <a:lnTo>
                    <a:pt x="1689" y="43"/>
                  </a:lnTo>
                  <a:lnTo>
                    <a:pt x="1740" y="33"/>
                  </a:lnTo>
                  <a:lnTo>
                    <a:pt x="1793" y="23"/>
                  </a:lnTo>
                  <a:lnTo>
                    <a:pt x="1846" y="16"/>
                  </a:lnTo>
                  <a:lnTo>
                    <a:pt x="1898" y="10"/>
                  </a:lnTo>
                  <a:lnTo>
                    <a:pt x="1952" y="6"/>
                  </a:lnTo>
                  <a:lnTo>
                    <a:pt x="2006" y="3"/>
                  </a:lnTo>
                  <a:lnTo>
                    <a:pt x="2060" y="1"/>
                  </a:lnTo>
                  <a:lnTo>
                    <a:pt x="2115" y="0"/>
                  </a:lnTo>
                  <a:lnTo>
                    <a:pt x="2115" y="0"/>
                  </a:lnTo>
                  <a:lnTo>
                    <a:pt x="2169" y="1"/>
                  </a:lnTo>
                  <a:lnTo>
                    <a:pt x="2224" y="3"/>
                  </a:lnTo>
                  <a:lnTo>
                    <a:pt x="2277" y="6"/>
                  </a:lnTo>
                  <a:lnTo>
                    <a:pt x="2331" y="10"/>
                  </a:lnTo>
                  <a:lnTo>
                    <a:pt x="2383" y="16"/>
                  </a:lnTo>
                  <a:lnTo>
                    <a:pt x="2437" y="23"/>
                  </a:lnTo>
                  <a:lnTo>
                    <a:pt x="2489" y="33"/>
                  </a:lnTo>
                  <a:lnTo>
                    <a:pt x="2541" y="43"/>
                  </a:lnTo>
                  <a:lnTo>
                    <a:pt x="2593" y="53"/>
                  </a:lnTo>
                  <a:lnTo>
                    <a:pt x="2643" y="65"/>
                  </a:lnTo>
                  <a:lnTo>
                    <a:pt x="2694" y="80"/>
                  </a:lnTo>
                  <a:lnTo>
                    <a:pt x="2743" y="94"/>
                  </a:lnTo>
                  <a:lnTo>
                    <a:pt x="2793" y="111"/>
                  </a:lnTo>
                  <a:lnTo>
                    <a:pt x="2842" y="127"/>
                  </a:lnTo>
                  <a:lnTo>
                    <a:pt x="2890" y="146"/>
                  </a:lnTo>
                  <a:lnTo>
                    <a:pt x="2938" y="165"/>
                  </a:lnTo>
                  <a:lnTo>
                    <a:pt x="2985" y="186"/>
                  </a:lnTo>
                  <a:lnTo>
                    <a:pt x="3032" y="208"/>
                  </a:lnTo>
                  <a:lnTo>
                    <a:pt x="3077" y="230"/>
                  </a:lnTo>
                  <a:lnTo>
                    <a:pt x="3122" y="255"/>
                  </a:lnTo>
                  <a:lnTo>
                    <a:pt x="3168" y="280"/>
                  </a:lnTo>
                  <a:lnTo>
                    <a:pt x="3211" y="306"/>
                  </a:lnTo>
                  <a:lnTo>
                    <a:pt x="3254" y="332"/>
                  </a:lnTo>
                  <a:lnTo>
                    <a:pt x="3296" y="360"/>
                  </a:lnTo>
                  <a:lnTo>
                    <a:pt x="3339" y="389"/>
                  </a:lnTo>
                  <a:lnTo>
                    <a:pt x="3380" y="420"/>
                  </a:lnTo>
                  <a:lnTo>
                    <a:pt x="3420" y="451"/>
                  </a:lnTo>
                  <a:lnTo>
                    <a:pt x="3459" y="482"/>
                  </a:lnTo>
                  <a:lnTo>
                    <a:pt x="3498" y="515"/>
                  </a:lnTo>
                  <a:lnTo>
                    <a:pt x="3537" y="549"/>
                  </a:lnTo>
                  <a:lnTo>
                    <a:pt x="3574" y="583"/>
                  </a:lnTo>
                  <a:lnTo>
                    <a:pt x="3610" y="619"/>
                  </a:lnTo>
                  <a:lnTo>
                    <a:pt x="3645" y="655"/>
                  </a:lnTo>
                  <a:lnTo>
                    <a:pt x="3680" y="692"/>
                  </a:lnTo>
                  <a:lnTo>
                    <a:pt x="3714" y="730"/>
                  </a:lnTo>
                  <a:lnTo>
                    <a:pt x="3747" y="769"/>
                  </a:lnTo>
                  <a:lnTo>
                    <a:pt x="3778" y="808"/>
                  </a:lnTo>
                  <a:lnTo>
                    <a:pt x="3809" y="848"/>
                  </a:lnTo>
                  <a:lnTo>
                    <a:pt x="3839" y="890"/>
                  </a:lnTo>
                  <a:lnTo>
                    <a:pt x="3868" y="932"/>
                  </a:lnTo>
                  <a:lnTo>
                    <a:pt x="3896" y="974"/>
                  </a:lnTo>
                  <a:lnTo>
                    <a:pt x="3923" y="1017"/>
                  </a:lnTo>
                  <a:lnTo>
                    <a:pt x="3949" y="1061"/>
                  </a:lnTo>
                  <a:lnTo>
                    <a:pt x="3973" y="1106"/>
                  </a:lnTo>
                  <a:lnTo>
                    <a:pt x="3998" y="1151"/>
                  </a:lnTo>
                  <a:lnTo>
                    <a:pt x="4021" y="1197"/>
                  </a:lnTo>
                  <a:lnTo>
                    <a:pt x="4042" y="1243"/>
                  </a:lnTo>
                  <a:lnTo>
                    <a:pt x="4063" y="1290"/>
                  </a:lnTo>
                  <a:lnTo>
                    <a:pt x="4083" y="1338"/>
                  </a:lnTo>
                  <a:lnTo>
                    <a:pt x="4101" y="1386"/>
                  </a:lnTo>
                  <a:lnTo>
                    <a:pt x="4118" y="1436"/>
                  </a:lnTo>
                  <a:lnTo>
                    <a:pt x="4134" y="1485"/>
                  </a:lnTo>
                  <a:lnTo>
                    <a:pt x="4149" y="1534"/>
                  </a:lnTo>
                  <a:lnTo>
                    <a:pt x="4163" y="1585"/>
                  </a:lnTo>
                  <a:lnTo>
                    <a:pt x="4175" y="1635"/>
                  </a:lnTo>
                  <a:lnTo>
                    <a:pt x="4186" y="1687"/>
                  </a:lnTo>
                  <a:lnTo>
                    <a:pt x="4196" y="1740"/>
                  </a:lnTo>
                  <a:lnTo>
                    <a:pt x="4204" y="1791"/>
                  </a:lnTo>
                  <a:lnTo>
                    <a:pt x="4213" y="1844"/>
                  </a:lnTo>
                  <a:lnTo>
                    <a:pt x="4219" y="1897"/>
                  </a:lnTo>
                  <a:lnTo>
                    <a:pt x="4223" y="1951"/>
                  </a:lnTo>
                  <a:lnTo>
                    <a:pt x="4226" y="2004"/>
                  </a:lnTo>
                  <a:lnTo>
                    <a:pt x="4228" y="2059"/>
                  </a:lnTo>
                  <a:lnTo>
                    <a:pt x="4229" y="2113"/>
                  </a:lnTo>
                  <a:close/>
                </a:path>
              </a:pathLst>
            </a:custGeom>
            <a:solidFill>
              <a:srgbClr val="4CC5AD"/>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5" name="Freeform 563">
              <a:extLst>
                <a:ext uri="{FF2B5EF4-FFF2-40B4-BE49-F238E27FC236}">
                  <a16:creationId xmlns:a16="http://schemas.microsoft.com/office/drawing/2014/main" id="{85675EA3-3E7E-2B41-BE19-E34AC90F02B7}"/>
                </a:ext>
              </a:extLst>
            </p:cNvPr>
            <p:cNvSpPr>
              <a:spLocks/>
            </p:cNvSpPr>
            <p:nvPr/>
          </p:nvSpPr>
          <p:spPr bwMode="auto">
            <a:xfrm>
              <a:off x="4257676" y="3181350"/>
              <a:ext cx="839788" cy="839787"/>
            </a:xfrm>
            <a:custGeom>
              <a:avLst/>
              <a:gdLst/>
              <a:ahLst/>
              <a:cxnLst>
                <a:cxn ang="0">
                  <a:pos x="4223" y="2276"/>
                </a:cxn>
                <a:cxn ang="0">
                  <a:pos x="4186" y="2539"/>
                </a:cxn>
                <a:cxn ang="0">
                  <a:pos x="4118" y="2791"/>
                </a:cxn>
                <a:cxn ang="0">
                  <a:pos x="4021" y="3029"/>
                </a:cxn>
                <a:cxn ang="0">
                  <a:pos x="3896" y="3253"/>
                </a:cxn>
                <a:cxn ang="0">
                  <a:pos x="3747" y="3458"/>
                </a:cxn>
                <a:cxn ang="0">
                  <a:pos x="3574" y="3643"/>
                </a:cxn>
                <a:cxn ang="0">
                  <a:pos x="3380" y="3807"/>
                </a:cxn>
                <a:cxn ang="0">
                  <a:pos x="3168" y="3947"/>
                </a:cxn>
                <a:cxn ang="0">
                  <a:pos x="2938" y="4062"/>
                </a:cxn>
                <a:cxn ang="0">
                  <a:pos x="2694" y="4147"/>
                </a:cxn>
                <a:cxn ang="0">
                  <a:pos x="2437" y="4203"/>
                </a:cxn>
                <a:cxn ang="0">
                  <a:pos x="2169" y="4226"/>
                </a:cxn>
                <a:cxn ang="0">
                  <a:pos x="1952" y="4221"/>
                </a:cxn>
                <a:cxn ang="0">
                  <a:pos x="1689" y="4184"/>
                </a:cxn>
                <a:cxn ang="0">
                  <a:pos x="1437" y="4116"/>
                </a:cxn>
                <a:cxn ang="0">
                  <a:pos x="1197" y="4018"/>
                </a:cxn>
                <a:cxn ang="0">
                  <a:pos x="975" y="3895"/>
                </a:cxn>
                <a:cxn ang="0">
                  <a:pos x="770" y="3744"/>
                </a:cxn>
                <a:cxn ang="0">
                  <a:pos x="584" y="3572"/>
                </a:cxn>
                <a:cxn ang="0">
                  <a:pos x="420" y="3379"/>
                </a:cxn>
                <a:cxn ang="0">
                  <a:pos x="280" y="3165"/>
                </a:cxn>
                <a:cxn ang="0">
                  <a:pos x="166" y="2937"/>
                </a:cxn>
                <a:cxn ang="0">
                  <a:pos x="80" y="2692"/>
                </a:cxn>
                <a:cxn ang="0">
                  <a:pos x="25" y="2435"/>
                </a:cxn>
                <a:cxn ang="0">
                  <a:pos x="1" y="2168"/>
                </a:cxn>
                <a:cxn ang="0">
                  <a:pos x="6" y="1951"/>
                </a:cxn>
                <a:cxn ang="0">
                  <a:pos x="43" y="1687"/>
                </a:cxn>
                <a:cxn ang="0">
                  <a:pos x="111" y="1436"/>
                </a:cxn>
                <a:cxn ang="0">
                  <a:pos x="208" y="1197"/>
                </a:cxn>
                <a:cxn ang="0">
                  <a:pos x="333" y="974"/>
                </a:cxn>
                <a:cxn ang="0">
                  <a:pos x="483" y="769"/>
                </a:cxn>
                <a:cxn ang="0">
                  <a:pos x="655" y="583"/>
                </a:cxn>
                <a:cxn ang="0">
                  <a:pos x="849" y="420"/>
                </a:cxn>
                <a:cxn ang="0">
                  <a:pos x="1062" y="280"/>
                </a:cxn>
                <a:cxn ang="0">
                  <a:pos x="1291" y="165"/>
                </a:cxn>
                <a:cxn ang="0">
                  <a:pos x="1535" y="80"/>
                </a:cxn>
                <a:cxn ang="0">
                  <a:pos x="1793" y="23"/>
                </a:cxn>
                <a:cxn ang="0">
                  <a:pos x="2060" y="1"/>
                </a:cxn>
                <a:cxn ang="0">
                  <a:pos x="2277" y="6"/>
                </a:cxn>
                <a:cxn ang="0">
                  <a:pos x="2541" y="43"/>
                </a:cxn>
                <a:cxn ang="0">
                  <a:pos x="2793" y="111"/>
                </a:cxn>
                <a:cxn ang="0">
                  <a:pos x="3032" y="208"/>
                </a:cxn>
                <a:cxn ang="0">
                  <a:pos x="3254" y="332"/>
                </a:cxn>
                <a:cxn ang="0">
                  <a:pos x="3459" y="482"/>
                </a:cxn>
                <a:cxn ang="0">
                  <a:pos x="3645" y="655"/>
                </a:cxn>
                <a:cxn ang="0">
                  <a:pos x="3809" y="848"/>
                </a:cxn>
                <a:cxn ang="0">
                  <a:pos x="3949" y="1061"/>
                </a:cxn>
                <a:cxn ang="0">
                  <a:pos x="4063" y="1290"/>
                </a:cxn>
                <a:cxn ang="0">
                  <a:pos x="4149" y="1534"/>
                </a:cxn>
                <a:cxn ang="0">
                  <a:pos x="4204" y="1791"/>
                </a:cxn>
                <a:cxn ang="0">
                  <a:pos x="4228" y="2059"/>
                </a:cxn>
              </a:cxnLst>
              <a:rect l="0" t="0" r="r" b="b"/>
              <a:pathLst>
                <a:path w="4229" h="4227">
                  <a:moveTo>
                    <a:pt x="4229" y="2113"/>
                  </a:moveTo>
                  <a:lnTo>
                    <a:pt x="4229" y="2113"/>
                  </a:lnTo>
                  <a:lnTo>
                    <a:pt x="4228" y="2168"/>
                  </a:lnTo>
                  <a:lnTo>
                    <a:pt x="4226" y="2222"/>
                  </a:lnTo>
                  <a:lnTo>
                    <a:pt x="4223" y="2276"/>
                  </a:lnTo>
                  <a:lnTo>
                    <a:pt x="4219" y="2330"/>
                  </a:lnTo>
                  <a:lnTo>
                    <a:pt x="4213" y="2382"/>
                  </a:lnTo>
                  <a:lnTo>
                    <a:pt x="4204" y="2435"/>
                  </a:lnTo>
                  <a:lnTo>
                    <a:pt x="4196" y="2487"/>
                  </a:lnTo>
                  <a:lnTo>
                    <a:pt x="4186" y="2539"/>
                  </a:lnTo>
                  <a:lnTo>
                    <a:pt x="4175" y="2590"/>
                  </a:lnTo>
                  <a:lnTo>
                    <a:pt x="4163" y="2642"/>
                  </a:lnTo>
                  <a:lnTo>
                    <a:pt x="4149" y="2692"/>
                  </a:lnTo>
                  <a:lnTo>
                    <a:pt x="4134" y="2742"/>
                  </a:lnTo>
                  <a:lnTo>
                    <a:pt x="4118" y="2791"/>
                  </a:lnTo>
                  <a:lnTo>
                    <a:pt x="4101" y="2840"/>
                  </a:lnTo>
                  <a:lnTo>
                    <a:pt x="4083" y="2888"/>
                  </a:lnTo>
                  <a:lnTo>
                    <a:pt x="4063" y="2937"/>
                  </a:lnTo>
                  <a:lnTo>
                    <a:pt x="4042" y="2983"/>
                  </a:lnTo>
                  <a:lnTo>
                    <a:pt x="4021" y="3029"/>
                  </a:lnTo>
                  <a:lnTo>
                    <a:pt x="3998" y="3076"/>
                  </a:lnTo>
                  <a:lnTo>
                    <a:pt x="3973" y="3121"/>
                  </a:lnTo>
                  <a:lnTo>
                    <a:pt x="3949" y="3165"/>
                  </a:lnTo>
                  <a:lnTo>
                    <a:pt x="3923" y="3210"/>
                  </a:lnTo>
                  <a:lnTo>
                    <a:pt x="3896" y="3253"/>
                  </a:lnTo>
                  <a:lnTo>
                    <a:pt x="3868" y="3295"/>
                  </a:lnTo>
                  <a:lnTo>
                    <a:pt x="3839" y="3337"/>
                  </a:lnTo>
                  <a:lnTo>
                    <a:pt x="3809" y="3379"/>
                  </a:lnTo>
                  <a:lnTo>
                    <a:pt x="3778" y="3419"/>
                  </a:lnTo>
                  <a:lnTo>
                    <a:pt x="3747" y="3458"/>
                  </a:lnTo>
                  <a:lnTo>
                    <a:pt x="3714" y="3497"/>
                  </a:lnTo>
                  <a:lnTo>
                    <a:pt x="3680" y="3535"/>
                  </a:lnTo>
                  <a:lnTo>
                    <a:pt x="3645" y="3572"/>
                  </a:lnTo>
                  <a:lnTo>
                    <a:pt x="3610" y="3608"/>
                  </a:lnTo>
                  <a:lnTo>
                    <a:pt x="3574" y="3643"/>
                  </a:lnTo>
                  <a:lnTo>
                    <a:pt x="3537" y="3678"/>
                  </a:lnTo>
                  <a:lnTo>
                    <a:pt x="3498" y="3711"/>
                  </a:lnTo>
                  <a:lnTo>
                    <a:pt x="3459" y="3744"/>
                  </a:lnTo>
                  <a:lnTo>
                    <a:pt x="3420" y="3776"/>
                  </a:lnTo>
                  <a:lnTo>
                    <a:pt x="3380" y="3807"/>
                  </a:lnTo>
                  <a:lnTo>
                    <a:pt x="3339" y="3837"/>
                  </a:lnTo>
                  <a:lnTo>
                    <a:pt x="3296" y="3866"/>
                  </a:lnTo>
                  <a:lnTo>
                    <a:pt x="3254" y="3895"/>
                  </a:lnTo>
                  <a:lnTo>
                    <a:pt x="3211" y="3921"/>
                  </a:lnTo>
                  <a:lnTo>
                    <a:pt x="3168" y="3947"/>
                  </a:lnTo>
                  <a:lnTo>
                    <a:pt x="3122" y="3972"/>
                  </a:lnTo>
                  <a:lnTo>
                    <a:pt x="3077" y="3996"/>
                  </a:lnTo>
                  <a:lnTo>
                    <a:pt x="3032" y="4018"/>
                  </a:lnTo>
                  <a:lnTo>
                    <a:pt x="2985" y="4041"/>
                  </a:lnTo>
                  <a:lnTo>
                    <a:pt x="2938" y="4062"/>
                  </a:lnTo>
                  <a:lnTo>
                    <a:pt x="2890" y="4081"/>
                  </a:lnTo>
                  <a:lnTo>
                    <a:pt x="2842" y="4099"/>
                  </a:lnTo>
                  <a:lnTo>
                    <a:pt x="2793" y="4116"/>
                  </a:lnTo>
                  <a:lnTo>
                    <a:pt x="2743" y="4133"/>
                  </a:lnTo>
                  <a:lnTo>
                    <a:pt x="2694" y="4147"/>
                  </a:lnTo>
                  <a:lnTo>
                    <a:pt x="2643" y="4160"/>
                  </a:lnTo>
                  <a:lnTo>
                    <a:pt x="2593" y="4173"/>
                  </a:lnTo>
                  <a:lnTo>
                    <a:pt x="2541" y="4184"/>
                  </a:lnTo>
                  <a:lnTo>
                    <a:pt x="2489" y="4194"/>
                  </a:lnTo>
                  <a:lnTo>
                    <a:pt x="2437" y="4203"/>
                  </a:lnTo>
                  <a:lnTo>
                    <a:pt x="2383" y="4210"/>
                  </a:lnTo>
                  <a:lnTo>
                    <a:pt x="2331" y="4216"/>
                  </a:lnTo>
                  <a:lnTo>
                    <a:pt x="2277" y="4221"/>
                  </a:lnTo>
                  <a:lnTo>
                    <a:pt x="2224" y="4224"/>
                  </a:lnTo>
                  <a:lnTo>
                    <a:pt x="2169" y="4226"/>
                  </a:lnTo>
                  <a:lnTo>
                    <a:pt x="2115" y="4227"/>
                  </a:lnTo>
                  <a:lnTo>
                    <a:pt x="2115" y="4227"/>
                  </a:lnTo>
                  <a:lnTo>
                    <a:pt x="2060" y="4226"/>
                  </a:lnTo>
                  <a:lnTo>
                    <a:pt x="2006" y="4224"/>
                  </a:lnTo>
                  <a:lnTo>
                    <a:pt x="1952" y="4221"/>
                  </a:lnTo>
                  <a:lnTo>
                    <a:pt x="1898" y="4216"/>
                  </a:lnTo>
                  <a:lnTo>
                    <a:pt x="1846" y="4210"/>
                  </a:lnTo>
                  <a:lnTo>
                    <a:pt x="1793" y="4203"/>
                  </a:lnTo>
                  <a:lnTo>
                    <a:pt x="1740" y="4194"/>
                  </a:lnTo>
                  <a:lnTo>
                    <a:pt x="1689" y="4184"/>
                  </a:lnTo>
                  <a:lnTo>
                    <a:pt x="1637" y="4173"/>
                  </a:lnTo>
                  <a:lnTo>
                    <a:pt x="1586" y="4160"/>
                  </a:lnTo>
                  <a:lnTo>
                    <a:pt x="1535" y="4147"/>
                  </a:lnTo>
                  <a:lnTo>
                    <a:pt x="1486" y="4133"/>
                  </a:lnTo>
                  <a:lnTo>
                    <a:pt x="1437" y="4116"/>
                  </a:lnTo>
                  <a:lnTo>
                    <a:pt x="1388" y="4099"/>
                  </a:lnTo>
                  <a:lnTo>
                    <a:pt x="1340" y="4081"/>
                  </a:lnTo>
                  <a:lnTo>
                    <a:pt x="1291" y="4062"/>
                  </a:lnTo>
                  <a:lnTo>
                    <a:pt x="1245" y="4041"/>
                  </a:lnTo>
                  <a:lnTo>
                    <a:pt x="1197" y="4018"/>
                  </a:lnTo>
                  <a:lnTo>
                    <a:pt x="1152" y="3996"/>
                  </a:lnTo>
                  <a:lnTo>
                    <a:pt x="1107" y="3972"/>
                  </a:lnTo>
                  <a:lnTo>
                    <a:pt x="1062" y="3947"/>
                  </a:lnTo>
                  <a:lnTo>
                    <a:pt x="1018" y="3921"/>
                  </a:lnTo>
                  <a:lnTo>
                    <a:pt x="975" y="3895"/>
                  </a:lnTo>
                  <a:lnTo>
                    <a:pt x="933" y="3866"/>
                  </a:lnTo>
                  <a:lnTo>
                    <a:pt x="890" y="3837"/>
                  </a:lnTo>
                  <a:lnTo>
                    <a:pt x="849" y="3807"/>
                  </a:lnTo>
                  <a:lnTo>
                    <a:pt x="809" y="3776"/>
                  </a:lnTo>
                  <a:lnTo>
                    <a:pt x="770" y="3744"/>
                  </a:lnTo>
                  <a:lnTo>
                    <a:pt x="731" y="3711"/>
                  </a:lnTo>
                  <a:lnTo>
                    <a:pt x="693" y="3678"/>
                  </a:lnTo>
                  <a:lnTo>
                    <a:pt x="655" y="3643"/>
                  </a:lnTo>
                  <a:lnTo>
                    <a:pt x="619" y="3608"/>
                  </a:lnTo>
                  <a:lnTo>
                    <a:pt x="584" y="3572"/>
                  </a:lnTo>
                  <a:lnTo>
                    <a:pt x="549" y="3535"/>
                  </a:lnTo>
                  <a:lnTo>
                    <a:pt x="516" y="3497"/>
                  </a:lnTo>
                  <a:lnTo>
                    <a:pt x="483" y="3458"/>
                  </a:lnTo>
                  <a:lnTo>
                    <a:pt x="451" y="3419"/>
                  </a:lnTo>
                  <a:lnTo>
                    <a:pt x="420" y="3379"/>
                  </a:lnTo>
                  <a:lnTo>
                    <a:pt x="391" y="3337"/>
                  </a:lnTo>
                  <a:lnTo>
                    <a:pt x="362" y="3295"/>
                  </a:lnTo>
                  <a:lnTo>
                    <a:pt x="333" y="3253"/>
                  </a:lnTo>
                  <a:lnTo>
                    <a:pt x="306" y="3210"/>
                  </a:lnTo>
                  <a:lnTo>
                    <a:pt x="280" y="3165"/>
                  </a:lnTo>
                  <a:lnTo>
                    <a:pt x="256" y="3121"/>
                  </a:lnTo>
                  <a:lnTo>
                    <a:pt x="232" y="3076"/>
                  </a:lnTo>
                  <a:lnTo>
                    <a:pt x="208" y="3029"/>
                  </a:lnTo>
                  <a:lnTo>
                    <a:pt x="187" y="2983"/>
                  </a:lnTo>
                  <a:lnTo>
                    <a:pt x="166" y="2937"/>
                  </a:lnTo>
                  <a:lnTo>
                    <a:pt x="146" y="2888"/>
                  </a:lnTo>
                  <a:lnTo>
                    <a:pt x="129" y="2840"/>
                  </a:lnTo>
                  <a:lnTo>
                    <a:pt x="111" y="2791"/>
                  </a:lnTo>
                  <a:lnTo>
                    <a:pt x="95" y="2742"/>
                  </a:lnTo>
                  <a:lnTo>
                    <a:pt x="80" y="2692"/>
                  </a:lnTo>
                  <a:lnTo>
                    <a:pt x="67" y="2642"/>
                  </a:lnTo>
                  <a:lnTo>
                    <a:pt x="55" y="2590"/>
                  </a:lnTo>
                  <a:lnTo>
                    <a:pt x="43" y="2539"/>
                  </a:lnTo>
                  <a:lnTo>
                    <a:pt x="33" y="2487"/>
                  </a:lnTo>
                  <a:lnTo>
                    <a:pt x="25" y="2435"/>
                  </a:lnTo>
                  <a:lnTo>
                    <a:pt x="18" y="2382"/>
                  </a:lnTo>
                  <a:lnTo>
                    <a:pt x="11" y="2330"/>
                  </a:lnTo>
                  <a:lnTo>
                    <a:pt x="6" y="2276"/>
                  </a:lnTo>
                  <a:lnTo>
                    <a:pt x="3" y="2222"/>
                  </a:lnTo>
                  <a:lnTo>
                    <a:pt x="1" y="2168"/>
                  </a:lnTo>
                  <a:lnTo>
                    <a:pt x="0" y="2113"/>
                  </a:lnTo>
                  <a:lnTo>
                    <a:pt x="0" y="2113"/>
                  </a:lnTo>
                  <a:lnTo>
                    <a:pt x="1" y="2059"/>
                  </a:lnTo>
                  <a:lnTo>
                    <a:pt x="3" y="2004"/>
                  </a:lnTo>
                  <a:lnTo>
                    <a:pt x="6" y="1951"/>
                  </a:lnTo>
                  <a:lnTo>
                    <a:pt x="11" y="1897"/>
                  </a:lnTo>
                  <a:lnTo>
                    <a:pt x="18" y="1844"/>
                  </a:lnTo>
                  <a:lnTo>
                    <a:pt x="25" y="1791"/>
                  </a:lnTo>
                  <a:lnTo>
                    <a:pt x="33" y="1740"/>
                  </a:lnTo>
                  <a:lnTo>
                    <a:pt x="43" y="1687"/>
                  </a:lnTo>
                  <a:lnTo>
                    <a:pt x="55" y="1635"/>
                  </a:lnTo>
                  <a:lnTo>
                    <a:pt x="67" y="1585"/>
                  </a:lnTo>
                  <a:lnTo>
                    <a:pt x="80" y="1534"/>
                  </a:lnTo>
                  <a:lnTo>
                    <a:pt x="95" y="1485"/>
                  </a:lnTo>
                  <a:lnTo>
                    <a:pt x="111" y="1436"/>
                  </a:lnTo>
                  <a:lnTo>
                    <a:pt x="129" y="1386"/>
                  </a:lnTo>
                  <a:lnTo>
                    <a:pt x="146" y="1338"/>
                  </a:lnTo>
                  <a:lnTo>
                    <a:pt x="166" y="1290"/>
                  </a:lnTo>
                  <a:lnTo>
                    <a:pt x="187" y="1243"/>
                  </a:lnTo>
                  <a:lnTo>
                    <a:pt x="208" y="1197"/>
                  </a:lnTo>
                  <a:lnTo>
                    <a:pt x="232" y="1151"/>
                  </a:lnTo>
                  <a:lnTo>
                    <a:pt x="256" y="1106"/>
                  </a:lnTo>
                  <a:lnTo>
                    <a:pt x="280" y="1061"/>
                  </a:lnTo>
                  <a:lnTo>
                    <a:pt x="306" y="1017"/>
                  </a:lnTo>
                  <a:lnTo>
                    <a:pt x="333" y="974"/>
                  </a:lnTo>
                  <a:lnTo>
                    <a:pt x="362" y="932"/>
                  </a:lnTo>
                  <a:lnTo>
                    <a:pt x="391" y="890"/>
                  </a:lnTo>
                  <a:lnTo>
                    <a:pt x="420" y="848"/>
                  </a:lnTo>
                  <a:lnTo>
                    <a:pt x="451" y="808"/>
                  </a:lnTo>
                  <a:lnTo>
                    <a:pt x="483" y="769"/>
                  </a:lnTo>
                  <a:lnTo>
                    <a:pt x="516" y="730"/>
                  </a:lnTo>
                  <a:lnTo>
                    <a:pt x="549" y="692"/>
                  </a:lnTo>
                  <a:lnTo>
                    <a:pt x="584" y="655"/>
                  </a:lnTo>
                  <a:lnTo>
                    <a:pt x="619" y="619"/>
                  </a:lnTo>
                  <a:lnTo>
                    <a:pt x="655" y="583"/>
                  </a:lnTo>
                  <a:lnTo>
                    <a:pt x="693" y="549"/>
                  </a:lnTo>
                  <a:lnTo>
                    <a:pt x="731" y="515"/>
                  </a:lnTo>
                  <a:lnTo>
                    <a:pt x="770" y="482"/>
                  </a:lnTo>
                  <a:lnTo>
                    <a:pt x="809" y="451"/>
                  </a:lnTo>
                  <a:lnTo>
                    <a:pt x="849" y="420"/>
                  </a:lnTo>
                  <a:lnTo>
                    <a:pt x="890" y="389"/>
                  </a:lnTo>
                  <a:lnTo>
                    <a:pt x="933" y="360"/>
                  </a:lnTo>
                  <a:lnTo>
                    <a:pt x="975" y="332"/>
                  </a:lnTo>
                  <a:lnTo>
                    <a:pt x="1018" y="306"/>
                  </a:lnTo>
                  <a:lnTo>
                    <a:pt x="1062" y="280"/>
                  </a:lnTo>
                  <a:lnTo>
                    <a:pt x="1107" y="255"/>
                  </a:lnTo>
                  <a:lnTo>
                    <a:pt x="1152" y="230"/>
                  </a:lnTo>
                  <a:lnTo>
                    <a:pt x="1197" y="208"/>
                  </a:lnTo>
                  <a:lnTo>
                    <a:pt x="1245" y="186"/>
                  </a:lnTo>
                  <a:lnTo>
                    <a:pt x="1291" y="165"/>
                  </a:lnTo>
                  <a:lnTo>
                    <a:pt x="1340" y="146"/>
                  </a:lnTo>
                  <a:lnTo>
                    <a:pt x="1388" y="127"/>
                  </a:lnTo>
                  <a:lnTo>
                    <a:pt x="1437" y="111"/>
                  </a:lnTo>
                  <a:lnTo>
                    <a:pt x="1486" y="94"/>
                  </a:lnTo>
                  <a:lnTo>
                    <a:pt x="1535" y="80"/>
                  </a:lnTo>
                  <a:lnTo>
                    <a:pt x="1586" y="65"/>
                  </a:lnTo>
                  <a:lnTo>
                    <a:pt x="1637" y="53"/>
                  </a:lnTo>
                  <a:lnTo>
                    <a:pt x="1689" y="43"/>
                  </a:lnTo>
                  <a:lnTo>
                    <a:pt x="1740" y="33"/>
                  </a:lnTo>
                  <a:lnTo>
                    <a:pt x="1793" y="23"/>
                  </a:lnTo>
                  <a:lnTo>
                    <a:pt x="1846" y="16"/>
                  </a:lnTo>
                  <a:lnTo>
                    <a:pt x="1898" y="10"/>
                  </a:lnTo>
                  <a:lnTo>
                    <a:pt x="1952" y="6"/>
                  </a:lnTo>
                  <a:lnTo>
                    <a:pt x="2006" y="3"/>
                  </a:lnTo>
                  <a:lnTo>
                    <a:pt x="2060" y="1"/>
                  </a:lnTo>
                  <a:lnTo>
                    <a:pt x="2115" y="0"/>
                  </a:lnTo>
                  <a:lnTo>
                    <a:pt x="2115" y="0"/>
                  </a:lnTo>
                  <a:lnTo>
                    <a:pt x="2169" y="1"/>
                  </a:lnTo>
                  <a:lnTo>
                    <a:pt x="2224" y="3"/>
                  </a:lnTo>
                  <a:lnTo>
                    <a:pt x="2277" y="6"/>
                  </a:lnTo>
                  <a:lnTo>
                    <a:pt x="2331" y="10"/>
                  </a:lnTo>
                  <a:lnTo>
                    <a:pt x="2383" y="16"/>
                  </a:lnTo>
                  <a:lnTo>
                    <a:pt x="2437" y="23"/>
                  </a:lnTo>
                  <a:lnTo>
                    <a:pt x="2489" y="33"/>
                  </a:lnTo>
                  <a:lnTo>
                    <a:pt x="2541" y="43"/>
                  </a:lnTo>
                  <a:lnTo>
                    <a:pt x="2593" y="53"/>
                  </a:lnTo>
                  <a:lnTo>
                    <a:pt x="2643" y="65"/>
                  </a:lnTo>
                  <a:lnTo>
                    <a:pt x="2694" y="80"/>
                  </a:lnTo>
                  <a:lnTo>
                    <a:pt x="2743" y="94"/>
                  </a:lnTo>
                  <a:lnTo>
                    <a:pt x="2793" y="111"/>
                  </a:lnTo>
                  <a:lnTo>
                    <a:pt x="2842" y="127"/>
                  </a:lnTo>
                  <a:lnTo>
                    <a:pt x="2890" y="146"/>
                  </a:lnTo>
                  <a:lnTo>
                    <a:pt x="2938" y="165"/>
                  </a:lnTo>
                  <a:lnTo>
                    <a:pt x="2985" y="186"/>
                  </a:lnTo>
                  <a:lnTo>
                    <a:pt x="3032" y="208"/>
                  </a:lnTo>
                  <a:lnTo>
                    <a:pt x="3077" y="230"/>
                  </a:lnTo>
                  <a:lnTo>
                    <a:pt x="3122" y="255"/>
                  </a:lnTo>
                  <a:lnTo>
                    <a:pt x="3168" y="280"/>
                  </a:lnTo>
                  <a:lnTo>
                    <a:pt x="3211" y="306"/>
                  </a:lnTo>
                  <a:lnTo>
                    <a:pt x="3254" y="332"/>
                  </a:lnTo>
                  <a:lnTo>
                    <a:pt x="3296" y="360"/>
                  </a:lnTo>
                  <a:lnTo>
                    <a:pt x="3339" y="389"/>
                  </a:lnTo>
                  <a:lnTo>
                    <a:pt x="3380" y="420"/>
                  </a:lnTo>
                  <a:lnTo>
                    <a:pt x="3420" y="451"/>
                  </a:lnTo>
                  <a:lnTo>
                    <a:pt x="3459" y="482"/>
                  </a:lnTo>
                  <a:lnTo>
                    <a:pt x="3498" y="515"/>
                  </a:lnTo>
                  <a:lnTo>
                    <a:pt x="3537" y="549"/>
                  </a:lnTo>
                  <a:lnTo>
                    <a:pt x="3574" y="583"/>
                  </a:lnTo>
                  <a:lnTo>
                    <a:pt x="3610" y="619"/>
                  </a:lnTo>
                  <a:lnTo>
                    <a:pt x="3645" y="655"/>
                  </a:lnTo>
                  <a:lnTo>
                    <a:pt x="3680" y="692"/>
                  </a:lnTo>
                  <a:lnTo>
                    <a:pt x="3714" y="730"/>
                  </a:lnTo>
                  <a:lnTo>
                    <a:pt x="3747" y="769"/>
                  </a:lnTo>
                  <a:lnTo>
                    <a:pt x="3778" y="808"/>
                  </a:lnTo>
                  <a:lnTo>
                    <a:pt x="3809" y="848"/>
                  </a:lnTo>
                  <a:lnTo>
                    <a:pt x="3839" y="890"/>
                  </a:lnTo>
                  <a:lnTo>
                    <a:pt x="3868" y="932"/>
                  </a:lnTo>
                  <a:lnTo>
                    <a:pt x="3896" y="974"/>
                  </a:lnTo>
                  <a:lnTo>
                    <a:pt x="3923" y="1017"/>
                  </a:lnTo>
                  <a:lnTo>
                    <a:pt x="3949" y="1061"/>
                  </a:lnTo>
                  <a:lnTo>
                    <a:pt x="3973" y="1106"/>
                  </a:lnTo>
                  <a:lnTo>
                    <a:pt x="3998" y="1151"/>
                  </a:lnTo>
                  <a:lnTo>
                    <a:pt x="4021" y="1197"/>
                  </a:lnTo>
                  <a:lnTo>
                    <a:pt x="4042" y="1243"/>
                  </a:lnTo>
                  <a:lnTo>
                    <a:pt x="4063" y="1290"/>
                  </a:lnTo>
                  <a:lnTo>
                    <a:pt x="4083" y="1338"/>
                  </a:lnTo>
                  <a:lnTo>
                    <a:pt x="4101" y="1386"/>
                  </a:lnTo>
                  <a:lnTo>
                    <a:pt x="4118" y="1436"/>
                  </a:lnTo>
                  <a:lnTo>
                    <a:pt x="4134" y="1485"/>
                  </a:lnTo>
                  <a:lnTo>
                    <a:pt x="4149" y="1534"/>
                  </a:lnTo>
                  <a:lnTo>
                    <a:pt x="4163" y="1585"/>
                  </a:lnTo>
                  <a:lnTo>
                    <a:pt x="4175" y="1635"/>
                  </a:lnTo>
                  <a:lnTo>
                    <a:pt x="4186" y="1687"/>
                  </a:lnTo>
                  <a:lnTo>
                    <a:pt x="4196" y="1740"/>
                  </a:lnTo>
                  <a:lnTo>
                    <a:pt x="4204" y="1791"/>
                  </a:lnTo>
                  <a:lnTo>
                    <a:pt x="4213" y="1844"/>
                  </a:lnTo>
                  <a:lnTo>
                    <a:pt x="4219" y="1897"/>
                  </a:lnTo>
                  <a:lnTo>
                    <a:pt x="4223" y="1951"/>
                  </a:lnTo>
                  <a:lnTo>
                    <a:pt x="4226" y="2004"/>
                  </a:lnTo>
                  <a:lnTo>
                    <a:pt x="4228" y="2059"/>
                  </a:lnTo>
                  <a:lnTo>
                    <a:pt x="4229" y="2113"/>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6" name="Freeform 564">
              <a:extLst>
                <a:ext uri="{FF2B5EF4-FFF2-40B4-BE49-F238E27FC236}">
                  <a16:creationId xmlns:a16="http://schemas.microsoft.com/office/drawing/2014/main" id="{65D2E3A9-D84D-383C-149C-611578E82BDA}"/>
                </a:ext>
              </a:extLst>
            </p:cNvPr>
            <p:cNvSpPr>
              <a:spLocks/>
            </p:cNvSpPr>
            <p:nvPr/>
          </p:nvSpPr>
          <p:spPr bwMode="auto">
            <a:xfrm>
              <a:off x="4441826" y="3430587"/>
              <a:ext cx="471488" cy="341312"/>
            </a:xfrm>
            <a:custGeom>
              <a:avLst/>
              <a:gdLst/>
              <a:ahLst/>
              <a:cxnLst>
                <a:cxn ang="0">
                  <a:pos x="0" y="0"/>
                </a:cxn>
                <a:cxn ang="0">
                  <a:pos x="0" y="593"/>
                </a:cxn>
                <a:cxn ang="0">
                  <a:pos x="0" y="1715"/>
                </a:cxn>
                <a:cxn ang="0">
                  <a:pos x="2110" y="1715"/>
                </a:cxn>
                <a:cxn ang="0">
                  <a:pos x="2375" y="1715"/>
                </a:cxn>
                <a:cxn ang="0">
                  <a:pos x="2375" y="1450"/>
                </a:cxn>
                <a:cxn ang="0">
                  <a:pos x="2375" y="593"/>
                </a:cxn>
                <a:cxn ang="0">
                  <a:pos x="2375" y="0"/>
                </a:cxn>
                <a:cxn ang="0">
                  <a:pos x="0" y="0"/>
                </a:cxn>
              </a:cxnLst>
              <a:rect l="0" t="0" r="r" b="b"/>
              <a:pathLst>
                <a:path w="2375" h="1715">
                  <a:moveTo>
                    <a:pt x="0" y="0"/>
                  </a:moveTo>
                  <a:lnTo>
                    <a:pt x="0" y="593"/>
                  </a:lnTo>
                  <a:lnTo>
                    <a:pt x="0" y="1715"/>
                  </a:lnTo>
                  <a:lnTo>
                    <a:pt x="2110" y="1715"/>
                  </a:lnTo>
                  <a:lnTo>
                    <a:pt x="2375" y="1715"/>
                  </a:lnTo>
                  <a:lnTo>
                    <a:pt x="2375" y="1450"/>
                  </a:lnTo>
                  <a:lnTo>
                    <a:pt x="2375" y="593"/>
                  </a:lnTo>
                  <a:lnTo>
                    <a:pt x="2375" y="0"/>
                  </a:lnTo>
                  <a:lnTo>
                    <a:pt x="0" y="0"/>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7" name="Freeform 565">
              <a:extLst>
                <a:ext uri="{FF2B5EF4-FFF2-40B4-BE49-F238E27FC236}">
                  <a16:creationId xmlns:a16="http://schemas.microsoft.com/office/drawing/2014/main" id="{4842261F-07CC-EF92-C0C3-2B0547DA995E}"/>
                </a:ext>
              </a:extLst>
            </p:cNvPr>
            <p:cNvSpPr>
              <a:spLocks/>
            </p:cNvSpPr>
            <p:nvPr/>
          </p:nvSpPr>
          <p:spPr bwMode="auto">
            <a:xfrm>
              <a:off x="4441826" y="3430587"/>
              <a:ext cx="471488" cy="341312"/>
            </a:xfrm>
            <a:custGeom>
              <a:avLst/>
              <a:gdLst/>
              <a:ahLst/>
              <a:cxnLst>
                <a:cxn ang="0">
                  <a:pos x="0" y="0"/>
                </a:cxn>
                <a:cxn ang="0">
                  <a:pos x="0" y="593"/>
                </a:cxn>
                <a:cxn ang="0">
                  <a:pos x="0" y="1715"/>
                </a:cxn>
                <a:cxn ang="0">
                  <a:pos x="2110" y="1715"/>
                </a:cxn>
                <a:cxn ang="0">
                  <a:pos x="2375" y="1715"/>
                </a:cxn>
                <a:cxn ang="0">
                  <a:pos x="2375" y="1450"/>
                </a:cxn>
                <a:cxn ang="0">
                  <a:pos x="2375" y="593"/>
                </a:cxn>
                <a:cxn ang="0">
                  <a:pos x="2375" y="0"/>
                </a:cxn>
                <a:cxn ang="0">
                  <a:pos x="0" y="0"/>
                </a:cxn>
              </a:cxnLst>
              <a:rect l="0" t="0" r="r" b="b"/>
              <a:pathLst>
                <a:path w="2375" h="1715">
                  <a:moveTo>
                    <a:pt x="0" y="0"/>
                  </a:moveTo>
                  <a:lnTo>
                    <a:pt x="0" y="593"/>
                  </a:lnTo>
                  <a:lnTo>
                    <a:pt x="0" y="1715"/>
                  </a:lnTo>
                  <a:lnTo>
                    <a:pt x="2110" y="1715"/>
                  </a:lnTo>
                  <a:lnTo>
                    <a:pt x="2375" y="1715"/>
                  </a:lnTo>
                  <a:lnTo>
                    <a:pt x="2375" y="1450"/>
                  </a:lnTo>
                  <a:lnTo>
                    <a:pt x="2375" y="593"/>
                  </a:lnTo>
                  <a:lnTo>
                    <a:pt x="2375" y="0"/>
                  </a:lnTo>
                  <a:lnTo>
                    <a:pt x="0"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8" name="Rectangle 566">
              <a:extLst>
                <a:ext uri="{FF2B5EF4-FFF2-40B4-BE49-F238E27FC236}">
                  <a16:creationId xmlns:a16="http://schemas.microsoft.com/office/drawing/2014/main" id="{978BE775-944B-850D-D92A-C759B38814EA}"/>
                </a:ext>
              </a:extLst>
            </p:cNvPr>
            <p:cNvSpPr>
              <a:spLocks noChangeArrowheads="1"/>
            </p:cNvSpPr>
            <p:nvPr/>
          </p:nvSpPr>
          <p:spPr bwMode="auto">
            <a:xfrm>
              <a:off x="4441826" y="3430587"/>
              <a:ext cx="471488" cy="92075"/>
            </a:xfrm>
            <a:prstGeom prst="rect">
              <a:avLst/>
            </a:prstGeom>
            <a:solidFill>
              <a:srgbClr val="D94720"/>
            </a:solid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9" name="Rectangle 567">
              <a:extLst>
                <a:ext uri="{FF2B5EF4-FFF2-40B4-BE49-F238E27FC236}">
                  <a16:creationId xmlns:a16="http://schemas.microsoft.com/office/drawing/2014/main" id="{F9406D2F-21E5-86FE-1F47-ADDE6032B8B8}"/>
                </a:ext>
              </a:extLst>
            </p:cNvPr>
            <p:cNvSpPr>
              <a:spLocks noChangeArrowheads="1"/>
            </p:cNvSpPr>
            <p:nvPr/>
          </p:nvSpPr>
          <p:spPr bwMode="auto">
            <a:xfrm>
              <a:off x="4441826" y="3430587"/>
              <a:ext cx="471488" cy="92075"/>
            </a:xfrm>
            <a:prstGeom prst="rect">
              <a:avLst/>
            </a:prstGeom>
            <a:noFill/>
            <a:ln w="9525">
              <a:noFill/>
              <a:miter lim="800000"/>
              <a:headEnd/>
              <a:tailEnd/>
            </a:ln>
          </p:spPr>
          <p:txBody>
            <a:bodyPr vert="horz" wrap="square" lIns="91440" tIns="45720" rIns="91440" bIns="45720" numCol="1" anchor="t" anchorCtr="0" compatLnSpc="1">
              <a:prstTxWarp prst="textNoShape">
                <a:avLst/>
              </a:prstTxWarp>
            </a:bodyPr>
            <a:lstStyle/>
            <a:p>
              <a:endParaRPr lang="en-GB"/>
            </a:p>
          </p:txBody>
        </p:sp>
        <p:sp>
          <p:nvSpPr>
            <p:cNvPr id="10" name="Freeform 568">
              <a:extLst>
                <a:ext uri="{FF2B5EF4-FFF2-40B4-BE49-F238E27FC236}">
                  <a16:creationId xmlns:a16="http://schemas.microsoft.com/office/drawing/2014/main" id="{88E59EB6-A26D-7D21-9D4E-7CCAB7F676E7}"/>
                </a:ext>
              </a:extLst>
            </p:cNvPr>
            <p:cNvSpPr>
              <a:spLocks/>
            </p:cNvSpPr>
            <p:nvPr/>
          </p:nvSpPr>
          <p:spPr bwMode="auto">
            <a:xfrm>
              <a:off x="4598988" y="3575050"/>
              <a:ext cx="157163" cy="157162"/>
            </a:xfrm>
            <a:custGeom>
              <a:avLst/>
              <a:gdLst/>
              <a:ahLst/>
              <a:cxnLst>
                <a:cxn ang="0">
                  <a:pos x="791" y="416"/>
                </a:cxn>
                <a:cxn ang="0">
                  <a:pos x="783" y="475"/>
                </a:cxn>
                <a:cxn ang="0">
                  <a:pos x="768" y="531"/>
                </a:cxn>
                <a:cxn ang="0">
                  <a:pos x="744" y="584"/>
                </a:cxn>
                <a:cxn ang="0">
                  <a:pos x="713" y="632"/>
                </a:cxn>
                <a:cxn ang="0">
                  <a:pos x="676" y="674"/>
                </a:cxn>
                <a:cxn ang="0">
                  <a:pos x="633" y="712"/>
                </a:cxn>
                <a:cxn ang="0">
                  <a:pos x="584" y="743"/>
                </a:cxn>
                <a:cxn ang="0">
                  <a:pos x="532" y="767"/>
                </a:cxn>
                <a:cxn ang="0">
                  <a:pos x="476" y="783"/>
                </a:cxn>
                <a:cxn ang="0">
                  <a:pos x="416" y="790"/>
                </a:cxn>
                <a:cxn ang="0">
                  <a:pos x="375" y="790"/>
                </a:cxn>
                <a:cxn ang="0">
                  <a:pos x="316" y="783"/>
                </a:cxn>
                <a:cxn ang="0">
                  <a:pos x="260" y="767"/>
                </a:cxn>
                <a:cxn ang="0">
                  <a:pos x="207" y="743"/>
                </a:cxn>
                <a:cxn ang="0">
                  <a:pos x="159" y="712"/>
                </a:cxn>
                <a:cxn ang="0">
                  <a:pos x="116" y="674"/>
                </a:cxn>
                <a:cxn ang="0">
                  <a:pos x="78" y="632"/>
                </a:cxn>
                <a:cxn ang="0">
                  <a:pos x="47" y="584"/>
                </a:cxn>
                <a:cxn ang="0">
                  <a:pos x="24" y="531"/>
                </a:cxn>
                <a:cxn ang="0">
                  <a:pos x="8" y="475"/>
                </a:cxn>
                <a:cxn ang="0">
                  <a:pos x="1" y="416"/>
                </a:cxn>
                <a:cxn ang="0">
                  <a:pos x="1" y="375"/>
                </a:cxn>
                <a:cxn ang="0">
                  <a:pos x="8" y="315"/>
                </a:cxn>
                <a:cxn ang="0">
                  <a:pos x="24" y="259"/>
                </a:cxn>
                <a:cxn ang="0">
                  <a:pos x="47" y="207"/>
                </a:cxn>
                <a:cxn ang="0">
                  <a:pos x="78" y="158"/>
                </a:cxn>
                <a:cxn ang="0">
                  <a:pos x="116" y="115"/>
                </a:cxn>
                <a:cxn ang="0">
                  <a:pos x="159" y="78"/>
                </a:cxn>
                <a:cxn ang="0">
                  <a:pos x="207" y="47"/>
                </a:cxn>
                <a:cxn ang="0">
                  <a:pos x="260" y="23"/>
                </a:cxn>
                <a:cxn ang="0">
                  <a:pos x="316" y="8"/>
                </a:cxn>
                <a:cxn ang="0">
                  <a:pos x="375" y="0"/>
                </a:cxn>
                <a:cxn ang="0">
                  <a:pos x="416" y="0"/>
                </a:cxn>
                <a:cxn ang="0">
                  <a:pos x="476" y="8"/>
                </a:cxn>
                <a:cxn ang="0">
                  <a:pos x="532" y="23"/>
                </a:cxn>
                <a:cxn ang="0">
                  <a:pos x="584" y="47"/>
                </a:cxn>
                <a:cxn ang="0">
                  <a:pos x="633" y="78"/>
                </a:cxn>
                <a:cxn ang="0">
                  <a:pos x="676" y="115"/>
                </a:cxn>
                <a:cxn ang="0">
                  <a:pos x="713" y="158"/>
                </a:cxn>
                <a:cxn ang="0">
                  <a:pos x="744" y="207"/>
                </a:cxn>
                <a:cxn ang="0">
                  <a:pos x="768" y="259"/>
                </a:cxn>
                <a:cxn ang="0">
                  <a:pos x="783" y="315"/>
                </a:cxn>
                <a:cxn ang="0">
                  <a:pos x="791" y="375"/>
                </a:cxn>
              </a:cxnLst>
              <a:rect l="0" t="0" r="r" b="b"/>
              <a:pathLst>
                <a:path w="791" h="791">
                  <a:moveTo>
                    <a:pt x="791" y="395"/>
                  </a:moveTo>
                  <a:lnTo>
                    <a:pt x="791" y="395"/>
                  </a:lnTo>
                  <a:lnTo>
                    <a:pt x="791" y="416"/>
                  </a:lnTo>
                  <a:lnTo>
                    <a:pt x="789" y="435"/>
                  </a:lnTo>
                  <a:lnTo>
                    <a:pt x="787" y="455"/>
                  </a:lnTo>
                  <a:lnTo>
                    <a:pt x="783" y="475"/>
                  </a:lnTo>
                  <a:lnTo>
                    <a:pt x="779" y="494"/>
                  </a:lnTo>
                  <a:lnTo>
                    <a:pt x="774" y="513"/>
                  </a:lnTo>
                  <a:lnTo>
                    <a:pt x="768" y="531"/>
                  </a:lnTo>
                  <a:lnTo>
                    <a:pt x="760" y="549"/>
                  </a:lnTo>
                  <a:lnTo>
                    <a:pt x="752" y="566"/>
                  </a:lnTo>
                  <a:lnTo>
                    <a:pt x="744" y="584"/>
                  </a:lnTo>
                  <a:lnTo>
                    <a:pt x="735" y="600"/>
                  </a:lnTo>
                  <a:lnTo>
                    <a:pt x="724" y="617"/>
                  </a:lnTo>
                  <a:lnTo>
                    <a:pt x="713" y="632"/>
                  </a:lnTo>
                  <a:lnTo>
                    <a:pt x="701" y="647"/>
                  </a:lnTo>
                  <a:lnTo>
                    <a:pt x="688" y="661"/>
                  </a:lnTo>
                  <a:lnTo>
                    <a:pt x="676" y="674"/>
                  </a:lnTo>
                  <a:lnTo>
                    <a:pt x="661" y="688"/>
                  </a:lnTo>
                  <a:lnTo>
                    <a:pt x="647" y="700"/>
                  </a:lnTo>
                  <a:lnTo>
                    <a:pt x="633" y="712"/>
                  </a:lnTo>
                  <a:lnTo>
                    <a:pt x="617" y="723"/>
                  </a:lnTo>
                  <a:lnTo>
                    <a:pt x="601" y="733"/>
                  </a:lnTo>
                  <a:lnTo>
                    <a:pt x="584" y="743"/>
                  </a:lnTo>
                  <a:lnTo>
                    <a:pt x="568" y="752"/>
                  </a:lnTo>
                  <a:lnTo>
                    <a:pt x="550" y="760"/>
                  </a:lnTo>
                  <a:lnTo>
                    <a:pt x="532" y="767"/>
                  </a:lnTo>
                  <a:lnTo>
                    <a:pt x="513" y="773"/>
                  </a:lnTo>
                  <a:lnTo>
                    <a:pt x="494" y="778"/>
                  </a:lnTo>
                  <a:lnTo>
                    <a:pt x="476" y="783"/>
                  </a:lnTo>
                  <a:lnTo>
                    <a:pt x="456" y="786"/>
                  </a:lnTo>
                  <a:lnTo>
                    <a:pt x="436" y="789"/>
                  </a:lnTo>
                  <a:lnTo>
                    <a:pt x="416" y="790"/>
                  </a:lnTo>
                  <a:lnTo>
                    <a:pt x="396" y="791"/>
                  </a:lnTo>
                  <a:lnTo>
                    <a:pt x="396" y="791"/>
                  </a:lnTo>
                  <a:lnTo>
                    <a:pt x="375" y="790"/>
                  </a:lnTo>
                  <a:lnTo>
                    <a:pt x="355" y="789"/>
                  </a:lnTo>
                  <a:lnTo>
                    <a:pt x="336" y="786"/>
                  </a:lnTo>
                  <a:lnTo>
                    <a:pt x="316" y="783"/>
                  </a:lnTo>
                  <a:lnTo>
                    <a:pt x="297" y="778"/>
                  </a:lnTo>
                  <a:lnTo>
                    <a:pt x="278" y="773"/>
                  </a:lnTo>
                  <a:lnTo>
                    <a:pt x="260" y="767"/>
                  </a:lnTo>
                  <a:lnTo>
                    <a:pt x="242" y="760"/>
                  </a:lnTo>
                  <a:lnTo>
                    <a:pt x="224" y="752"/>
                  </a:lnTo>
                  <a:lnTo>
                    <a:pt x="207" y="743"/>
                  </a:lnTo>
                  <a:lnTo>
                    <a:pt x="190" y="733"/>
                  </a:lnTo>
                  <a:lnTo>
                    <a:pt x="174" y="723"/>
                  </a:lnTo>
                  <a:lnTo>
                    <a:pt x="159" y="712"/>
                  </a:lnTo>
                  <a:lnTo>
                    <a:pt x="144" y="700"/>
                  </a:lnTo>
                  <a:lnTo>
                    <a:pt x="130" y="688"/>
                  </a:lnTo>
                  <a:lnTo>
                    <a:pt x="116" y="674"/>
                  </a:lnTo>
                  <a:lnTo>
                    <a:pt x="103" y="661"/>
                  </a:lnTo>
                  <a:lnTo>
                    <a:pt x="91" y="647"/>
                  </a:lnTo>
                  <a:lnTo>
                    <a:pt x="78" y="632"/>
                  </a:lnTo>
                  <a:lnTo>
                    <a:pt x="68" y="617"/>
                  </a:lnTo>
                  <a:lnTo>
                    <a:pt x="58" y="600"/>
                  </a:lnTo>
                  <a:lnTo>
                    <a:pt x="47" y="584"/>
                  </a:lnTo>
                  <a:lnTo>
                    <a:pt x="39" y="566"/>
                  </a:lnTo>
                  <a:lnTo>
                    <a:pt x="31" y="549"/>
                  </a:lnTo>
                  <a:lnTo>
                    <a:pt x="24" y="531"/>
                  </a:lnTo>
                  <a:lnTo>
                    <a:pt x="17" y="513"/>
                  </a:lnTo>
                  <a:lnTo>
                    <a:pt x="12" y="494"/>
                  </a:lnTo>
                  <a:lnTo>
                    <a:pt x="8" y="475"/>
                  </a:lnTo>
                  <a:lnTo>
                    <a:pt x="5" y="455"/>
                  </a:lnTo>
                  <a:lnTo>
                    <a:pt x="2" y="435"/>
                  </a:lnTo>
                  <a:lnTo>
                    <a:pt x="1" y="416"/>
                  </a:lnTo>
                  <a:lnTo>
                    <a:pt x="0" y="395"/>
                  </a:lnTo>
                  <a:lnTo>
                    <a:pt x="0" y="395"/>
                  </a:lnTo>
                  <a:lnTo>
                    <a:pt x="1" y="375"/>
                  </a:lnTo>
                  <a:lnTo>
                    <a:pt x="2" y="355"/>
                  </a:lnTo>
                  <a:lnTo>
                    <a:pt x="5" y="334"/>
                  </a:lnTo>
                  <a:lnTo>
                    <a:pt x="8" y="315"/>
                  </a:lnTo>
                  <a:lnTo>
                    <a:pt x="12" y="296"/>
                  </a:lnTo>
                  <a:lnTo>
                    <a:pt x="17" y="278"/>
                  </a:lnTo>
                  <a:lnTo>
                    <a:pt x="24" y="259"/>
                  </a:lnTo>
                  <a:lnTo>
                    <a:pt x="31" y="241"/>
                  </a:lnTo>
                  <a:lnTo>
                    <a:pt x="39" y="223"/>
                  </a:lnTo>
                  <a:lnTo>
                    <a:pt x="47" y="207"/>
                  </a:lnTo>
                  <a:lnTo>
                    <a:pt x="58" y="190"/>
                  </a:lnTo>
                  <a:lnTo>
                    <a:pt x="68" y="174"/>
                  </a:lnTo>
                  <a:lnTo>
                    <a:pt x="78" y="158"/>
                  </a:lnTo>
                  <a:lnTo>
                    <a:pt x="91" y="144"/>
                  </a:lnTo>
                  <a:lnTo>
                    <a:pt x="103" y="129"/>
                  </a:lnTo>
                  <a:lnTo>
                    <a:pt x="116" y="115"/>
                  </a:lnTo>
                  <a:lnTo>
                    <a:pt x="130" y="103"/>
                  </a:lnTo>
                  <a:lnTo>
                    <a:pt x="144" y="90"/>
                  </a:lnTo>
                  <a:lnTo>
                    <a:pt x="159" y="78"/>
                  </a:lnTo>
                  <a:lnTo>
                    <a:pt x="174" y="67"/>
                  </a:lnTo>
                  <a:lnTo>
                    <a:pt x="190" y="56"/>
                  </a:lnTo>
                  <a:lnTo>
                    <a:pt x="207" y="47"/>
                  </a:lnTo>
                  <a:lnTo>
                    <a:pt x="224" y="39"/>
                  </a:lnTo>
                  <a:lnTo>
                    <a:pt x="242" y="30"/>
                  </a:lnTo>
                  <a:lnTo>
                    <a:pt x="260" y="23"/>
                  </a:lnTo>
                  <a:lnTo>
                    <a:pt x="278" y="17"/>
                  </a:lnTo>
                  <a:lnTo>
                    <a:pt x="297" y="12"/>
                  </a:lnTo>
                  <a:lnTo>
                    <a:pt x="316" y="8"/>
                  </a:lnTo>
                  <a:lnTo>
                    <a:pt x="336" y="4"/>
                  </a:lnTo>
                  <a:lnTo>
                    <a:pt x="355" y="2"/>
                  </a:lnTo>
                  <a:lnTo>
                    <a:pt x="375" y="0"/>
                  </a:lnTo>
                  <a:lnTo>
                    <a:pt x="396" y="0"/>
                  </a:lnTo>
                  <a:lnTo>
                    <a:pt x="396" y="0"/>
                  </a:lnTo>
                  <a:lnTo>
                    <a:pt x="416" y="0"/>
                  </a:lnTo>
                  <a:lnTo>
                    <a:pt x="436" y="2"/>
                  </a:lnTo>
                  <a:lnTo>
                    <a:pt x="456" y="4"/>
                  </a:lnTo>
                  <a:lnTo>
                    <a:pt x="476" y="8"/>
                  </a:lnTo>
                  <a:lnTo>
                    <a:pt x="494" y="12"/>
                  </a:lnTo>
                  <a:lnTo>
                    <a:pt x="513" y="17"/>
                  </a:lnTo>
                  <a:lnTo>
                    <a:pt x="532" y="23"/>
                  </a:lnTo>
                  <a:lnTo>
                    <a:pt x="550" y="30"/>
                  </a:lnTo>
                  <a:lnTo>
                    <a:pt x="568" y="39"/>
                  </a:lnTo>
                  <a:lnTo>
                    <a:pt x="584" y="47"/>
                  </a:lnTo>
                  <a:lnTo>
                    <a:pt x="601" y="56"/>
                  </a:lnTo>
                  <a:lnTo>
                    <a:pt x="617" y="67"/>
                  </a:lnTo>
                  <a:lnTo>
                    <a:pt x="633" y="78"/>
                  </a:lnTo>
                  <a:lnTo>
                    <a:pt x="647" y="90"/>
                  </a:lnTo>
                  <a:lnTo>
                    <a:pt x="661" y="103"/>
                  </a:lnTo>
                  <a:lnTo>
                    <a:pt x="676" y="115"/>
                  </a:lnTo>
                  <a:lnTo>
                    <a:pt x="688" y="129"/>
                  </a:lnTo>
                  <a:lnTo>
                    <a:pt x="701" y="144"/>
                  </a:lnTo>
                  <a:lnTo>
                    <a:pt x="713" y="158"/>
                  </a:lnTo>
                  <a:lnTo>
                    <a:pt x="724" y="174"/>
                  </a:lnTo>
                  <a:lnTo>
                    <a:pt x="735" y="190"/>
                  </a:lnTo>
                  <a:lnTo>
                    <a:pt x="744" y="207"/>
                  </a:lnTo>
                  <a:lnTo>
                    <a:pt x="752" y="223"/>
                  </a:lnTo>
                  <a:lnTo>
                    <a:pt x="760" y="241"/>
                  </a:lnTo>
                  <a:lnTo>
                    <a:pt x="768" y="259"/>
                  </a:lnTo>
                  <a:lnTo>
                    <a:pt x="774" y="278"/>
                  </a:lnTo>
                  <a:lnTo>
                    <a:pt x="779" y="296"/>
                  </a:lnTo>
                  <a:lnTo>
                    <a:pt x="783" y="315"/>
                  </a:lnTo>
                  <a:lnTo>
                    <a:pt x="787" y="334"/>
                  </a:lnTo>
                  <a:lnTo>
                    <a:pt x="789" y="355"/>
                  </a:lnTo>
                  <a:lnTo>
                    <a:pt x="791" y="375"/>
                  </a:lnTo>
                  <a:lnTo>
                    <a:pt x="791" y="395"/>
                  </a:lnTo>
                  <a:close/>
                </a:path>
              </a:pathLst>
            </a:custGeom>
            <a:solidFill>
              <a:srgbClr val="CCBEA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1" name="Freeform 569">
              <a:extLst>
                <a:ext uri="{FF2B5EF4-FFF2-40B4-BE49-F238E27FC236}">
                  <a16:creationId xmlns:a16="http://schemas.microsoft.com/office/drawing/2014/main" id="{449C6CFF-E797-6BA1-986A-09ED90E254D0}"/>
                </a:ext>
              </a:extLst>
            </p:cNvPr>
            <p:cNvSpPr>
              <a:spLocks/>
            </p:cNvSpPr>
            <p:nvPr/>
          </p:nvSpPr>
          <p:spPr bwMode="auto">
            <a:xfrm>
              <a:off x="4598988" y="3575050"/>
              <a:ext cx="157163" cy="157162"/>
            </a:xfrm>
            <a:custGeom>
              <a:avLst/>
              <a:gdLst/>
              <a:ahLst/>
              <a:cxnLst>
                <a:cxn ang="0">
                  <a:pos x="791" y="416"/>
                </a:cxn>
                <a:cxn ang="0">
                  <a:pos x="783" y="475"/>
                </a:cxn>
                <a:cxn ang="0">
                  <a:pos x="768" y="531"/>
                </a:cxn>
                <a:cxn ang="0">
                  <a:pos x="744" y="584"/>
                </a:cxn>
                <a:cxn ang="0">
                  <a:pos x="713" y="632"/>
                </a:cxn>
                <a:cxn ang="0">
                  <a:pos x="676" y="674"/>
                </a:cxn>
                <a:cxn ang="0">
                  <a:pos x="633" y="712"/>
                </a:cxn>
                <a:cxn ang="0">
                  <a:pos x="584" y="743"/>
                </a:cxn>
                <a:cxn ang="0">
                  <a:pos x="532" y="767"/>
                </a:cxn>
                <a:cxn ang="0">
                  <a:pos x="476" y="783"/>
                </a:cxn>
                <a:cxn ang="0">
                  <a:pos x="416" y="790"/>
                </a:cxn>
                <a:cxn ang="0">
                  <a:pos x="375" y="790"/>
                </a:cxn>
                <a:cxn ang="0">
                  <a:pos x="316" y="783"/>
                </a:cxn>
                <a:cxn ang="0">
                  <a:pos x="260" y="767"/>
                </a:cxn>
                <a:cxn ang="0">
                  <a:pos x="207" y="743"/>
                </a:cxn>
                <a:cxn ang="0">
                  <a:pos x="159" y="712"/>
                </a:cxn>
                <a:cxn ang="0">
                  <a:pos x="116" y="674"/>
                </a:cxn>
                <a:cxn ang="0">
                  <a:pos x="78" y="632"/>
                </a:cxn>
                <a:cxn ang="0">
                  <a:pos x="47" y="584"/>
                </a:cxn>
                <a:cxn ang="0">
                  <a:pos x="24" y="531"/>
                </a:cxn>
                <a:cxn ang="0">
                  <a:pos x="8" y="475"/>
                </a:cxn>
                <a:cxn ang="0">
                  <a:pos x="1" y="416"/>
                </a:cxn>
                <a:cxn ang="0">
                  <a:pos x="1" y="375"/>
                </a:cxn>
                <a:cxn ang="0">
                  <a:pos x="8" y="315"/>
                </a:cxn>
                <a:cxn ang="0">
                  <a:pos x="24" y="259"/>
                </a:cxn>
                <a:cxn ang="0">
                  <a:pos x="47" y="207"/>
                </a:cxn>
                <a:cxn ang="0">
                  <a:pos x="78" y="158"/>
                </a:cxn>
                <a:cxn ang="0">
                  <a:pos x="116" y="115"/>
                </a:cxn>
                <a:cxn ang="0">
                  <a:pos x="159" y="78"/>
                </a:cxn>
                <a:cxn ang="0">
                  <a:pos x="207" y="47"/>
                </a:cxn>
                <a:cxn ang="0">
                  <a:pos x="260" y="23"/>
                </a:cxn>
                <a:cxn ang="0">
                  <a:pos x="316" y="8"/>
                </a:cxn>
                <a:cxn ang="0">
                  <a:pos x="375" y="0"/>
                </a:cxn>
                <a:cxn ang="0">
                  <a:pos x="416" y="0"/>
                </a:cxn>
                <a:cxn ang="0">
                  <a:pos x="476" y="8"/>
                </a:cxn>
                <a:cxn ang="0">
                  <a:pos x="532" y="23"/>
                </a:cxn>
                <a:cxn ang="0">
                  <a:pos x="584" y="47"/>
                </a:cxn>
                <a:cxn ang="0">
                  <a:pos x="633" y="78"/>
                </a:cxn>
                <a:cxn ang="0">
                  <a:pos x="676" y="115"/>
                </a:cxn>
                <a:cxn ang="0">
                  <a:pos x="713" y="158"/>
                </a:cxn>
                <a:cxn ang="0">
                  <a:pos x="744" y="207"/>
                </a:cxn>
                <a:cxn ang="0">
                  <a:pos x="768" y="259"/>
                </a:cxn>
                <a:cxn ang="0">
                  <a:pos x="783" y="315"/>
                </a:cxn>
                <a:cxn ang="0">
                  <a:pos x="791" y="375"/>
                </a:cxn>
              </a:cxnLst>
              <a:rect l="0" t="0" r="r" b="b"/>
              <a:pathLst>
                <a:path w="791" h="791">
                  <a:moveTo>
                    <a:pt x="791" y="395"/>
                  </a:moveTo>
                  <a:lnTo>
                    <a:pt x="791" y="395"/>
                  </a:lnTo>
                  <a:lnTo>
                    <a:pt x="791" y="416"/>
                  </a:lnTo>
                  <a:lnTo>
                    <a:pt x="789" y="435"/>
                  </a:lnTo>
                  <a:lnTo>
                    <a:pt x="787" y="455"/>
                  </a:lnTo>
                  <a:lnTo>
                    <a:pt x="783" y="475"/>
                  </a:lnTo>
                  <a:lnTo>
                    <a:pt x="779" y="494"/>
                  </a:lnTo>
                  <a:lnTo>
                    <a:pt x="774" y="513"/>
                  </a:lnTo>
                  <a:lnTo>
                    <a:pt x="768" y="531"/>
                  </a:lnTo>
                  <a:lnTo>
                    <a:pt x="760" y="549"/>
                  </a:lnTo>
                  <a:lnTo>
                    <a:pt x="752" y="566"/>
                  </a:lnTo>
                  <a:lnTo>
                    <a:pt x="744" y="584"/>
                  </a:lnTo>
                  <a:lnTo>
                    <a:pt x="735" y="600"/>
                  </a:lnTo>
                  <a:lnTo>
                    <a:pt x="724" y="617"/>
                  </a:lnTo>
                  <a:lnTo>
                    <a:pt x="713" y="632"/>
                  </a:lnTo>
                  <a:lnTo>
                    <a:pt x="701" y="647"/>
                  </a:lnTo>
                  <a:lnTo>
                    <a:pt x="688" y="661"/>
                  </a:lnTo>
                  <a:lnTo>
                    <a:pt x="676" y="674"/>
                  </a:lnTo>
                  <a:lnTo>
                    <a:pt x="661" y="688"/>
                  </a:lnTo>
                  <a:lnTo>
                    <a:pt x="647" y="700"/>
                  </a:lnTo>
                  <a:lnTo>
                    <a:pt x="633" y="712"/>
                  </a:lnTo>
                  <a:lnTo>
                    <a:pt x="617" y="723"/>
                  </a:lnTo>
                  <a:lnTo>
                    <a:pt x="601" y="733"/>
                  </a:lnTo>
                  <a:lnTo>
                    <a:pt x="584" y="743"/>
                  </a:lnTo>
                  <a:lnTo>
                    <a:pt x="568" y="752"/>
                  </a:lnTo>
                  <a:lnTo>
                    <a:pt x="550" y="760"/>
                  </a:lnTo>
                  <a:lnTo>
                    <a:pt x="532" y="767"/>
                  </a:lnTo>
                  <a:lnTo>
                    <a:pt x="513" y="773"/>
                  </a:lnTo>
                  <a:lnTo>
                    <a:pt x="494" y="778"/>
                  </a:lnTo>
                  <a:lnTo>
                    <a:pt x="476" y="783"/>
                  </a:lnTo>
                  <a:lnTo>
                    <a:pt x="456" y="786"/>
                  </a:lnTo>
                  <a:lnTo>
                    <a:pt x="436" y="789"/>
                  </a:lnTo>
                  <a:lnTo>
                    <a:pt x="416" y="790"/>
                  </a:lnTo>
                  <a:lnTo>
                    <a:pt x="396" y="791"/>
                  </a:lnTo>
                  <a:lnTo>
                    <a:pt x="396" y="791"/>
                  </a:lnTo>
                  <a:lnTo>
                    <a:pt x="375" y="790"/>
                  </a:lnTo>
                  <a:lnTo>
                    <a:pt x="355" y="789"/>
                  </a:lnTo>
                  <a:lnTo>
                    <a:pt x="336" y="786"/>
                  </a:lnTo>
                  <a:lnTo>
                    <a:pt x="316" y="783"/>
                  </a:lnTo>
                  <a:lnTo>
                    <a:pt x="297" y="778"/>
                  </a:lnTo>
                  <a:lnTo>
                    <a:pt x="278" y="773"/>
                  </a:lnTo>
                  <a:lnTo>
                    <a:pt x="260" y="767"/>
                  </a:lnTo>
                  <a:lnTo>
                    <a:pt x="242" y="760"/>
                  </a:lnTo>
                  <a:lnTo>
                    <a:pt x="224" y="752"/>
                  </a:lnTo>
                  <a:lnTo>
                    <a:pt x="207" y="743"/>
                  </a:lnTo>
                  <a:lnTo>
                    <a:pt x="190" y="733"/>
                  </a:lnTo>
                  <a:lnTo>
                    <a:pt x="174" y="723"/>
                  </a:lnTo>
                  <a:lnTo>
                    <a:pt x="159" y="712"/>
                  </a:lnTo>
                  <a:lnTo>
                    <a:pt x="144" y="700"/>
                  </a:lnTo>
                  <a:lnTo>
                    <a:pt x="130" y="688"/>
                  </a:lnTo>
                  <a:lnTo>
                    <a:pt x="116" y="674"/>
                  </a:lnTo>
                  <a:lnTo>
                    <a:pt x="103" y="661"/>
                  </a:lnTo>
                  <a:lnTo>
                    <a:pt x="91" y="647"/>
                  </a:lnTo>
                  <a:lnTo>
                    <a:pt x="78" y="632"/>
                  </a:lnTo>
                  <a:lnTo>
                    <a:pt x="68" y="617"/>
                  </a:lnTo>
                  <a:lnTo>
                    <a:pt x="58" y="600"/>
                  </a:lnTo>
                  <a:lnTo>
                    <a:pt x="47" y="584"/>
                  </a:lnTo>
                  <a:lnTo>
                    <a:pt x="39" y="566"/>
                  </a:lnTo>
                  <a:lnTo>
                    <a:pt x="31" y="549"/>
                  </a:lnTo>
                  <a:lnTo>
                    <a:pt x="24" y="531"/>
                  </a:lnTo>
                  <a:lnTo>
                    <a:pt x="17" y="513"/>
                  </a:lnTo>
                  <a:lnTo>
                    <a:pt x="12" y="494"/>
                  </a:lnTo>
                  <a:lnTo>
                    <a:pt x="8" y="475"/>
                  </a:lnTo>
                  <a:lnTo>
                    <a:pt x="5" y="455"/>
                  </a:lnTo>
                  <a:lnTo>
                    <a:pt x="2" y="435"/>
                  </a:lnTo>
                  <a:lnTo>
                    <a:pt x="1" y="416"/>
                  </a:lnTo>
                  <a:lnTo>
                    <a:pt x="0" y="395"/>
                  </a:lnTo>
                  <a:lnTo>
                    <a:pt x="0" y="395"/>
                  </a:lnTo>
                  <a:lnTo>
                    <a:pt x="1" y="375"/>
                  </a:lnTo>
                  <a:lnTo>
                    <a:pt x="2" y="355"/>
                  </a:lnTo>
                  <a:lnTo>
                    <a:pt x="5" y="334"/>
                  </a:lnTo>
                  <a:lnTo>
                    <a:pt x="8" y="315"/>
                  </a:lnTo>
                  <a:lnTo>
                    <a:pt x="12" y="296"/>
                  </a:lnTo>
                  <a:lnTo>
                    <a:pt x="17" y="278"/>
                  </a:lnTo>
                  <a:lnTo>
                    <a:pt x="24" y="259"/>
                  </a:lnTo>
                  <a:lnTo>
                    <a:pt x="31" y="241"/>
                  </a:lnTo>
                  <a:lnTo>
                    <a:pt x="39" y="223"/>
                  </a:lnTo>
                  <a:lnTo>
                    <a:pt x="47" y="207"/>
                  </a:lnTo>
                  <a:lnTo>
                    <a:pt x="58" y="190"/>
                  </a:lnTo>
                  <a:lnTo>
                    <a:pt x="68" y="174"/>
                  </a:lnTo>
                  <a:lnTo>
                    <a:pt x="78" y="158"/>
                  </a:lnTo>
                  <a:lnTo>
                    <a:pt x="91" y="144"/>
                  </a:lnTo>
                  <a:lnTo>
                    <a:pt x="103" y="129"/>
                  </a:lnTo>
                  <a:lnTo>
                    <a:pt x="116" y="115"/>
                  </a:lnTo>
                  <a:lnTo>
                    <a:pt x="130" y="103"/>
                  </a:lnTo>
                  <a:lnTo>
                    <a:pt x="144" y="90"/>
                  </a:lnTo>
                  <a:lnTo>
                    <a:pt x="159" y="78"/>
                  </a:lnTo>
                  <a:lnTo>
                    <a:pt x="174" y="67"/>
                  </a:lnTo>
                  <a:lnTo>
                    <a:pt x="190" y="56"/>
                  </a:lnTo>
                  <a:lnTo>
                    <a:pt x="207" y="47"/>
                  </a:lnTo>
                  <a:lnTo>
                    <a:pt x="224" y="39"/>
                  </a:lnTo>
                  <a:lnTo>
                    <a:pt x="242" y="30"/>
                  </a:lnTo>
                  <a:lnTo>
                    <a:pt x="260" y="23"/>
                  </a:lnTo>
                  <a:lnTo>
                    <a:pt x="278" y="17"/>
                  </a:lnTo>
                  <a:lnTo>
                    <a:pt x="297" y="12"/>
                  </a:lnTo>
                  <a:lnTo>
                    <a:pt x="316" y="8"/>
                  </a:lnTo>
                  <a:lnTo>
                    <a:pt x="336" y="4"/>
                  </a:lnTo>
                  <a:lnTo>
                    <a:pt x="355" y="2"/>
                  </a:lnTo>
                  <a:lnTo>
                    <a:pt x="375" y="0"/>
                  </a:lnTo>
                  <a:lnTo>
                    <a:pt x="396" y="0"/>
                  </a:lnTo>
                  <a:lnTo>
                    <a:pt x="396" y="0"/>
                  </a:lnTo>
                  <a:lnTo>
                    <a:pt x="416" y="0"/>
                  </a:lnTo>
                  <a:lnTo>
                    <a:pt x="436" y="2"/>
                  </a:lnTo>
                  <a:lnTo>
                    <a:pt x="456" y="4"/>
                  </a:lnTo>
                  <a:lnTo>
                    <a:pt x="476" y="8"/>
                  </a:lnTo>
                  <a:lnTo>
                    <a:pt x="494" y="12"/>
                  </a:lnTo>
                  <a:lnTo>
                    <a:pt x="513" y="17"/>
                  </a:lnTo>
                  <a:lnTo>
                    <a:pt x="532" y="23"/>
                  </a:lnTo>
                  <a:lnTo>
                    <a:pt x="550" y="30"/>
                  </a:lnTo>
                  <a:lnTo>
                    <a:pt x="568" y="39"/>
                  </a:lnTo>
                  <a:lnTo>
                    <a:pt x="584" y="47"/>
                  </a:lnTo>
                  <a:lnTo>
                    <a:pt x="601" y="56"/>
                  </a:lnTo>
                  <a:lnTo>
                    <a:pt x="617" y="67"/>
                  </a:lnTo>
                  <a:lnTo>
                    <a:pt x="633" y="78"/>
                  </a:lnTo>
                  <a:lnTo>
                    <a:pt x="647" y="90"/>
                  </a:lnTo>
                  <a:lnTo>
                    <a:pt x="661" y="103"/>
                  </a:lnTo>
                  <a:lnTo>
                    <a:pt x="676" y="115"/>
                  </a:lnTo>
                  <a:lnTo>
                    <a:pt x="688" y="129"/>
                  </a:lnTo>
                  <a:lnTo>
                    <a:pt x="701" y="144"/>
                  </a:lnTo>
                  <a:lnTo>
                    <a:pt x="713" y="158"/>
                  </a:lnTo>
                  <a:lnTo>
                    <a:pt x="724" y="174"/>
                  </a:lnTo>
                  <a:lnTo>
                    <a:pt x="735" y="190"/>
                  </a:lnTo>
                  <a:lnTo>
                    <a:pt x="744" y="207"/>
                  </a:lnTo>
                  <a:lnTo>
                    <a:pt x="752" y="223"/>
                  </a:lnTo>
                  <a:lnTo>
                    <a:pt x="760" y="241"/>
                  </a:lnTo>
                  <a:lnTo>
                    <a:pt x="768" y="259"/>
                  </a:lnTo>
                  <a:lnTo>
                    <a:pt x="774" y="278"/>
                  </a:lnTo>
                  <a:lnTo>
                    <a:pt x="779" y="296"/>
                  </a:lnTo>
                  <a:lnTo>
                    <a:pt x="783" y="315"/>
                  </a:lnTo>
                  <a:lnTo>
                    <a:pt x="787" y="334"/>
                  </a:lnTo>
                  <a:lnTo>
                    <a:pt x="789" y="355"/>
                  </a:lnTo>
                  <a:lnTo>
                    <a:pt x="791" y="375"/>
                  </a:lnTo>
                  <a:lnTo>
                    <a:pt x="791" y="395"/>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2" name="Freeform 570">
              <a:extLst>
                <a:ext uri="{FF2B5EF4-FFF2-40B4-BE49-F238E27FC236}">
                  <a16:creationId xmlns:a16="http://schemas.microsoft.com/office/drawing/2014/main" id="{5061DE8E-359B-1DEE-6D43-70EEEE1F40D9}"/>
                </a:ext>
              </a:extLst>
            </p:cNvPr>
            <p:cNvSpPr>
              <a:spLocks/>
            </p:cNvSpPr>
            <p:nvPr/>
          </p:nvSpPr>
          <p:spPr bwMode="auto">
            <a:xfrm>
              <a:off x="4651376" y="3614737"/>
              <a:ext cx="39688" cy="77787"/>
            </a:xfrm>
            <a:custGeom>
              <a:avLst/>
              <a:gdLst/>
              <a:ahLst/>
              <a:cxnLst>
                <a:cxn ang="0">
                  <a:pos x="197" y="264"/>
                </a:cxn>
                <a:cxn ang="0">
                  <a:pos x="197" y="132"/>
                </a:cxn>
                <a:cxn ang="0">
                  <a:pos x="197" y="0"/>
                </a:cxn>
                <a:cxn ang="0">
                  <a:pos x="81" y="0"/>
                </a:cxn>
                <a:cxn ang="0">
                  <a:pos x="0" y="132"/>
                </a:cxn>
                <a:cxn ang="0">
                  <a:pos x="64" y="132"/>
                </a:cxn>
                <a:cxn ang="0">
                  <a:pos x="64" y="264"/>
                </a:cxn>
                <a:cxn ang="0">
                  <a:pos x="64" y="396"/>
                </a:cxn>
                <a:cxn ang="0">
                  <a:pos x="197" y="396"/>
                </a:cxn>
                <a:cxn ang="0">
                  <a:pos x="197" y="264"/>
                </a:cxn>
              </a:cxnLst>
              <a:rect l="0" t="0" r="r" b="b"/>
              <a:pathLst>
                <a:path w="197" h="396">
                  <a:moveTo>
                    <a:pt x="197" y="264"/>
                  </a:moveTo>
                  <a:lnTo>
                    <a:pt x="197" y="132"/>
                  </a:lnTo>
                  <a:lnTo>
                    <a:pt x="197" y="0"/>
                  </a:lnTo>
                  <a:lnTo>
                    <a:pt x="81" y="0"/>
                  </a:lnTo>
                  <a:lnTo>
                    <a:pt x="0" y="132"/>
                  </a:lnTo>
                  <a:lnTo>
                    <a:pt x="64" y="132"/>
                  </a:lnTo>
                  <a:lnTo>
                    <a:pt x="64" y="264"/>
                  </a:lnTo>
                  <a:lnTo>
                    <a:pt x="64" y="396"/>
                  </a:lnTo>
                  <a:lnTo>
                    <a:pt x="197" y="396"/>
                  </a:lnTo>
                  <a:lnTo>
                    <a:pt x="197" y="264"/>
                  </a:lnTo>
                  <a:close/>
                </a:path>
              </a:pathLst>
            </a:custGeom>
            <a:solidFill>
              <a:srgbClr val="475059"/>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3" name="Freeform 571">
              <a:extLst>
                <a:ext uri="{FF2B5EF4-FFF2-40B4-BE49-F238E27FC236}">
                  <a16:creationId xmlns:a16="http://schemas.microsoft.com/office/drawing/2014/main" id="{8DBF8F20-3D42-6328-BDD1-AD35B6771EBA}"/>
                </a:ext>
              </a:extLst>
            </p:cNvPr>
            <p:cNvSpPr>
              <a:spLocks/>
            </p:cNvSpPr>
            <p:nvPr/>
          </p:nvSpPr>
          <p:spPr bwMode="auto">
            <a:xfrm>
              <a:off x="4651376" y="3614737"/>
              <a:ext cx="39688" cy="77787"/>
            </a:xfrm>
            <a:custGeom>
              <a:avLst/>
              <a:gdLst/>
              <a:ahLst/>
              <a:cxnLst>
                <a:cxn ang="0">
                  <a:pos x="197" y="264"/>
                </a:cxn>
                <a:cxn ang="0">
                  <a:pos x="197" y="132"/>
                </a:cxn>
                <a:cxn ang="0">
                  <a:pos x="197" y="0"/>
                </a:cxn>
                <a:cxn ang="0">
                  <a:pos x="81" y="0"/>
                </a:cxn>
                <a:cxn ang="0">
                  <a:pos x="0" y="132"/>
                </a:cxn>
                <a:cxn ang="0">
                  <a:pos x="64" y="132"/>
                </a:cxn>
                <a:cxn ang="0">
                  <a:pos x="64" y="264"/>
                </a:cxn>
                <a:cxn ang="0">
                  <a:pos x="64" y="396"/>
                </a:cxn>
                <a:cxn ang="0">
                  <a:pos x="197" y="396"/>
                </a:cxn>
                <a:cxn ang="0">
                  <a:pos x="197" y="264"/>
                </a:cxn>
              </a:cxnLst>
              <a:rect l="0" t="0" r="r" b="b"/>
              <a:pathLst>
                <a:path w="197" h="396">
                  <a:moveTo>
                    <a:pt x="197" y="264"/>
                  </a:moveTo>
                  <a:lnTo>
                    <a:pt x="197" y="132"/>
                  </a:lnTo>
                  <a:lnTo>
                    <a:pt x="197" y="0"/>
                  </a:lnTo>
                  <a:lnTo>
                    <a:pt x="81" y="0"/>
                  </a:lnTo>
                  <a:lnTo>
                    <a:pt x="0" y="132"/>
                  </a:lnTo>
                  <a:lnTo>
                    <a:pt x="64" y="132"/>
                  </a:lnTo>
                  <a:lnTo>
                    <a:pt x="64" y="264"/>
                  </a:lnTo>
                  <a:lnTo>
                    <a:pt x="64" y="396"/>
                  </a:lnTo>
                  <a:lnTo>
                    <a:pt x="197" y="396"/>
                  </a:lnTo>
                  <a:lnTo>
                    <a:pt x="197" y="264"/>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4" name="Freeform 572">
              <a:extLst>
                <a:ext uri="{FF2B5EF4-FFF2-40B4-BE49-F238E27FC236}">
                  <a16:creationId xmlns:a16="http://schemas.microsoft.com/office/drawing/2014/main" id="{4CFC6F7C-34AF-23EA-B008-04B999D3A71F}"/>
                </a:ext>
              </a:extLst>
            </p:cNvPr>
            <p:cNvSpPr>
              <a:spLocks/>
            </p:cNvSpPr>
            <p:nvPr/>
          </p:nvSpPr>
          <p:spPr bwMode="auto">
            <a:xfrm>
              <a:off x="4441826" y="3522662"/>
              <a:ext cx="1588" cy="247650"/>
            </a:xfrm>
            <a:custGeom>
              <a:avLst/>
              <a:gdLst/>
              <a:ahLst/>
              <a:cxnLst>
                <a:cxn ang="0">
                  <a:pos x="1" y="0"/>
                </a:cxn>
                <a:cxn ang="0">
                  <a:pos x="0" y="0"/>
                </a:cxn>
                <a:cxn ang="0">
                  <a:pos x="0" y="132"/>
                </a:cxn>
                <a:cxn ang="0">
                  <a:pos x="0" y="1253"/>
                </a:cxn>
                <a:cxn ang="0">
                  <a:pos x="1" y="1253"/>
                </a:cxn>
                <a:cxn ang="0">
                  <a:pos x="1" y="132"/>
                </a:cxn>
                <a:cxn ang="0">
                  <a:pos x="1" y="0"/>
                </a:cxn>
              </a:cxnLst>
              <a:rect l="0" t="0" r="r" b="b"/>
              <a:pathLst>
                <a:path w="1" h="1253">
                  <a:moveTo>
                    <a:pt x="1" y="0"/>
                  </a:moveTo>
                  <a:lnTo>
                    <a:pt x="0" y="0"/>
                  </a:lnTo>
                  <a:lnTo>
                    <a:pt x="0" y="132"/>
                  </a:lnTo>
                  <a:lnTo>
                    <a:pt x="0" y="1253"/>
                  </a:lnTo>
                  <a:lnTo>
                    <a:pt x="1" y="1253"/>
                  </a:lnTo>
                  <a:lnTo>
                    <a:pt x="1" y="132"/>
                  </a:lnTo>
                  <a:lnTo>
                    <a:pt x="1" y="0"/>
                  </a:lnTo>
                  <a:close/>
                </a:path>
              </a:pathLst>
            </a:custGeom>
            <a:solidFill>
              <a:srgbClr val="82D1B8"/>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5" name="Freeform 573">
              <a:extLst>
                <a:ext uri="{FF2B5EF4-FFF2-40B4-BE49-F238E27FC236}">
                  <a16:creationId xmlns:a16="http://schemas.microsoft.com/office/drawing/2014/main" id="{0539D12A-6F2C-A444-1BBB-EAB64D18040F}"/>
                </a:ext>
              </a:extLst>
            </p:cNvPr>
            <p:cNvSpPr>
              <a:spLocks/>
            </p:cNvSpPr>
            <p:nvPr/>
          </p:nvSpPr>
          <p:spPr bwMode="auto">
            <a:xfrm>
              <a:off x="4441826" y="3522662"/>
              <a:ext cx="1588" cy="247650"/>
            </a:xfrm>
            <a:custGeom>
              <a:avLst/>
              <a:gdLst/>
              <a:ahLst/>
              <a:cxnLst>
                <a:cxn ang="0">
                  <a:pos x="1" y="0"/>
                </a:cxn>
                <a:cxn ang="0">
                  <a:pos x="0" y="0"/>
                </a:cxn>
                <a:cxn ang="0">
                  <a:pos x="0" y="132"/>
                </a:cxn>
                <a:cxn ang="0">
                  <a:pos x="0" y="1253"/>
                </a:cxn>
                <a:cxn ang="0">
                  <a:pos x="1" y="1253"/>
                </a:cxn>
                <a:cxn ang="0">
                  <a:pos x="1" y="132"/>
                </a:cxn>
                <a:cxn ang="0">
                  <a:pos x="1" y="0"/>
                </a:cxn>
              </a:cxnLst>
              <a:rect l="0" t="0" r="r" b="b"/>
              <a:pathLst>
                <a:path w="1" h="1253">
                  <a:moveTo>
                    <a:pt x="1" y="0"/>
                  </a:moveTo>
                  <a:lnTo>
                    <a:pt x="0" y="0"/>
                  </a:lnTo>
                  <a:lnTo>
                    <a:pt x="0" y="132"/>
                  </a:lnTo>
                  <a:lnTo>
                    <a:pt x="0" y="1253"/>
                  </a:lnTo>
                  <a:lnTo>
                    <a:pt x="1" y="1253"/>
                  </a:lnTo>
                  <a:lnTo>
                    <a:pt x="1" y="132"/>
                  </a:lnTo>
                  <a:lnTo>
                    <a:pt x="1"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6" name="Freeform 574">
              <a:extLst>
                <a:ext uri="{FF2B5EF4-FFF2-40B4-BE49-F238E27FC236}">
                  <a16:creationId xmlns:a16="http://schemas.microsoft.com/office/drawing/2014/main" id="{E611B485-2CFF-7363-42EA-67BE1A2C5321}"/>
                </a:ext>
              </a:extLst>
            </p:cNvPr>
            <p:cNvSpPr>
              <a:spLocks/>
            </p:cNvSpPr>
            <p:nvPr/>
          </p:nvSpPr>
          <p:spPr bwMode="auto">
            <a:xfrm>
              <a:off x="4441826" y="3522662"/>
              <a:ext cx="236538" cy="247650"/>
            </a:xfrm>
            <a:custGeom>
              <a:avLst/>
              <a:gdLst/>
              <a:ahLst/>
              <a:cxnLst>
                <a:cxn ang="0">
                  <a:pos x="0" y="0"/>
                </a:cxn>
                <a:cxn ang="0">
                  <a:pos x="0" y="1253"/>
                </a:cxn>
                <a:cxn ang="0">
                  <a:pos x="1187" y="1055"/>
                </a:cxn>
                <a:cxn ang="0">
                  <a:pos x="1187" y="1055"/>
                </a:cxn>
                <a:cxn ang="0">
                  <a:pos x="1146" y="1053"/>
                </a:cxn>
                <a:cxn ang="0">
                  <a:pos x="1107" y="1047"/>
                </a:cxn>
                <a:cxn ang="0">
                  <a:pos x="1069" y="1037"/>
                </a:cxn>
                <a:cxn ang="0">
                  <a:pos x="1033" y="1024"/>
                </a:cxn>
                <a:cxn ang="0">
                  <a:pos x="998" y="1007"/>
                </a:cxn>
                <a:cxn ang="0">
                  <a:pos x="965" y="987"/>
                </a:cxn>
                <a:cxn ang="0">
                  <a:pos x="935" y="964"/>
                </a:cxn>
                <a:cxn ang="0">
                  <a:pos x="907" y="938"/>
                </a:cxn>
                <a:cxn ang="0">
                  <a:pos x="882" y="911"/>
                </a:cxn>
                <a:cxn ang="0">
                  <a:pos x="859" y="881"/>
                </a:cxn>
                <a:cxn ang="0">
                  <a:pos x="838" y="848"/>
                </a:cxn>
                <a:cxn ang="0">
                  <a:pos x="822" y="813"/>
                </a:cxn>
                <a:cxn ang="0">
                  <a:pos x="808" y="777"/>
                </a:cxn>
                <a:cxn ang="0">
                  <a:pos x="799" y="739"/>
                </a:cxn>
                <a:cxn ang="0">
                  <a:pos x="793" y="699"/>
                </a:cxn>
                <a:cxn ang="0">
                  <a:pos x="791" y="659"/>
                </a:cxn>
                <a:cxn ang="0">
                  <a:pos x="792" y="639"/>
                </a:cxn>
                <a:cxn ang="0">
                  <a:pos x="796" y="598"/>
                </a:cxn>
                <a:cxn ang="0">
                  <a:pos x="803" y="560"/>
                </a:cxn>
                <a:cxn ang="0">
                  <a:pos x="815" y="523"/>
                </a:cxn>
                <a:cxn ang="0">
                  <a:pos x="830" y="487"/>
                </a:cxn>
                <a:cxn ang="0">
                  <a:pos x="849" y="454"/>
                </a:cxn>
                <a:cxn ang="0">
                  <a:pos x="869" y="422"/>
                </a:cxn>
                <a:cxn ang="0">
                  <a:pos x="894" y="393"/>
                </a:cxn>
                <a:cxn ang="0">
                  <a:pos x="921" y="367"/>
                </a:cxn>
                <a:cxn ang="0">
                  <a:pos x="950" y="342"/>
                </a:cxn>
                <a:cxn ang="0">
                  <a:pos x="981" y="320"/>
                </a:cxn>
                <a:cxn ang="0">
                  <a:pos x="1015" y="303"/>
                </a:cxn>
                <a:cxn ang="0">
                  <a:pos x="1051" y="287"/>
                </a:cxn>
                <a:cxn ang="0">
                  <a:pos x="1088" y="276"/>
                </a:cxn>
                <a:cxn ang="0">
                  <a:pos x="1127" y="268"/>
                </a:cxn>
                <a:cxn ang="0">
                  <a:pos x="1166" y="264"/>
                </a:cxn>
                <a:cxn ang="0">
                  <a:pos x="1187" y="264"/>
                </a:cxn>
              </a:cxnLst>
              <a:rect l="0" t="0" r="r" b="b"/>
              <a:pathLst>
                <a:path w="1187" h="1253">
                  <a:moveTo>
                    <a:pt x="1187" y="0"/>
                  </a:moveTo>
                  <a:lnTo>
                    <a:pt x="0" y="0"/>
                  </a:lnTo>
                  <a:lnTo>
                    <a:pt x="0" y="132"/>
                  </a:lnTo>
                  <a:lnTo>
                    <a:pt x="0" y="1253"/>
                  </a:lnTo>
                  <a:lnTo>
                    <a:pt x="1187" y="1253"/>
                  </a:lnTo>
                  <a:lnTo>
                    <a:pt x="1187" y="1055"/>
                  </a:lnTo>
                  <a:lnTo>
                    <a:pt x="1187" y="1055"/>
                  </a:lnTo>
                  <a:lnTo>
                    <a:pt x="1187" y="1055"/>
                  </a:lnTo>
                  <a:lnTo>
                    <a:pt x="1166" y="1054"/>
                  </a:lnTo>
                  <a:lnTo>
                    <a:pt x="1146" y="1053"/>
                  </a:lnTo>
                  <a:lnTo>
                    <a:pt x="1127" y="1050"/>
                  </a:lnTo>
                  <a:lnTo>
                    <a:pt x="1107" y="1047"/>
                  </a:lnTo>
                  <a:lnTo>
                    <a:pt x="1088" y="1042"/>
                  </a:lnTo>
                  <a:lnTo>
                    <a:pt x="1069" y="1037"/>
                  </a:lnTo>
                  <a:lnTo>
                    <a:pt x="1051" y="1031"/>
                  </a:lnTo>
                  <a:lnTo>
                    <a:pt x="1033" y="1024"/>
                  </a:lnTo>
                  <a:lnTo>
                    <a:pt x="1015" y="1016"/>
                  </a:lnTo>
                  <a:lnTo>
                    <a:pt x="998" y="1007"/>
                  </a:lnTo>
                  <a:lnTo>
                    <a:pt x="981" y="997"/>
                  </a:lnTo>
                  <a:lnTo>
                    <a:pt x="965" y="987"/>
                  </a:lnTo>
                  <a:lnTo>
                    <a:pt x="950" y="976"/>
                  </a:lnTo>
                  <a:lnTo>
                    <a:pt x="935" y="964"/>
                  </a:lnTo>
                  <a:lnTo>
                    <a:pt x="921" y="952"/>
                  </a:lnTo>
                  <a:lnTo>
                    <a:pt x="907" y="938"/>
                  </a:lnTo>
                  <a:lnTo>
                    <a:pt x="894" y="925"/>
                  </a:lnTo>
                  <a:lnTo>
                    <a:pt x="882" y="911"/>
                  </a:lnTo>
                  <a:lnTo>
                    <a:pt x="869" y="896"/>
                  </a:lnTo>
                  <a:lnTo>
                    <a:pt x="859" y="881"/>
                  </a:lnTo>
                  <a:lnTo>
                    <a:pt x="849" y="864"/>
                  </a:lnTo>
                  <a:lnTo>
                    <a:pt x="838" y="848"/>
                  </a:lnTo>
                  <a:lnTo>
                    <a:pt x="830" y="830"/>
                  </a:lnTo>
                  <a:lnTo>
                    <a:pt x="822" y="813"/>
                  </a:lnTo>
                  <a:lnTo>
                    <a:pt x="815" y="795"/>
                  </a:lnTo>
                  <a:lnTo>
                    <a:pt x="808" y="777"/>
                  </a:lnTo>
                  <a:lnTo>
                    <a:pt x="803" y="758"/>
                  </a:lnTo>
                  <a:lnTo>
                    <a:pt x="799" y="739"/>
                  </a:lnTo>
                  <a:lnTo>
                    <a:pt x="796" y="719"/>
                  </a:lnTo>
                  <a:lnTo>
                    <a:pt x="793" y="699"/>
                  </a:lnTo>
                  <a:lnTo>
                    <a:pt x="792" y="680"/>
                  </a:lnTo>
                  <a:lnTo>
                    <a:pt x="791" y="659"/>
                  </a:lnTo>
                  <a:lnTo>
                    <a:pt x="791" y="659"/>
                  </a:lnTo>
                  <a:lnTo>
                    <a:pt x="792" y="639"/>
                  </a:lnTo>
                  <a:lnTo>
                    <a:pt x="793" y="619"/>
                  </a:lnTo>
                  <a:lnTo>
                    <a:pt x="796" y="598"/>
                  </a:lnTo>
                  <a:lnTo>
                    <a:pt x="799" y="579"/>
                  </a:lnTo>
                  <a:lnTo>
                    <a:pt x="803" y="560"/>
                  </a:lnTo>
                  <a:lnTo>
                    <a:pt x="808" y="542"/>
                  </a:lnTo>
                  <a:lnTo>
                    <a:pt x="815" y="523"/>
                  </a:lnTo>
                  <a:lnTo>
                    <a:pt x="822" y="505"/>
                  </a:lnTo>
                  <a:lnTo>
                    <a:pt x="830" y="487"/>
                  </a:lnTo>
                  <a:lnTo>
                    <a:pt x="838" y="471"/>
                  </a:lnTo>
                  <a:lnTo>
                    <a:pt x="849" y="454"/>
                  </a:lnTo>
                  <a:lnTo>
                    <a:pt x="859" y="438"/>
                  </a:lnTo>
                  <a:lnTo>
                    <a:pt x="869" y="422"/>
                  </a:lnTo>
                  <a:lnTo>
                    <a:pt x="882" y="408"/>
                  </a:lnTo>
                  <a:lnTo>
                    <a:pt x="894" y="393"/>
                  </a:lnTo>
                  <a:lnTo>
                    <a:pt x="907" y="379"/>
                  </a:lnTo>
                  <a:lnTo>
                    <a:pt x="921" y="367"/>
                  </a:lnTo>
                  <a:lnTo>
                    <a:pt x="935" y="354"/>
                  </a:lnTo>
                  <a:lnTo>
                    <a:pt x="950" y="342"/>
                  </a:lnTo>
                  <a:lnTo>
                    <a:pt x="965" y="331"/>
                  </a:lnTo>
                  <a:lnTo>
                    <a:pt x="981" y="320"/>
                  </a:lnTo>
                  <a:lnTo>
                    <a:pt x="998" y="311"/>
                  </a:lnTo>
                  <a:lnTo>
                    <a:pt x="1015" y="303"/>
                  </a:lnTo>
                  <a:lnTo>
                    <a:pt x="1033" y="294"/>
                  </a:lnTo>
                  <a:lnTo>
                    <a:pt x="1051" y="287"/>
                  </a:lnTo>
                  <a:lnTo>
                    <a:pt x="1069" y="281"/>
                  </a:lnTo>
                  <a:lnTo>
                    <a:pt x="1088" y="276"/>
                  </a:lnTo>
                  <a:lnTo>
                    <a:pt x="1107" y="272"/>
                  </a:lnTo>
                  <a:lnTo>
                    <a:pt x="1127" y="268"/>
                  </a:lnTo>
                  <a:lnTo>
                    <a:pt x="1146" y="266"/>
                  </a:lnTo>
                  <a:lnTo>
                    <a:pt x="1166" y="264"/>
                  </a:lnTo>
                  <a:lnTo>
                    <a:pt x="1187" y="264"/>
                  </a:lnTo>
                  <a:lnTo>
                    <a:pt x="1187" y="264"/>
                  </a:lnTo>
                  <a:lnTo>
                    <a:pt x="1187" y="0"/>
                  </a:lnTo>
                  <a:close/>
                </a:path>
              </a:pathLst>
            </a:custGeom>
            <a:solidFill>
              <a:srgbClr val="FFEED2"/>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7" name="Freeform 575">
              <a:extLst>
                <a:ext uri="{FF2B5EF4-FFF2-40B4-BE49-F238E27FC236}">
                  <a16:creationId xmlns:a16="http://schemas.microsoft.com/office/drawing/2014/main" id="{1E3DFA95-DA27-F8B0-8FF7-4310A6E42D7F}"/>
                </a:ext>
              </a:extLst>
            </p:cNvPr>
            <p:cNvSpPr>
              <a:spLocks/>
            </p:cNvSpPr>
            <p:nvPr/>
          </p:nvSpPr>
          <p:spPr bwMode="auto">
            <a:xfrm>
              <a:off x="4441826" y="3522662"/>
              <a:ext cx="236538" cy="247650"/>
            </a:xfrm>
            <a:custGeom>
              <a:avLst/>
              <a:gdLst/>
              <a:ahLst/>
              <a:cxnLst>
                <a:cxn ang="0">
                  <a:pos x="0" y="0"/>
                </a:cxn>
                <a:cxn ang="0">
                  <a:pos x="0" y="1253"/>
                </a:cxn>
                <a:cxn ang="0">
                  <a:pos x="1187" y="1055"/>
                </a:cxn>
                <a:cxn ang="0">
                  <a:pos x="1187" y="1055"/>
                </a:cxn>
                <a:cxn ang="0">
                  <a:pos x="1146" y="1053"/>
                </a:cxn>
                <a:cxn ang="0">
                  <a:pos x="1107" y="1047"/>
                </a:cxn>
                <a:cxn ang="0">
                  <a:pos x="1069" y="1037"/>
                </a:cxn>
                <a:cxn ang="0">
                  <a:pos x="1033" y="1024"/>
                </a:cxn>
                <a:cxn ang="0">
                  <a:pos x="998" y="1007"/>
                </a:cxn>
                <a:cxn ang="0">
                  <a:pos x="965" y="987"/>
                </a:cxn>
                <a:cxn ang="0">
                  <a:pos x="935" y="964"/>
                </a:cxn>
                <a:cxn ang="0">
                  <a:pos x="907" y="938"/>
                </a:cxn>
                <a:cxn ang="0">
                  <a:pos x="882" y="911"/>
                </a:cxn>
                <a:cxn ang="0">
                  <a:pos x="859" y="881"/>
                </a:cxn>
                <a:cxn ang="0">
                  <a:pos x="838" y="848"/>
                </a:cxn>
                <a:cxn ang="0">
                  <a:pos x="822" y="813"/>
                </a:cxn>
                <a:cxn ang="0">
                  <a:pos x="808" y="777"/>
                </a:cxn>
                <a:cxn ang="0">
                  <a:pos x="799" y="739"/>
                </a:cxn>
                <a:cxn ang="0">
                  <a:pos x="793" y="699"/>
                </a:cxn>
                <a:cxn ang="0">
                  <a:pos x="791" y="659"/>
                </a:cxn>
                <a:cxn ang="0">
                  <a:pos x="792" y="639"/>
                </a:cxn>
                <a:cxn ang="0">
                  <a:pos x="796" y="598"/>
                </a:cxn>
                <a:cxn ang="0">
                  <a:pos x="803" y="560"/>
                </a:cxn>
                <a:cxn ang="0">
                  <a:pos x="815" y="523"/>
                </a:cxn>
                <a:cxn ang="0">
                  <a:pos x="830" y="487"/>
                </a:cxn>
                <a:cxn ang="0">
                  <a:pos x="849" y="454"/>
                </a:cxn>
                <a:cxn ang="0">
                  <a:pos x="869" y="422"/>
                </a:cxn>
                <a:cxn ang="0">
                  <a:pos x="894" y="393"/>
                </a:cxn>
                <a:cxn ang="0">
                  <a:pos x="921" y="367"/>
                </a:cxn>
                <a:cxn ang="0">
                  <a:pos x="950" y="342"/>
                </a:cxn>
                <a:cxn ang="0">
                  <a:pos x="981" y="320"/>
                </a:cxn>
                <a:cxn ang="0">
                  <a:pos x="1015" y="303"/>
                </a:cxn>
                <a:cxn ang="0">
                  <a:pos x="1051" y="287"/>
                </a:cxn>
                <a:cxn ang="0">
                  <a:pos x="1088" y="276"/>
                </a:cxn>
                <a:cxn ang="0">
                  <a:pos x="1127" y="268"/>
                </a:cxn>
                <a:cxn ang="0">
                  <a:pos x="1166" y="264"/>
                </a:cxn>
                <a:cxn ang="0">
                  <a:pos x="1187" y="264"/>
                </a:cxn>
              </a:cxnLst>
              <a:rect l="0" t="0" r="r" b="b"/>
              <a:pathLst>
                <a:path w="1187" h="1253">
                  <a:moveTo>
                    <a:pt x="1187" y="0"/>
                  </a:moveTo>
                  <a:lnTo>
                    <a:pt x="0" y="0"/>
                  </a:lnTo>
                  <a:lnTo>
                    <a:pt x="0" y="132"/>
                  </a:lnTo>
                  <a:lnTo>
                    <a:pt x="0" y="1253"/>
                  </a:lnTo>
                  <a:lnTo>
                    <a:pt x="1187" y="1253"/>
                  </a:lnTo>
                  <a:lnTo>
                    <a:pt x="1187" y="1055"/>
                  </a:lnTo>
                  <a:lnTo>
                    <a:pt x="1187" y="1055"/>
                  </a:lnTo>
                  <a:lnTo>
                    <a:pt x="1187" y="1055"/>
                  </a:lnTo>
                  <a:lnTo>
                    <a:pt x="1166" y="1054"/>
                  </a:lnTo>
                  <a:lnTo>
                    <a:pt x="1146" y="1053"/>
                  </a:lnTo>
                  <a:lnTo>
                    <a:pt x="1127" y="1050"/>
                  </a:lnTo>
                  <a:lnTo>
                    <a:pt x="1107" y="1047"/>
                  </a:lnTo>
                  <a:lnTo>
                    <a:pt x="1088" y="1042"/>
                  </a:lnTo>
                  <a:lnTo>
                    <a:pt x="1069" y="1037"/>
                  </a:lnTo>
                  <a:lnTo>
                    <a:pt x="1051" y="1031"/>
                  </a:lnTo>
                  <a:lnTo>
                    <a:pt x="1033" y="1024"/>
                  </a:lnTo>
                  <a:lnTo>
                    <a:pt x="1015" y="1016"/>
                  </a:lnTo>
                  <a:lnTo>
                    <a:pt x="998" y="1007"/>
                  </a:lnTo>
                  <a:lnTo>
                    <a:pt x="981" y="997"/>
                  </a:lnTo>
                  <a:lnTo>
                    <a:pt x="965" y="987"/>
                  </a:lnTo>
                  <a:lnTo>
                    <a:pt x="950" y="976"/>
                  </a:lnTo>
                  <a:lnTo>
                    <a:pt x="935" y="964"/>
                  </a:lnTo>
                  <a:lnTo>
                    <a:pt x="921" y="952"/>
                  </a:lnTo>
                  <a:lnTo>
                    <a:pt x="907" y="938"/>
                  </a:lnTo>
                  <a:lnTo>
                    <a:pt x="894" y="925"/>
                  </a:lnTo>
                  <a:lnTo>
                    <a:pt x="882" y="911"/>
                  </a:lnTo>
                  <a:lnTo>
                    <a:pt x="869" y="896"/>
                  </a:lnTo>
                  <a:lnTo>
                    <a:pt x="859" y="881"/>
                  </a:lnTo>
                  <a:lnTo>
                    <a:pt x="849" y="864"/>
                  </a:lnTo>
                  <a:lnTo>
                    <a:pt x="838" y="848"/>
                  </a:lnTo>
                  <a:lnTo>
                    <a:pt x="830" y="830"/>
                  </a:lnTo>
                  <a:lnTo>
                    <a:pt x="822" y="813"/>
                  </a:lnTo>
                  <a:lnTo>
                    <a:pt x="815" y="795"/>
                  </a:lnTo>
                  <a:lnTo>
                    <a:pt x="808" y="777"/>
                  </a:lnTo>
                  <a:lnTo>
                    <a:pt x="803" y="758"/>
                  </a:lnTo>
                  <a:lnTo>
                    <a:pt x="799" y="739"/>
                  </a:lnTo>
                  <a:lnTo>
                    <a:pt x="796" y="719"/>
                  </a:lnTo>
                  <a:lnTo>
                    <a:pt x="793" y="699"/>
                  </a:lnTo>
                  <a:lnTo>
                    <a:pt x="792" y="680"/>
                  </a:lnTo>
                  <a:lnTo>
                    <a:pt x="791" y="659"/>
                  </a:lnTo>
                  <a:lnTo>
                    <a:pt x="791" y="659"/>
                  </a:lnTo>
                  <a:lnTo>
                    <a:pt x="792" y="639"/>
                  </a:lnTo>
                  <a:lnTo>
                    <a:pt x="793" y="619"/>
                  </a:lnTo>
                  <a:lnTo>
                    <a:pt x="796" y="598"/>
                  </a:lnTo>
                  <a:lnTo>
                    <a:pt x="799" y="579"/>
                  </a:lnTo>
                  <a:lnTo>
                    <a:pt x="803" y="560"/>
                  </a:lnTo>
                  <a:lnTo>
                    <a:pt x="808" y="542"/>
                  </a:lnTo>
                  <a:lnTo>
                    <a:pt x="815" y="523"/>
                  </a:lnTo>
                  <a:lnTo>
                    <a:pt x="822" y="505"/>
                  </a:lnTo>
                  <a:lnTo>
                    <a:pt x="830" y="487"/>
                  </a:lnTo>
                  <a:lnTo>
                    <a:pt x="838" y="471"/>
                  </a:lnTo>
                  <a:lnTo>
                    <a:pt x="849" y="454"/>
                  </a:lnTo>
                  <a:lnTo>
                    <a:pt x="859" y="438"/>
                  </a:lnTo>
                  <a:lnTo>
                    <a:pt x="869" y="422"/>
                  </a:lnTo>
                  <a:lnTo>
                    <a:pt x="882" y="408"/>
                  </a:lnTo>
                  <a:lnTo>
                    <a:pt x="894" y="393"/>
                  </a:lnTo>
                  <a:lnTo>
                    <a:pt x="907" y="379"/>
                  </a:lnTo>
                  <a:lnTo>
                    <a:pt x="921" y="367"/>
                  </a:lnTo>
                  <a:lnTo>
                    <a:pt x="935" y="354"/>
                  </a:lnTo>
                  <a:lnTo>
                    <a:pt x="950" y="342"/>
                  </a:lnTo>
                  <a:lnTo>
                    <a:pt x="965" y="331"/>
                  </a:lnTo>
                  <a:lnTo>
                    <a:pt x="981" y="320"/>
                  </a:lnTo>
                  <a:lnTo>
                    <a:pt x="998" y="311"/>
                  </a:lnTo>
                  <a:lnTo>
                    <a:pt x="1015" y="303"/>
                  </a:lnTo>
                  <a:lnTo>
                    <a:pt x="1033" y="294"/>
                  </a:lnTo>
                  <a:lnTo>
                    <a:pt x="1051" y="287"/>
                  </a:lnTo>
                  <a:lnTo>
                    <a:pt x="1069" y="281"/>
                  </a:lnTo>
                  <a:lnTo>
                    <a:pt x="1088" y="276"/>
                  </a:lnTo>
                  <a:lnTo>
                    <a:pt x="1107" y="272"/>
                  </a:lnTo>
                  <a:lnTo>
                    <a:pt x="1127" y="268"/>
                  </a:lnTo>
                  <a:lnTo>
                    <a:pt x="1146" y="266"/>
                  </a:lnTo>
                  <a:lnTo>
                    <a:pt x="1166" y="264"/>
                  </a:lnTo>
                  <a:lnTo>
                    <a:pt x="1187" y="264"/>
                  </a:lnTo>
                  <a:lnTo>
                    <a:pt x="1187" y="264"/>
                  </a:lnTo>
                  <a:lnTo>
                    <a:pt x="1187"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8" name="Freeform 576">
              <a:extLst>
                <a:ext uri="{FF2B5EF4-FFF2-40B4-BE49-F238E27FC236}">
                  <a16:creationId xmlns:a16="http://schemas.microsoft.com/office/drawing/2014/main" id="{15B27921-EF97-EA86-618A-1B1F52EC0FC3}"/>
                </a:ext>
              </a:extLst>
            </p:cNvPr>
            <p:cNvSpPr>
              <a:spLocks/>
            </p:cNvSpPr>
            <p:nvPr/>
          </p:nvSpPr>
          <p:spPr bwMode="auto">
            <a:xfrm>
              <a:off x="4441826" y="3430587"/>
              <a:ext cx="236538" cy="92075"/>
            </a:xfrm>
            <a:custGeom>
              <a:avLst/>
              <a:gdLst/>
              <a:ahLst/>
              <a:cxnLst>
                <a:cxn ang="0">
                  <a:pos x="1188" y="0"/>
                </a:cxn>
                <a:cxn ang="0">
                  <a:pos x="0" y="0"/>
                </a:cxn>
                <a:cxn ang="0">
                  <a:pos x="0" y="462"/>
                </a:cxn>
                <a:cxn ang="0">
                  <a:pos x="1" y="462"/>
                </a:cxn>
                <a:cxn ang="0">
                  <a:pos x="1188" y="462"/>
                </a:cxn>
                <a:cxn ang="0">
                  <a:pos x="1188" y="0"/>
                </a:cxn>
              </a:cxnLst>
              <a:rect l="0" t="0" r="r" b="b"/>
              <a:pathLst>
                <a:path w="1188" h="462">
                  <a:moveTo>
                    <a:pt x="1188" y="0"/>
                  </a:moveTo>
                  <a:lnTo>
                    <a:pt x="0" y="0"/>
                  </a:lnTo>
                  <a:lnTo>
                    <a:pt x="0" y="462"/>
                  </a:lnTo>
                  <a:lnTo>
                    <a:pt x="1" y="462"/>
                  </a:lnTo>
                  <a:lnTo>
                    <a:pt x="1188" y="462"/>
                  </a:lnTo>
                  <a:lnTo>
                    <a:pt x="1188" y="0"/>
                  </a:lnTo>
                  <a:close/>
                </a:path>
              </a:pathLst>
            </a:custGeom>
            <a:solidFill>
              <a:srgbClr val="E47956"/>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19" name="Freeform 577">
              <a:extLst>
                <a:ext uri="{FF2B5EF4-FFF2-40B4-BE49-F238E27FC236}">
                  <a16:creationId xmlns:a16="http://schemas.microsoft.com/office/drawing/2014/main" id="{5585EFD9-F804-B842-CE81-7A815641D8E6}"/>
                </a:ext>
              </a:extLst>
            </p:cNvPr>
            <p:cNvSpPr>
              <a:spLocks/>
            </p:cNvSpPr>
            <p:nvPr/>
          </p:nvSpPr>
          <p:spPr bwMode="auto">
            <a:xfrm>
              <a:off x="4441826" y="3430587"/>
              <a:ext cx="236538" cy="92075"/>
            </a:xfrm>
            <a:custGeom>
              <a:avLst/>
              <a:gdLst/>
              <a:ahLst/>
              <a:cxnLst>
                <a:cxn ang="0">
                  <a:pos x="1188" y="0"/>
                </a:cxn>
                <a:cxn ang="0">
                  <a:pos x="0" y="0"/>
                </a:cxn>
                <a:cxn ang="0">
                  <a:pos x="0" y="462"/>
                </a:cxn>
                <a:cxn ang="0">
                  <a:pos x="1" y="462"/>
                </a:cxn>
                <a:cxn ang="0">
                  <a:pos x="1188" y="462"/>
                </a:cxn>
                <a:cxn ang="0">
                  <a:pos x="1188" y="0"/>
                </a:cxn>
              </a:cxnLst>
              <a:rect l="0" t="0" r="r" b="b"/>
              <a:pathLst>
                <a:path w="1188" h="462">
                  <a:moveTo>
                    <a:pt x="1188" y="0"/>
                  </a:moveTo>
                  <a:lnTo>
                    <a:pt x="0" y="0"/>
                  </a:lnTo>
                  <a:lnTo>
                    <a:pt x="0" y="462"/>
                  </a:lnTo>
                  <a:lnTo>
                    <a:pt x="1" y="462"/>
                  </a:lnTo>
                  <a:lnTo>
                    <a:pt x="1188" y="462"/>
                  </a:lnTo>
                  <a:lnTo>
                    <a:pt x="1188"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0" name="Freeform 578">
              <a:extLst>
                <a:ext uri="{FF2B5EF4-FFF2-40B4-BE49-F238E27FC236}">
                  <a16:creationId xmlns:a16="http://schemas.microsoft.com/office/drawing/2014/main" id="{913F4EA6-69B7-89C3-8B2D-0B467E1F2544}"/>
                </a:ext>
              </a:extLst>
            </p:cNvPr>
            <p:cNvSpPr>
              <a:spLocks/>
            </p:cNvSpPr>
            <p:nvPr/>
          </p:nvSpPr>
          <p:spPr bwMode="auto">
            <a:xfrm>
              <a:off x="4598988" y="3575050"/>
              <a:ext cx="79375" cy="157162"/>
            </a:xfrm>
            <a:custGeom>
              <a:avLst/>
              <a:gdLst/>
              <a:ahLst/>
              <a:cxnLst>
                <a:cxn ang="0">
                  <a:pos x="396" y="0"/>
                </a:cxn>
                <a:cxn ang="0">
                  <a:pos x="355" y="2"/>
                </a:cxn>
                <a:cxn ang="0">
                  <a:pos x="316" y="8"/>
                </a:cxn>
                <a:cxn ang="0">
                  <a:pos x="278" y="17"/>
                </a:cxn>
                <a:cxn ang="0">
                  <a:pos x="242" y="30"/>
                </a:cxn>
                <a:cxn ang="0">
                  <a:pos x="207" y="47"/>
                </a:cxn>
                <a:cxn ang="0">
                  <a:pos x="174" y="67"/>
                </a:cxn>
                <a:cxn ang="0">
                  <a:pos x="144" y="90"/>
                </a:cxn>
                <a:cxn ang="0">
                  <a:pos x="116" y="115"/>
                </a:cxn>
                <a:cxn ang="0">
                  <a:pos x="91" y="144"/>
                </a:cxn>
                <a:cxn ang="0">
                  <a:pos x="68" y="174"/>
                </a:cxn>
                <a:cxn ang="0">
                  <a:pos x="47" y="207"/>
                </a:cxn>
                <a:cxn ang="0">
                  <a:pos x="31" y="241"/>
                </a:cxn>
                <a:cxn ang="0">
                  <a:pos x="17" y="278"/>
                </a:cxn>
                <a:cxn ang="0">
                  <a:pos x="8" y="315"/>
                </a:cxn>
                <a:cxn ang="0">
                  <a:pos x="2" y="355"/>
                </a:cxn>
                <a:cxn ang="0">
                  <a:pos x="0" y="395"/>
                </a:cxn>
                <a:cxn ang="0">
                  <a:pos x="1" y="416"/>
                </a:cxn>
                <a:cxn ang="0">
                  <a:pos x="5" y="455"/>
                </a:cxn>
                <a:cxn ang="0">
                  <a:pos x="12" y="494"/>
                </a:cxn>
                <a:cxn ang="0">
                  <a:pos x="24" y="531"/>
                </a:cxn>
                <a:cxn ang="0">
                  <a:pos x="39" y="566"/>
                </a:cxn>
                <a:cxn ang="0">
                  <a:pos x="58" y="600"/>
                </a:cxn>
                <a:cxn ang="0">
                  <a:pos x="78" y="632"/>
                </a:cxn>
                <a:cxn ang="0">
                  <a:pos x="103" y="661"/>
                </a:cxn>
                <a:cxn ang="0">
                  <a:pos x="130" y="688"/>
                </a:cxn>
                <a:cxn ang="0">
                  <a:pos x="159" y="712"/>
                </a:cxn>
                <a:cxn ang="0">
                  <a:pos x="190" y="733"/>
                </a:cxn>
                <a:cxn ang="0">
                  <a:pos x="224" y="752"/>
                </a:cxn>
                <a:cxn ang="0">
                  <a:pos x="260" y="767"/>
                </a:cxn>
                <a:cxn ang="0">
                  <a:pos x="297" y="778"/>
                </a:cxn>
                <a:cxn ang="0">
                  <a:pos x="336" y="786"/>
                </a:cxn>
                <a:cxn ang="0">
                  <a:pos x="375" y="790"/>
                </a:cxn>
                <a:cxn ang="0">
                  <a:pos x="396" y="791"/>
                </a:cxn>
                <a:cxn ang="0">
                  <a:pos x="328" y="593"/>
                </a:cxn>
                <a:cxn ang="0">
                  <a:pos x="328" y="329"/>
                </a:cxn>
                <a:cxn ang="0">
                  <a:pos x="345" y="197"/>
                </a:cxn>
                <a:cxn ang="0">
                  <a:pos x="396" y="0"/>
                </a:cxn>
              </a:cxnLst>
              <a:rect l="0" t="0" r="r" b="b"/>
              <a:pathLst>
                <a:path w="396" h="791">
                  <a:moveTo>
                    <a:pt x="396" y="0"/>
                  </a:moveTo>
                  <a:lnTo>
                    <a:pt x="396" y="0"/>
                  </a:lnTo>
                  <a:lnTo>
                    <a:pt x="375" y="0"/>
                  </a:lnTo>
                  <a:lnTo>
                    <a:pt x="355" y="2"/>
                  </a:lnTo>
                  <a:lnTo>
                    <a:pt x="336" y="4"/>
                  </a:lnTo>
                  <a:lnTo>
                    <a:pt x="316" y="8"/>
                  </a:lnTo>
                  <a:lnTo>
                    <a:pt x="297" y="12"/>
                  </a:lnTo>
                  <a:lnTo>
                    <a:pt x="278" y="17"/>
                  </a:lnTo>
                  <a:lnTo>
                    <a:pt x="260" y="23"/>
                  </a:lnTo>
                  <a:lnTo>
                    <a:pt x="242" y="30"/>
                  </a:lnTo>
                  <a:lnTo>
                    <a:pt x="224" y="39"/>
                  </a:lnTo>
                  <a:lnTo>
                    <a:pt x="207" y="47"/>
                  </a:lnTo>
                  <a:lnTo>
                    <a:pt x="190" y="56"/>
                  </a:lnTo>
                  <a:lnTo>
                    <a:pt x="174" y="67"/>
                  </a:lnTo>
                  <a:lnTo>
                    <a:pt x="159" y="78"/>
                  </a:lnTo>
                  <a:lnTo>
                    <a:pt x="144" y="90"/>
                  </a:lnTo>
                  <a:lnTo>
                    <a:pt x="130" y="103"/>
                  </a:lnTo>
                  <a:lnTo>
                    <a:pt x="116" y="115"/>
                  </a:lnTo>
                  <a:lnTo>
                    <a:pt x="103" y="129"/>
                  </a:lnTo>
                  <a:lnTo>
                    <a:pt x="91" y="144"/>
                  </a:lnTo>
                  <a:lnTo>
                    <a:pt x="78" y="158"/>
                  </a:lnTo>
                  <a:lnTo>
                    <a:pt x="68" y="174"/>
                  </a:lnTo>
                  <a:lnTo>
                    <a:pt x="58" y="190"/>
                  </a:lnTo>
                  <a:lnTo>
                    <a:pt x="47" y="207"/>
                  </a:lnTo>
                  <a:lnTo>
                    <a:pt x="39" y="223"/>
                  </a:lnTo>
                  <a:lnTo>
                    <a:pt x="31" y="241"/>
                  </a:lnTo>
                  <a:lnTo>
                    <a:pt x="24" y="259"/>
                  </a:lnTo>
                  <a:lnTo>
                    <a:pt x="17" y="278"/>
                  </a:lnTo>
                  <a:lnTo>
                    <a:pt x="12" y="296"/>
                  </a:lnTo>
                  <a:lnTo>
                    <a:pt x="8" y="315"/>
                  </a:lnTo>
                  <a:lnTo>
                    <a:pt x="5" y="334"/>
                  </a:lnTo>
                  <a:lnTo>
                    <a:pt x="2" y="355"/>
                  </a:lnTo>
                  <a:lnTo>
                    <a:pt x="1" y="375"/>
                  </a:lnTo>
                  <a:lnTo>
                    <a:pt x="0" y="395"/>
                  </a:lnTo>
                  <a:lnTo>
                    <a:pt x="0" y="395"/>
                  </a:lnTo>
                  <a:lnTo>
                    <a:pt x="1" y="416"/>
                  </a:lnTo>
                  <a:lnTo>
                    <a:pt x="2" y="435"/>
                  </a:lnTo>
                  <a:lnTo>
                    <a:pt x="5" y="455"/>
                  </a:lnTo>
                  <a:lnTo>
                    <a:pt x="8" y="475"/>
                  </a:lnTo>
                  <a:lnTo>
                    <a:pt x="12" y="494"/>
                  </a:lnTo>
                  <a:lnTo>
                    <a:pt x="17" y="513"/>
                  </a:lnTo>
                  <a:lnTo>
                    <a:pt x="24" y="531"/>
                  </a:lnTo>
                  <a:lnTo>
                    <a:pt x="31" y="549"/>
                  </a:lnTo>
                  <a:lnTo>
                    <a:pt x="39" y="566"/>
                  </a:lnTo>
                  <a:lnTo>
                    <a:pt x="47" y="584"/>
                  </a:lnTo>
                  <a:lnTo>
                    <a:pt x="58" y="600"/>
                  </a:lnTo>
                  <a:lnTo>
                    <a:pt x="68" y="617"/>
                  </a:lnTo>
                  <a:lnTo>
                    <a:pt x="78" y="632"/>
                  </a:lnTo>
                  <a:lnTo>
                    <a:pt x="91" y="647"/>
                  </a:lnTo>
                  <a:lnTo>
                    <a:pt x="103" y="661"/>
                  </a:lnTo>
                  <a:lnTo>
                    <a:pt x="116" y="674"/>
                  </a:lnTo>
                  <a:lnTo>
                    <a:pt x="130" y="688"/>
                  </a:lnTo>
                  <a:lnTo>
                    <a:pt x="144" y="700"/>
                  </a:lnTo>
                  <a:lnTo>
                    <a:pt x="159" y="712"/>
                  </a:lnTo>
                  <a:lnTo>
                    <a:pt x="174" y="723"/>
                  </a:lnTo>
                  <a:lnTo>
                    <a:pt x="190" y="733"/>
                  </a:lnTo>
                  <a:lnTo>
                    <a:pt x="207" y="743"/>
                  </a:lnTo>
                  <a:lnTo>
                    <a:pt x="224" y="752"/>
                  </a:lnTo>
                  <a:lnTo>
                    <a:pt x="242" y="760"/>
                  </a:lnTo>
                  <a:lnTo>
                    <a:pt x="260" y="767"/>
                  </a:lnTo>
                  <a:lnTo>
                    <a:pt x="278" y="773"/>
                  </a:lnTo>
                  <a:lnTo>
                    <a:pt x="297" y="778"/>
                  </a:lnTo>
                  <a:lnTo>
                    <a:pt x="316" y="783"/>
                  </a:lnTo>
                  <a:lnTo>
                    <a:pt x="336" y="786"/>
                  </a:lnTo>
                  <a:lnTo>
                    <a:pt x="355" y="789"/>
                  </a:lnTo>
                  <a:lnTo>
                    <a:pt x="375" y="790"/>
                  </a:lnTo>
                  <a:lnTo>
                    <a:pt x="396" y="791"/>
                  </a:lnTo>
                  <a:lnTo>
                    <a:pt x="396" y="791"/>
                  </a:lnTo>
                  <a:lnTo>
                    <a:pt x="396" y="593"/>
                  </a:lnTo>
                  <a:lnTo>
                    <a:pt x="328" y="593"/>
                  </a:lnTo>
                  <a:lnTo>
                    <a:pt x="328" y="461"/>
                  </a:lnTo>
                  <a:lnTo>
                    <a:pt x="328" y="329"/>
                  </a:lnTo>
                  <a:lnTo>
                    <a:pt x="264" y="329"/>
                  </a:lnTo>
                  <a:lnTo>
                    <a:pt x="345" y="197"/>
                  </a:lnTo>
                  <a:lnTo>
                    <a:pt x="396" y="197"/>
                  </a:lnTo>
                  <a:lnTo>
                    <a:pt x="396" y="0"/>
                  </a:lnTo>
                  <a:lnTo>
                    <a:pt x="396" y="0"/>
                  </a:lnTo>
                  <a:close/>
                </a:path>
              </a:pathLst>
            </a:custGeom>
            <a:solidFill>
              <a:srgbClr val="DBCCB7"/>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1" name="Freeform 579">
              <a:extLst>
                <a:ext uri="{FF2B5EF4-FFF2-40B4-BE49-F238E27FC236}">
                  <a16:creationId xmlns:a16="http://schemas.microsoft.com/office/drawing/2014/main" id="{EC3220C6-4E8A-DD8E-5BF7-324E2C992145}"/>
                </a:ext>
              </a:extLst>
            </p:cNvPr>
            <p:cNvSpPr>
              <a:spLocks/>
            </p:cNvSpPr>
            <p:nvPr/>
          </p:nvSpPr>
          <p:spPr bwMode="auto">
            <a:xfrm>
              <a:off x="4598988" y="3575050"/>
              <a:ext cx="79375" cy="157162"/>
            </a:xfrm>
            <a:custGeom>
              <a:avLst/>
              <a:gdLst/>
              <a:ahLst/>
              <a:cxnLst>
                <a:cxn ang="0">
                  <a:pos x="396" y="0"/>
                </a:cxn>
                <a:cxn ang="0">
                  <a:pos x="355" y="2"/>
                </a:cxn>
                <a:cxn ang="0">
                  <a:pos x="316" y="8"/>
                </a:cxn>
                <a:cxn ang="0">
                  <a:pos x="278" y="17"/>
                </a:cxn>
                <a:cxn ang="0">
                  <a:pos x="242" y="30"/>
                </a:cxn>
                <a:cxn ang="0">
                  <a:pos x="207" y="47"/>
                </a:cxn>
                <a:cxn ang="0">
                  <a:pos x="174" y="67"/>
                </a:cxn>
                <a:cxn ang="0">
                  <a:pos x="144" y="90"/>
                </a:cxn>
                <a:cxn ang="0">
                  <a:pos x="116" y="115"/>
                </a:cxn>
                <a:cxn ang="0">
                  <a:pos x="91" y="144"/>
                </a:cxn>
                <a:cxn ang="0">
                  <a:pos x="68" y="174"/>
                </a:cxn>
                <a:cxn ang="0">
                  <a:pos x="47" y="207"/>
                </a:cxn>
                <a:cxn ang="0">
                  <a:pos x="31" y="241"/>
                </a:cxn>
                <a:cxn ang="0">
                  <a:pos x="17" y="278"/>
                </a:cxn>
                <a:cxn ang="0">
                  <a:pos x="8" y="315"/>
                </a:cxn>
                <a:cxn ang="0">
                  <a:pos x="2" y="355"/>
                </a:cxn>
                <a:cxn ang="0">
                  <a:pos x="0" y="395"/>
                </a:cxn>
                <a:cxn ang="0">
                  <a:pos x="1" y="416"/>
                </a:cxn>
                <a:cxn ang="0">
                  <a:pos x="5" y="455"/>
                </a:cxn>
                <a:cxn ang="0">
                  <a:pos x="12" y="494"/>
                </a:cxn>
                <a:cxn ang="0">
                  <a:pos x="24" y="531"/>
                </a:cxn>
                <a:cxn ang="0">
                  <a:pos x="39" y="566"/>
                </a:cxn>
                <a:cxn ang="0">
                  <a:pos x="58" y="600"/>
                </a:cxn>
                <a:cxn ang="0">
                  <a:pos x="78" y="632"/>
                </a:cxn>
                <a:cxn ang="0">
                  <a:pos x="103" y="661"/>
                </a:cxn>
                <a:cxn ang="0">
                  <a:pos x="130" y="688"/>
                </a:cxn>
                <a:cxn ang="0">
                  <a:pos x="159" y="712"/>
                </a:cxn>
                <a:cxn ang="0">
                  <a:pos x="190" y="733"/>
                </a:cxn>
                <a:cxn ang="0">
                  <a:pos x="224" y="752"/>
                </a:cxn>
                <a:cxn ang="0">
                  <a:pos x="260" y="767"/>
                </a:cxn>
                <a:cxn ang="0">
                  <a:pos x="297" y="778"/>
                </a:cxn>
                <a:cxn ang="0">
                  <a:pos x="336" y="786"/>
                </a:cxn>
                <a:cxn ang="0">
                  <a:pos x="375" y="790"/>
                </a:cxn>
                <a:cxn ang="0">
                  <a:pos x="396" y="791"/>
                </a:cxn>
                <a:cxn ang="0">
                  <a:pos x="328" y="593"/>
                </a:cxn>
                <a:cxn ang="0">
                  <a:pos x="328" y="329"/>
                </a:cxn>
                <a:cxn ang="0">
                  <a:pos x="345" y="197"/>
                </a:cxn>
                <a:cxn ang="0">
                  <a:pos x="396" y="0"/>
                </a:cxn>
              </a:cxnLst>
              <a:rect l="0" t="0" r="r" b="b"/>
              <a:pathLst>
                <a:path w="396" h="791">
                  <a:moveTo>
                    <a:pt x="396" y="0"/>
                  </a:moveTo>
                  <a:lnTo>
                    <a:pt x="396" y="0"/>
                  </a:lnTo>
                  <a:lnTo>
                    <a:pt x="375" y="0"/>
                  </a:lnTo>
                  <a:lnTo>
                    <a:pt x="355" y="2"/>
                  </a:lnTo>
                  <a:lnTo>
                    <a:pt x="336" y="4"/>
                  </a:lnTo>
                  <a:lnTo>
                    <a:pt x="316" y="8"/>
                  </a:lnTo>
                  <a:lnTo>
                    <a:pt x="297" y="12"/>
                  </a:lnTo>
                  <a:lnTo>
                    <a:pt x="278" y="17"/>
                  </a:lnTo>
                  <a:lnTo>
                    <a:pt x="260" y="23"/>
                  </a:lnTo>
                  <a:lnTo>
                    <a:pt x="242" y="30"/>
                  </a:lnTo>
                  <a:lnTo>
                    <a:pt x="224" y="39"/>
                  </a:lnTo>
                  <a:lnTo>
                    <a:pt x="207" y="47"/>
                  </a:lnTo>
                  <a:lnTo>
                    <a:pt x="190" y="56"/>
                  </a:lnTo>
                  <a:lnTo>
                    <a:pt x="174" y="67"/>
                  </a:lnTo>
                  <a:lnTo>
                    <a:pt x="159" y="78"/>
                  </a:lnTo>
                  <a:lnTo>
                    <a:pt x="144" y="90"/>
                  </a:lnTo>
                  <a:lnTo>
                    <a:pt x="130" y="103"/>
                  </a:lnTo>
                  <a:lnTo>
                    <a:pt x="116" y="115"/>
                  </a:lnTo>
                  <a:lnTo>
                    <a:pt x="103" y="129"/>
                  </a:lnTo>
                  <a:lnTo>
                    <a:pt x="91" y="144"/>
                  </a:lnTo>
                  <a:lnTo>
                    <a:pt x="78" y="158"/>
                  </a:lnTo>
                  <a:lnTo>
                    <a:pt x="68" y="174"/>
                  </a:lnTo>
                  <a:lnTo>
                    <a:pt x="58" y="190"/>
                  </a:lnTo>
                  <a:lnTo>
                    <a:pt x="47" y="207"/>
                  </a:lnTo>
                  <a:lnTo>
                    <a:pt x="39" y="223"/>
                  </a:lnTo>
                  <a:lnTo>
                    <a:pt x="31" y="241"/>
                  </a:lnTo>
                  <a:lnTo>
                    <a:pt x="24" y="259"/>
                  </a:lnTo>
                  <a:lnTo>
                    <a:pt x="17" y="278"/>
                  </a:lnTo>
                  <a:lnTo>
                    <a:pt x="12" y="296"/>
                  </a:lnTo>
                  <a:lnTo>
                    <a:pt x="8" y="315"/>
                  </a:lnTo>
                  <a:lnTo>
                    <a:pt x="5" y="334"/>
                  </a:lnTo>
                  <a:lnTo>
                    <a:pt x="2" y="355"/>
                  </a:lnTo>
                  <a:lnTo>
                    <a:pt x="1" y="375"/>
                  </a:lnTo>
                  <a:lnTo>
                    <a:pt x="0" y="395"/>
                  </a:lnTo>
                  <a:lnTo>
                    <a:pt x="0" y="395"/>
                  </a:lnTo>
                  <a:lnTo>
                    <a:pt x="1" y="416"/>
                  </a:lnTo>
                  <a:lnTo>
                    <a:pt x="2" y="435"/>
                  </a:lnTo>
                  <a:lnTo>
                    <a:pt x="5" y="455"/>
                  </a:lnTo>
                  <a:lnTo>
                    <a:pt x="8" y="475"/>
                  </a:lnTo>
                  <a:lnTo>
                    <a:pt x="12" y="494"/>
                  </a:lnTo>
                  <a:lnTo>
                    <a:pt x="17" y="513"/>
                  </a:lnTo>
                  <a:lnTo>
                    <a:pt x="24" y="531"/>
                  </a:lnTo>
                  <a:lnTo>
                    <a:pt x="31" y="549"/>
                  </a:lnTo>
                  <a:lnTo>
                    <a:pt x="39" y="566"/>
                  </a:lnTo>
                  <a:lnTo>
                    <a:pt x="47" y="584"/>
                  </a:lnTo>
                  <a:lnTo>
                    <a:pt x="58" y="600"/>
                  </a:lnTo>
                  <a:lnTo>
                    <a:pt x="68" y="617"/>
                  </a:lnTo>
                  <a:lnTo>
                    <a:pt x="78" y="632"/>
                  </a:lnTo>
                  <a:lnTo>
                    <a:pt x="91" y="647"/>
                  </a:lnTo>
                  <a:lnTo>
                    <a:pt x="103" y="661"/>
                  </a:lnTo>
                  <a:lnTo>
                    <a:pt x="116" y="674"/>
                  </a:lnTo>
                  <a:lnTo>
                    <a:pt x="130" y="688"/>
                  </a:lnTo>
                  <a:lnTo>
                    <a:pt x="144" y="700"/>
                  </a:lnTo>
                  <a:lnTo>
                    <a:pt x="159" y="712"/>
                  </a:lnTo>
                  <a:lnTo>
                    <a:pt x="174" y="723"/>
                  </a:lnTo>
                  <a:lnTo>
                    <a:pt x="190" y="733"/>
                  </a:lnTo>
                  <a:lnTo>
                    <a:pt x="207" y="743"/>
                  </a:lnTo>
                  <a:lnTo>
                    <a:pt x="224" y="752"/>
                  </a:lnTo>
                  <a:lnTo>
                    <a:pt x="242" y="760"/>
                  </a:lnTo>
                  <a:lnTo>
                    <a:pt x="260" y="767"/>
                  </a:lnTo>
                  <a:lnTo>
                    <a:pt x="278" y="773"/>
                  </a:lnTo>
                  <a:lnTo>
                    <a:pt x="297" y="778"/>
                  </a:lnTo>
                  <a:lnTo>
                    <a:pt x="316" y="783"/>
                  </a:lnTo>
                  <a:lnTo>
                    <a:pt x="336" y="786"/>
                  </a:lnTo>
                  <a:lnTo>
                    <a:pt x="355" y="789"/>
                  </a:lnTo>
                  <a:lnTo>
                    <a:pt x="375" y="790"/>
                  </a:lnTo>
                  <a:lnTo>
                    <a:pt x="396" y="791"/>
                  </a:lnTo>
                  <a:lnTo>
                    <a:pt x="396" y="791"/>
                  </a:lnTo>
                  <a:lnTo>
                    <a:pt x="396" y="593"/>
                  </a:lnTo>
                  <a:lnTo>
                    <a:pt x="328" y="593"/>
                  </a:lnTo>
                  <a:lnTo>
                    <a:pt x="328" y="461"/>
                  </a:lnTo>
                  <a:lnTo>
                    <a:pt x="328" y="329"/>
                  </a:lnTo>
                  <a:lnTo>
                    <a:pt x="264" y="329"/>
                  </a:lnTo>
                  <a:lnTo>
                    <a:pt x="345" y="197"/>
                  </a:lnTo>
                  <a:lnTo>
                    <a:pt x="396" y="197"/>
                  </a:lnTo>
                  <a:lnTo>
                    <a:pt x="396" y="0"/>
                  </a:lnTo>
                  <a:lnTo>
                    <a:pt x="396"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2" name="Freeform 580">
              <a:extLst>
                <a:ext uri="{FF2B5EF4-FFF2-40B4-BE49-F238E27FC236}">
                  <a16:creationId xmlns:a16="http://schemas.microsoft.com/office/drawing/2014/main" id="{A828E878-D173-1391-5640-6392DEA8B8A8}"/>
                </a:ext>
              </a:extLst>
            </p:cNvPr>
            <p:cNvSpPr>
              <a:spLocks/>
            </p:cNvSpPr>
            <p:nvPr/>
          </p:nvSpPr>
          <p:spPr bwMode="auto">
            <a:xfrm>
              <a:off x="4651376" y="3614737"/>
              <a:ext cx="26988" cy="77787"/>
            </a:xfrm>
            <a:custGeom>
              <a:avLst/>
              <a:gdLst/>
              <a:ahLst/>
              <a:cxnLst>
                <a:cxn ang="0">
                  <a:pos x="132" y="0"/>
                </a:cxn>
                <a:cxn ang="0">
                  <a:pos x="81" y="0"/>
                </a:cxn>
                <a:cxn ang="0">
                  <a:pos x="0" y="132"/>
                </a:cxn>
                <a:cxn ang="0">
                  <a:pos x="64" y="132"/>
                </a:cxn>
                <a:cxn ang="0">
                  <a:pos x="64" y="264"/>
                </a:cxn>
                <a:cxn ang="0">
                  <a:pos x="64" y="396"/>
                </a:cxn>
                <a:cxn ang="0">
                  <a:pos x="132" y="396"/>
                </a:cxn>
                <a:cxn ang="0">
                  <a:pos x="132" y="0"/>
                </a:cxn>
              </a:cxnLst>
              <a:rect l="0" t="0" r="r" b="b"/>
              <a:pathLst>
                <a:path w="132" h="396">
                  <a:moveTo>
                    <a:pt x="132" y="0"/>
                  </a:moveTo>
                  <a:lnTo>
                    <a:pt x="81" y="0"/>
                  </a:lnTo>
                  <a:lnTo>
                    <a:pt x="0" y="132"/>
                  </a:lnTo>
                  <a:lnTo>
                    <a:pt x="64" y="132"/>
                  </a:lnTo>
                  <a:lnTo>
                    <a:pt x="64" y="264"/>
                  </a:lnTo>
                  <a:lnTo>
                    <a:pt x="64" y="396"/>
                  </a:lnTo>
                  <a:lnTo>
                    <a:pt x="132" y="396"/>
                  </a:lnTo>
                  <a:lnTo>
                    <a:pt x="132" y="0"/>
                  </a:lnTo>
                  <a:close/>
                </a:path>
              </a:pathLst>
            </a:custGeom>
            <a:solidFill>
              <a:srgbClr val="7F807E"/>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3" name="Freeform 581">
              <a:extLst>
                <a:ext uri="{FF2B5EF4-FFF2-40B4-BE49-F238E27FC236}">
                  <a16:creationId xmlns:a16="http://schemas.microsoft.com/office/drawing/2014/main" id="{D50377C0-EBB4-0248-A257-E1C86CFA9EC4}"/>
                </a:ext>
              </a:extLst>
            </p:cNvPr>
            <p:cNvSpPr>
              <a:spLocks/>
            </p:cNvSpPr>
            <p:nvPr/>
          </p:nvSpPr>
          <p:spPr bwMode="auto">
            <a:xfrm>
              <a:off x="4651376" y="3614737"/>
              <a:ext cx="26988" cy="77787"/>
            </a:xfrm>
            <a:custGeom>
              <a:avLst/>
              <a:gdLst/>
              <a:ahLst/>
              <a:cxnLst>
                <a:cxn ang="0">
                  <a:pos x="132" y="0"/>
                </a:cxn>
                <a:cxn ang="0">
                  <a:pos x="81" y="0"/>
                </a:cxn>
                <a:cxn ang="0">
                  <a:pos x="0" y="132"/>
                </a:cxn>
                <a:cxn ang="0">
                  <a:pos x="64" y="132"/>
                </a:cxn>
                <a:cxn ang="0">
                  <a:pos x="64" y="264"/>
                </a:cxn>
                <a:cxn ang="0">
                  <a:pos x="64" y="396"/>
                </a:cxn>
                <a:cxn ang="0">
                  <a:pos x="132" y="396"/>
                </a:cxn>
                <a:cxn ang="0">
                  <a:pos x="132" y="0"/>
                </a:cxn>
              </a:cxnLst>
              <a:rect l="0" t="0" r="r" b="b"/>
              <a:pathLst>
                <a:path w="132" h="396">
                  <a:moveTo>
                    <a:pt x="132" y="0"/>
                  </a:moveTo>
                  <a:lnTo>
                    <a:pt x="81" y="0"/>
                  </a:lnTo>
                  <a:lnTo>
                    <a:pt x="0" y="132"/>
                  </a:lnTo>
                  <a:lnTo>
                    <a:pt x="64" y="132"/>
                  </a:lnTo>
                  <a:lnTo>
                    <a:pt x="64" y="264"/>
                  </a:lnTo>
                  <a:lnTo>
                    <a:pt x="64" y="396"/>
                  </a:lnTo>
                  <a:lnTo>
                    <a:pt x="132" y="396"/>
                  </a:lnTo>
                  <a:lnTo>
                    <a:pt x="132" y="0"/>
                  </a:lnTo>
                </a:path>
              </a:pathLst>
            </a:cu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4" name="Freeform 582">
              <a:extLst>
                <a:ext uri="{FF2B5EF4-FFF2-40B4-BE49-F238E27FC236}">
                  <a16:creationId xmlns:a16="http://schemas.microsoft.com/office/drawing/2014/main" id="{FFF8E657-1B33-D9A4-9475-13FA7440F3D7}"/>
                </a:ext>
              </a:extLst>
            </p:cNvPr>
            <p:cNvSpPr>
              <a:spLocks/>
            </p:cNvSpPr>
            <p:nvPr/>
          </p:nvSpPr>
          <p:spPr bwMode="auto">
            <a:xfrm>
              <a:off x="4794251" y="3492500"/>
              <a:ext cx="28575" cy="30162"/>
            </a:xfrm>
            <a:custGeom>
              <a:avLst/>
              <a:gdLst/>
              <a:ahLst/>
              <a:cxnLst>
                <a:cxn ang="0">
                  <a:pos x="148" y="74"/>
                </a:cxn>
                <a:cxn ang="0">
                  <a:pos x="147" y="88"/>
                </a:cxn>
                <a:cxn ang="0">
                  <a:pos x="142" y="103"/>
                </a:cxn>
                <a:cxn ang="0">
                  <a:pos x="136" y="115"/>
                </a:cxn>
                <a:cxn ang="0">
                  <a:pos x="127" y="126"/>
                </a:cxn>
                <a:cxn ang="0">
                  <a:pos x="115" y="136"/>
                </a:cxn>
                <a:cxn ang="0">
                  <a:pos x="103" y="142"/>
                </a:cxn>
                <a:cxn ang="0">
                  <a:pos x="89" y="146"/>
                </a:cxn>
                <a:cxn ang="0">
                  <a:pos x="74" y="148"/>
                </a:cxn>
                <a:cxn ang="0">
                  <a:pos x="67" y="147"/>
                </a:cxn>
                <a:cxn ang="0">
                  <a:pos x="52" y="145"/>
                </a:cxn>
                <a:cxn ang="0">
                  <a:pos x="39" y="139"/>
                </a:cxn>
                <a:cxn ang="0">
                  <a:pos x="27" y="130"/>
                </a:cxn>
                <a:cxn ang="0">
                  <a:pos x="17" y="121"/>
                </a:cxn>
                <a:cxn ang="0">
                  <a:pos x="9" y="109"/>
                </a:cxn>
                <a:cxn ang="0">
                  <a:pos x="3" y="95"/>
                </a:cxn>
                <a:cxn ang="0">
                  <a:pos x="0" y="81"/>
                </a:cxn>
                <a:cxn ang="0">
                  <a:pos x="0" y="74"/>
                </a:cxn>
                <a:cxn ang="0">
                  <a:pos x="2" y="58"/>
                </a:cxn>
                <a:cxn ang="0">
                  <a:pos x="6" y="45"/>
                </a:cxn>
                <a:cxn ang="0">
                  <a:pos x="12" y="32"/>
                </a:cxn>
                <a:cxn ang="0">
                  <a:pos x="21" y="21"/>
                </a:cxn>
                <a:cxn ang="0">
                  <a:pos x="33" y="12"/>
                </a:cxn>
                <a:cxn ang="0">
                  <a:pos x="45" y="6"/>
                </a:cxn>
                <a:cxn ang="0">
                  <a:pos x="60" y="1"/>
                </a:cxn>
                <a:cxn ang="0">
                  <a:pos x="74" y="0"/>
                </a:cxn>
                <a:cxn ang="0">
                  <a:pos x="81" y="0"/>
                </a:cxn>
                <a:cxn ang="0">
                  <a:pos x="97" y="3"/>
                </a:cxn>
                <a:cxn ang="0">
                  <a:pos x="109" y="9"/>
                </a:cxn>
                <a:cxn ang="0">
                  <a:pos x="121" y="16"/>
                </a:cxn>
                <a:cxn ang="0">
                  <a:pos x="132" y="26"/>
                </a:cxn>
                <a:cxn ang="0">
                  <a:pos x="139" y="39"/>
                </a:cxn>
                <a:cxn ang="0">
                  <a:pos x="145" y="51"/>
                </a:cxn>
                <a:cxn ang="0">
                  <a:pos x="148" y="65"/>
                </a:cxn>
                <a:cxn ang="0">
                  <a:pos x="148" y="74"/>
                </a:cxn>
              </a:cxnLst>
              <a:rect l="0" t="0" r="r" b="b"/>
              <a:pathLst>
                <a:path w="148" h="148">
                  <a:moveTo>
                    <a:pt x="148" y="74"/>
                  </a:moveTo>
                  <a:lnTo>
                    <a:pt x="148" y="74"/>
                  </a:lnTo>
                  <a:lnTo>
                    <a:pt x="148" y="81"/>
                  </a:lnTo>
                  <a:lnTo>
                    <a:pt x="147" y="88"/>
                  </a:lnTo>
                  <a:lnTo>
                    <a:pt x="145" y="95"/>
                  </a:lnTo>
                  <a:lnTo>
                    <a:pt x="142" y="103"/>
                  </a:lnTo>
                  <a:lnTo>
                    <a:pt x="139" y="109"/>
                  </a:lnTo>
                  <a:lnTo>
                    <a:pt x="136" y="115"/>
                  </a:lnTo>
                  <a:lnTo>
                    <a:pt x="132" y="121"/>
                  </a:lnTo>
                  <a:lnTo>
                    <a:pt x="127" y="126"/>
                  </a:lnTo>
                  <a:lnTo>
                    <a:pt x="121" y="130"/>
                  </a:lnTo>
                  <a:lnTo>
                    <a:pt x="115" y="136"/>
                  </a:lnTo>
                  <a:lnTo>
                    <a:pt x="109" y="139"/>
                  </a:lnTo>
                  <a:lnTo>
                    <a:pt x="103" y="142"/>
                  </a:lnTo>
                  <a:lnTo>
                    <a:pt x="97" y="145"/>
                  </a:lnTo>
                  <a:lnTo>
                    <a:pt x="89" y="146"/>
                  </a:lnTo>
                  <a:lnTo>
                    <a:pt x="81" y="147"/>
                  </a:lnTo>
                  <a:lnTo>
                    <a:pt x="74" y="148"/>
                  </a:lnTo>
                  <a:lnTo>
                    <a:pt x="74" y="148"/>
                  </a:lnTo>
                  <a:lnTo>
                    <a:pt x="67" y="147"/>
                  </a:lnTo>
                  <a:lnTo>
                    <a:pt x="60" y="146"/>
                  </a:lnTo>
                  <a:lnTo>
                    <a:pt x="52" y="145"/>
                  </a:lnTo>
                  <a:lnTo>
                    <a:pt x="45" y="142"/>
                  </a:lnTo>
                  <a:lnTo>
                    <a:pt x="39" y="139"/>
                  </a:lnTo>
                  <a:lnTo>
                    <a:pt x="33" y="136"/>
                  </a:lnTo>
                  <a:lnTo>
                    <a:pt x="27" y="130"/>
                  </a:lnTo>
                  <a:lnTo>
                    <a:pt x="21" y="126"/>
                  </a:lnTo>
                  <a:lnTo>
                    <a:pt x="17" y="121"/>
                  </a:lnTo>
                  <a:lnTo>
                    <a:pt x="12" y="115"/>
                  </a:lnTo>
                  <a:lnTo>
                    <a:pt x="9" y="109"/>
                  </a:lnTo>
                  <a:lnTo>
                    <a:pt x="6" y="103"/>
                  </a:lnTo>
                  <a:lnTo>
                    <a:pt x="3" y="95"/>
                  </a:lnTo>
                  <a:lnTo>
                    <a:pt x="2" y="88"/>
                  </a:lnTo>
                  <a:lnTo>
                    <a:pt x="0" y="81"/>
                  </a:lnTo>
                  <a:lnTo>
                    <a:pt x="0" y="74"/>
                  </a:lnTo>
                  <a:lnTo>
                    <a:pt x="0" y="74"/>
                  </a:lnTo>
                  <a:lnTo>
                    <a:pt x="0" y="65"/>
                  </a:lnTo>
                  <a:lnTo>
                    <a:pt x="2" y="58"/>
                  </a:lnTo>
                  <a:lnTo>
                    <a:pt x="3" y="51"/>
                  </a:lnTo>
                  <a:lnTo>
                    <a:pt x="6" y="45"/>
                  </a:lnTo>
                  <a:lnTo>
                    <a:pt x="9" y="39"/>
                  </a:lnTo>
                  <a:lnTo>
                    <a:pt x="12" y="32"/>
                  </a:lnTo>
                  <a:lnTo>
                    <a:pt x="17" y="26"/>
                  </a:lnTo>
                  <a:lnTo>
                    <a:pt x="21" y="21"/>
                  </a:lnTo>
                  <a:lnTo>
                    <a:pt x="27" y="16"/>
                  </a:lnTo>
                  <a:lnTo>
                    <a:pt x="33" y="12"/>
                  </a:lnTo>
                  <a:lnTo>
                    <a:pt x="39" y="9"/>
                  </a:lnTo>
                  <a:lnTo>
                    <a:pt x="45" y="6"/>
                  </a:lnTo>
                  <a:lnTo>
                    <a:pt x="52" y="3"/>
                  </a:lnTo>
                  <a:lnTo>
                    <a:pt x="60" y="1"/>
                  </a:lnTo>
                  <a:lnTo>
                    <a:pt x="67" y="0"/>
                  </a:lnTo>
                  <a:lnTo>
                    <a:pt x="74" y="0"/>
                  </a:lnTo>
                  <a:lnTo>
                    <a:pt x="74" y="0"/>
                  </a:lnTo>
                  <a:lnTo>
                    <a:pt x="81" y="0"/>
                  </a:lnTo>
                  <a:lnTo>
                    <a:pt x="89" y="1"/>
                  </a:lnTo>
                  <a:lnTo>
                    <a:pt x="97" y="3"/>
                  </a:lnTo>
                  <a:lnTo>
                    <a:pt x="103" y="6"/>
                  </a:lnTo>
                  <a:lnTo>
                    <a:pt x="109" y="9"/>
                  </a:lnTo>
                  <a:lnTo>
                    <a:pt x="115" y="12"/>
                  </a:lnTo>
                  <a:lnTo>
                    <a:pt x="121" y="16"/>
                  </a:lnTo>
                  <a:lnTo>
                    <a:pt x="127" y="21"/>
                  </a:lnTo>
                  <a:lnTo>
                    <a:pt x="132" y="26"/>
                  </a:lnTo>
                  <a:lnTo>
                    <a:pt x="136" y="32"/>
                  </a:lnTo>
                  <a:lnTo>
                    <a:pt x="139" y="39"/>
                  </a:lnTo>
                  <a:lnTo>
                    <a:pt x="142" y="45"/>
                  </a:lnTo>
                  <a:lnTo>
                    <a:pt x="145" y="51"/>
                  </a:lnTo>
                  <a:lnTo>
                    <a:pt x="147" y="58"/>
                  </a:lnTo>
                  <a:lnTo>
                    <a:pt x="148" y="65"/>
                  </a:lnTo>
                  <a:lnTo>
                    <a:pt x="148" y="74"/>
                  </a:lnTo>
                  <a:lnTo>
                    <a:pt x="148" y="74"/>
                  </a:lnTo>
                  <a:close/>
                </a:path>
              </a:pathLst>
            </a:custGeom>
            <a:solidFill>
              <a:srgbClr val="475059"/>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5" name="Freeform 583">
              <a:extLst>
                <a:ext uri="{FF2B5EF4-FFF2-40B4-BE49-F238E27FC236}">
                  <a16:creationId xmlns:a16="http://schemas.microsoft.com/office/drawing/2014/main" id="{DE62A955-5E11-224F-2B8D-29AF6D5F3AA7}"/>
                </a:ext>
              </a:extLst>
            </p:cNvPr>
            <p:cNvSpPr>
              <a:spLocks/>
            </p:cNvSpPr>
            <p:nvPr/>
          </p:nvSpPr>
          <p:spPr bwMode="auto">
            <a:xfrm>
              <a:off x="4532313" y="3492500"/>
              <a:ext cx="30163" cy="30162"/>
            </a:xfrm>
            <a:custGeom>
              <a:avLst/>
              <a:gdLst/>
              <a:ahLst/>
              <a:cxnLst>
                <a:cxn ang="0">
                  <a:pos x="148" y="74"/>
                </a:cxn>
                <a:cxn ang="0">
                  <a:pos x="147" y="88"/>
                </a:cxn>
                <a:cxn ang="0">
                  <a:pos x="142" y="103"/>
                </a:cxn>
                <a:cxn ang="0">
                  <a:pos x="136" y="115"/>
                </a:cxn>
                <a:cxn ang="0">
                  <a:pos x="127" y="126"/>
                </a:cxn>
                <a:cxn ang="0">
                  <a:pos x="115" y="136"/>
                </a:cxn>
                <a:cxn ang="0">
                  <a:pos x="103" y="142"/>
                </a:cxn>
                <a:cxn ang="0">
                  <a:pos x="90" y="146"/>
                </a:cxn>
                <a:cxn ang="0">
                  <a:pos x="74" y="148"/>
                </a:cxn>
                <a:cxn ang="0">
                  <a:pos x="67" y="147"/>
                </a:cxn>
                <a:cxn ang="0">
                  <a:pos x="52" y="145"/>
                </a:cxn>
                <a:cxn ang="0">
                  <a:pos x="39" y="139"/>
                </a:cxn>
                <a:cxn ang="0">
                  <a:pos x="27" y="130"/>
                </a:cxn>
                <a:cxn ang="0">
                  <a:pos x="17" y="121"/>
                </a:cxn>
                <a:cxn ang="0">
                  <a:pos x="9" y="109"/>
                </a:cxn>
                <a:cxn ang="0">
                  <a:pos x="3" y="95"/>
                </a:cxn>
                <a:cxn ang="0">
                  <a:pos x="0" y="81"/>
                </a:cxn>
                <a:cxn ang="0">
                  <a:pos x="0" y="74"/>
                </a:cxn>
                <a:cxn ang="0">
                  <a:pos x="2" y="58"/>
                </a:cxn>
                <a:cxn ang="0">
                  <a:pos x="6" y="45"/>
                </a:cxn>
                <a:cxn ang="0">
                  <a:pos x="12" y="32"/>
                </a:cxn>
                <a:cxn ang="0">
                  <a:pos x="22" y="21"/>
                </a:cxn>
                <a:cxn ang="0">
                  <a:pos x="33" y="12"/>
                </a:cxn>
                <a:cxn ang="0">
                  <a:pos x="45" y="6"/>
                </a:cxn>
                <a:cxn ang="0">
                  <a:pos x="60" y="1"/>
                </a:cxn>
                <a:cxn ang="0">
                  <a:pos x="74" y="0"/>
                </a:cxn>
                <a:cxn ang="0">
                  <a:pos x="81" y="0"/>
                </a:cxn>
                <a:cxn ang="0">
                  <a:pos x="97" y="3"/>
                </a:cxn>
                <a:cxn ang="0">
                  <a:pos x="109" y="9"/>
                </a:cxn>
                <a:cxn ang="0">
                  <a:pos x="121" y="16"/>
                </a:cxn>
                <a:cxn ang="0">
                  <a:pos x="132" y="26"/>
                </a:cxn>
                <a:cxn ang="0">
                  <a:pos x="139" y="39"/>
                </a:cxn>
                <a:cxn ang="0">
                  <a:pos x="145" y="51"/>
                </a:cxn>
                <a:cxn ang="0">
                  <a:pos x="148" y="65"/>
                </a:cxn>
                <a:cxn ang="0">
                  <a:pos x="148" y="74"/>
                </a:cxn>
              </a:cxnLst>
              <a:rect l="0" t="0" r="r" b="b"/>
              <a:pathLst>
                <a:path w="148" h="148">
                  <a:moveTo>
                    <a:pt x="148" y="74"/>
                  </a:moveTo>
                  <a:lnTo>
                    <a:pt x="148" y="74"/>
                  </a:lnTo>
                  <a:lnTo>
                    <a:pt x="148" y="81"/>
                  </a:lnTo>
                  <a:lnTo>
                    <a:pt x="147" y="88"/>
                  </a:lnTo>
                  <a:lnTo>
                    <a:pt x="145" y="95"/>
                  </a:lnTo>
                  <a:lnTo>
                    <a:pt x="142" y="103"/>
                  </a:lnTo>
                  <a:lnTo>
                    <a:pt x="139" y="109"/>
                  </a:lnTo>
                  <a:lnTo>
                    <a:pt x="136" y="115"/>
                  </a:lnTo>
                  <a:lnTo>
                    <a:pt x="132" y="121"/>
                  </a:lnTo>
                  <a:lnTo>
                    <a:pt x="127" y="126"/>
                  </a:lnTo>
                  <a:lnTo>
                    <a:pt x="121" y="130"/>
                  </a:lnTo>
                  <a:lnTo>
                    <a:pt x="115" y="136"/>
                  </a:lnTo>
                  <a:lnTo>
                    <a:pt x="109" y="139"/>
                  </a:lnTo>
                  <a:lnTo>
                    <a:pt x="103" y="142"/>
                  </a:lnTo>
                  <a:lnTo>
                    <a:pt x="97" y="145"/>
                  </a:lnTo>
                  <a:lnTo>
                    <a:pt x="90" y="146"/>
                  </a:lnTo>
                  <a:lnTo>
                    <a:pt x="81" y="147"/>
                  </a:lnTo>
                  <a:lnTo>
                    <a:pt x="74" y="148"/>
                  </a:lnTo>
                  <a:lnTo>
                    <a:pt x="74" y="148"/>
                  </a:lnTo>
                  <a:lnTo>
                    <a:pt x="67" y="147"/>
                  </a:lnTo>
                  <a:lnTo>
                    <a:pt x="60" y="146"/>
                  </a:lnTo>
                  <a:lnTo>
                    <a:pt x="52" y="145"/>
                  </a:lnTo>
                  <a:lnTo>
                    <a:pt x="45" y="142"/>
                  </a:lnTo>
                  <a:lnTo>
                    <a:pt x="39" y="139"/>
                  </a:lnTo>
                  <a:lnTo>
                    <a:pt x="33" y="136"/>
                  </a:lnTo>
                  <a:lnTo>
                    <a:pt x="27" y="130"/>
                  </a:lnTo>
                  <a:lnTo>
                    <a:pt x="22" y="126"/>
                  </a:lnTo>
                  <a:lnTo>
                    <a:pt x="17" y="121"/>
                  </a:lnTo>
                  <a:lnTo>
                    <a:pt x="12" y="115"/>
                  </a:lnTo>
                  <a:lnTo>
                    <a:pt x="9" y="109"/>
                  </a:lnTo>
                  <a:lnTo>
                    <a:pt x="6" y="103"/>
                  </a:lnTo>
                  <a:lnTo>
                    <a:pt x="3" y="95"/>
                  </a:lnTo>
                  <a:lnTo>
                    <a:pt x="2" y="88"/>
                  </a:lnTo>
                  <a:lnTo>
                    <a:pt x="0" y="81"/>
                  </a:lnTo>
                  <a:lnTo>
                    <a:pt x="0" y="74"/>
                  </a:lnTo>
                  <a:lnTo>
                    <a:pt x="0" y="74"/>
                  </a:lnTo>
                  <a:lnTo>
                    <a:pt x="0" y="65"/>
                  </a:lnTo>
                  <a:lnTo>
                    <a:pt x="2" y="58"/>
                  </a:lnTo>
                  <a:lnTo>
                    <a:pt x="3" y="51"/>
                  </a:lnTo>
                  <a:lnTo>
                    <a:pt x="6" y="45"/>
                  </a:lnTo>
                  <a:lnTo>
                    <a:pt x="9" y="39"/>
                  </a:lnTo>
                  <a:lnTo>
                    <a:pt x="12" y="32"/>
                  </a:lnTo>
                  <a:lnTo>
                    <a:pt x="17" y="26"/>
                  </a:lnTo>
                  <a:lnTo>
                    <a:pt x="22" y="21"/>
                  </a:lnTo>
                  <a:lnTo>
                    <a:pt x="27" y="16"/>
                  </a:lnTo>
                  <a:lnTo>
                    <a:pt x="33" y="12"/>
                  </a:lnTo>
                  <a:lnTo>
                    <a:pt x="39" y="9"/>
                  </a:lnTo>
                  <a:lnTo>
                    <a:pt x="45" y="6"/>
                  </a:lnTo>
                  <a:lnTo>
                    <a:pt x="52" y="3"/>
                  </a:lnTo>
                  <a:lnTo>
                    <a:pt x="60" y="1"/>
                  </a:lnTo>
                  <a:lnTo>
                    <a:pt x="67" y="0"/>
                  </a:lnTo>
                  <a:lnTo>
                    <a:pt x="74" y="0"/>
                  </a:lnTo>
                  <a:lnTo>
                    <a:pt x="74" y="0"/>
                  </a:lnTo>
                  <a:lnTo>
                    <a:pt x="81" y="0"/>
                  </a:lnTo>
                  <a:lnTo>
                    <a:pt x="90" y="1"/>
                  </a:lnTo>
                  <a:lnTo>
                    <a:pt x="97" y="3"/>
                  </a:lnTo>
                  <a:lnTo>
                    <a:pt x="103" y="6"/>
                  </a:lnTo>
                  <a:lnTo>
                    <a:pt x="109" y="9"/>
                  </a:lnTo>
                  <a:lnTo>
                    <a:pt x="115" y="12"/>
                  </a:lnTo>
                  <a:lnTo>
                    <a:pt x="121" y="16"/>
                  </a:lnTo>
                  <a:lnTo>
                    <a:pt x="127" y="21"/>
                  </a:lnTo>
                  <a:lnTo>
                    <a:pt x="132" y="26"/>
                  </a:lnTo>
                  <a:lnTo>
                    <a:pt x="136" y="32"/>
                  </a:lnTo>
                  <a:lnTo>
                    <a:pt x="139" y="39"/>
                  </a:lnTo>
                  <a:lnTo>
                    <a:pt x="142" y="45"/>
                  </a:lnTo>
                  <a:lnTo>
                    <a:pt x="145" y="51"/>
                  </a:lnTo>
                  <a:lnTo>
                    <a:pt x="147" y="58"/>
                  </a:lnTo>
                  <a:lnTo>
                    <a:pt x="148" y="65"/>
                  </a:lnTo>
                  <a:lnTo>
                    <a:pt x="148" y="74"/>
                  </a:lnTo>
                  <a:lnTo>
                    <a:pt x="148" y="74"/>
                  </a:lnTo>
                  <a:close/>
                </a:path>
              </a:pathLst>
            </a:custGeom>
            <a:solidFill>
              <a:srgbClr val="475059"/>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6" name="Freeform 584">
              <a:extLst>
                <a:ext uri="{FF2B5EF4-FFF2-40B4-BE49-F238E27FC236}">
                  <a16:creationId xmlns:a16="http://schemas.microsoft.com/office/drawing/2014/main" id="{576EBF24-D76E-18CD-CFA2-390C3CFEA335}"/>
                </a:ext>
              </a:extLst>
            </p:cNvPr>
            <p:cNvSpPr>
              <a:spLocks/>
            </p:cNvSpPr>
            <p:nvPr/>
          </p:nvSpPr>
          <p:spPr bwMode="auto">
            <a:xfrm>
              <a:off x="4795838" y="3495675"/>
              <a:ext cx="25400" cy="39687"/>
            </a:xfrm>
            <a:custGeom>
              <a:avLst/>
              <a:gdLst/>
              <a:ahLst/>
              <a:cxnLst>
                <a:cxn ang="0">
                  <a:pos x="66" y="198"/>
                </a:cxn>
                <a:cxn ang="0">
                  <a:pos x="53" y="197"/>
                </a:cxn>
                <a:cxn ang="0">
                  <a:pos x="40" y="193"/>
                </a:cxn>
                <a:cxn ang="0">
                  <a:pos x="29" y="186"/>
                </a:cxn>
                <a:cxn ang="0">
                  <a:pos x="11" y="169"/>
                </a:cxn>
                <a:cxn ang="0">
                  <a:pos x="5" y="158"/>
                </a:cxn>
                <a:cxn ang="0">
                  <a:pos x="1" y="145"/>
                </a:cxn>
                <a:cxn ang="0">
                  <a:pos x="0" y="132"/>
                </a:cxn>
                <a:cxn ang="0">
                  <a:pos x="0" y="66"/>
                </a:cxn>
                <a:cxn ang="0">
                  <a:pos x="1" y="53"/>
                </a:cxn>
                <a:cxn ang="0">
                  <a:pos x="5" y="40"/>
                </a:cxn>
                <a:cxn ang="0">
                  <a:pos x="11" y="29"/>
                </a:cxn>
                <a:cxn ang="0">
                  <a:pos x="29" y="11"/>
                </a:cxn>
                <a:cxn ang="0">
                  <a:pos x="40" y="5"/>
                </a:cxn>
                <a:cxn ang="0">
                  <a:pos x="53" y="1"/>
                </a:cxn>
                <a:cxn ang="0">
                  <a:pos x="66" y="0"/>
                </a:cxn>
                <a:cxn ang="0">
                  <a:pos x="73" y="0"/>
                </a:cxn>
                <a:cxn ang="0">
                  <a:pos x="86" y="3"/>
                </a:cxn>
                <a:cxn ang="0">
                  <a:pos x="98" y="8"/>
                </a:cxn>
                <a:cxn ang="0">
                  <a:pos x="112" y="20"/>
                </a:cxn>
                <a:cxn ang="0">
                  <a:pos x="124" y="34"/>
                </a:cxn>
                <a:cxn ang="0">
                  <a:pos x="129" y="46"/>
                </a:cxn>
                <a:cxn ang="0">
                  <a:pos x="132" y="59"/>
                </a:cxn>
                <a:cxn ang="0">
                  <a:pos x="132" y="132"/>
                </a:cxn>
                <a:cxn ang="0">
                  <a:pos x="132" y="138"/>
                </a:cxn>
                <a:cxn ang="0">
                  <a:pos x="129" y="151"/>
                </a:cxn>
                <a:cxn ang="0">
                  <a:pos x="124" y="163"/>
                </a:cxn>
                <a:cxn ang="0">
                  <a:pos x="112" y="178"/>
                </a:cxn>
                <a:cxn ang="0">
                  <a:pos x="98" y="190"/>
                </a:cxn>
                <a:cxn ang="0">
                  <a:pos x="86" y="195"/>
                </a:cxn>
                <a:cxn ang="0">
                  <a:pos x="73" y="198"/>
                </a:cxn>
                <a:cxn ang="0">
                  <a:pos x="66" y="198"/>
                </a:cxn>
              </a:cxnLst>
              <a:rect l="0" t="0" r="r" b="b"/>
              <a:pathLst>
                <a:path w="132" h="198">
                  <a:moveTo>
                    <a:pt x="66" y="198"/>
                  </a:moveTo>
                  <a:lnTo>
                    <a:pt x="66" y="198"/>
                  </a:lnTo>
                  <a:lnTo>
                    <a:pt x="60" y="198"/>
                  </a:lnTo>
                  <a:lnTo>
                    <a:pt x="53" y="197"/>
                  </a:lnTo>
                  <a:lnTo>
                    <a:pt x="46" y="195"/>
                  </a:lnTo>
                  <a:lnTo>
                    <a:pt x="40" y="193"/>
                  </a:lnTo>
                  <a:lnTo>
                    <a:pt x="35" y="190"/>
                  </a:lnTo>
                  <a:lnTo>
                    <a:pt x="29" y="186"/>
                  </a:lnTo>
                  <a:lnTo>
                    <a:pt x="20" y="178"/>
                  </a:lnTo>
                  <a:lnTo>
                    <a:pt x="11" y="169"/>
                  </a:lnTo>
                  <a:lnTo>
                    <a:pt x="8" y="163"/>
                  </a:lnTo>
                  <a:lnTo>
                    <a:pt x="5" y="158"/>
                  </a:lnTo>
                  <a:lnTo>
                    <a:pt x="3" y="151"/>
                  </a:lnTo>
                  <a:lnTo>
                    <a:pt x="1" y="145"/>
                  </a:lnTo>
                  <a:lnTo>
                    <a:pt x="0" y="138"/>
                  </a:lnTo>
                  <a:lnTo>
                    <a:pt x="0" y="132"/>
                  </a:lnTo>
                  <a:lnTo>
                    <a:pt x="0" y="66"/>
                  </a:lnTo>
                  <a:lnTo>
                    <a:pt x="0" y="66"/>
                  </a:lnTo>
                  <a:lnTo>
                    <a:pt x="0" y="59"/>
                  </a:lnTo>
                  <a:lnTo>
                    <a:pt x="1" y="53"/>
                  </a:lnTo>
                  <a:lnTo>
                    <a:pt x="3" y="46"/>
                  </a:lnTo>
                  <a:lnTo>
                    <a:pt x="5" y="40"/>
                  </a:lnTo>
                  <a:lnTo>
                    <a:pt x="8" y="34"/>
                  </a:lnTo>
                  <a:lnTo>
                    <a:pt x="11" y="29"/>
                  </a:lnTo>
                  <a:lnTo>
                    <a:pt x="20" y="20"/>
                  </a:lnTo>
                  <a:lnTo>
                    <a:pt x="29" y="11"/>
                  </a:lnTo>
                  <a:lnTo>
                    <a:pt x="35" y="8"/>
                  </a:lnTo>
                  <a:lnTo>
                    <a:pt x="40" y="5"/>
                  </a:lnTo>
                  <a:lnTo>
                    <a:pt x="46" y="3"/>
                  </a:lnTo>
                  <a:lnTo>
                    <a:pt x="53" y="1"/>
                  </a:lnTo>
                  <a:lnTo>
                    <a:pt x="60" y="0"/>
                  </a:lnTo>
                  <a:lnTo>
                    <a:pt x="66" y="0"/>
                  </a:lnTo>
                  <a:lnTo>
                    <a:pt x="66" y="0"/>
                  </a:lnTo>
                  <a:lnTo>
                    <a:pt x="73" y="0"/>
                  </a:lnTo>
                  <a:lnTo>
                    <a:pt x="79" y="1"/>
                  </a:lnTo>
                  <a:lnTo>
                    <a:pt x="86" y="3"/>
                  </a:lnTo>
                  <a:lnTo>
                    <a:pt x="92" y="5"/>
                  </a:lnTo>
                  <a:lnTo>
                    <a:pt x="98" y="8"/>
                  </a:lnTo>
                  <a:lnTo>
                    <a:pt x="103" y="11"/>
                  </a:lnTo>
                  <a:lnTo>
                    <a:pt x="112" y="20"/>
                  </a:lnTo>
                  <a:lnTo>
                    <a:pt x="121" y="29"/>
                  </a:lnTo>
                  <a:lnTo>
                    <a:pt x="124" y="34"/>
                  </a:lnTo>
                  <a:lnTo>
                    <a:pt x="127" y="40"/>
                  </a:lnTo>
                  <a:lnTo>
                    <a:pt x="129" y="46"/>
                  </a:lnTo>
                  <a:lnTo>
                    <a:pt x="131" y="53"/>
                  </a:lnTo>
                  <a:lnTo>
                    <a:pt x="132" y="59"/>
                  </a:lnTo>
                  <a:lnTo>
                    <a:pt x="132" y="66"/>
                  </a:lnTo>
                  <a:lnTo>
                    <a:pt x="132" y="132"/>
                  </a:lnTo>
                  <a:lnTo>
                    <a:pt x="132" y="132"/>
                  </a:lnTo>
                  <a:lnTo>
                    <a:pt x="132" y="138"/>
                  </a:lnTo>
                  <a:lnTo>
                    <a:pt x="131" y="145"/>
                  </a:lnTo>
                  <a:lnTo>
                    <a:pt x="129" y="151"/>
                  </a:lnTo>
                  <a:lnTo>
                    <a:pt x="127" y="158"/>
                  </a:lnTo>
                  <a:lnTo>
                    <a:pt x="124" y="163"/>
                  </a:lnTo>
                  <a:lnTo>
                    <a:pt x="121" y="169"/>
                  </a:lnTo>
                  <a:lnTo>
                    <a:pt x="112" y="178"/>
                  </a:lnTo>
                  <a:lnTo>
                    <a:pt x="103" y="186"/>
                  </a:lnTo>
                  <a:lnTo>
                    <a:pt x="98" y="190"/>
                  </a:lnTo>
                  <a:lnTo>
                    <a:pt x="92" y="193"/>
                  </a:lnTo>
                  <a:lnTo>
                    <a:pt x="86" y="195"/>
                  </a:lnTo>
                  <a:lnTo>
                    <a:pt x="79" y="197"/>
                  </a:lnTo>
                  <a:lnTo>
                    <a:pt x="73" y="198"/>
                  </a:lnTo>
                  <a:lnTo>
                    <a:pt x="66" y="198"/>
                  </a:lnTo>
                  <a:lnTo>
                    <a:pt x="66" y="198"/>
                  </a:lnTo>
                  <a:close/>
                </a:path>
              </a:pathLst>
            </a:custGeom>
            <a:solidFill>
              <a:srgbClr val="CCBEA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7" name="Freeform 585">
              <a:extLst>
                <a:ext uri="{FF2B5EF4-FFF2-40B4-BE49-F238E27FC236}">
                  <a16:creationId xmlns:a16="http://schemas.microsoft.com/office/drawing/2014/main" id="{4AB6685A-84B8-6826-E47B-5B20742221F5}"/>
                </a:ext>
              </a:extLst>
            </p:cNvPr>
            <p:cNvSpPr>
              <a:spLocks/>
            </p:cNvSpPr>
            <p:nvPr/>
          </p:nvSpPr>
          <p:spPr bwMode="auto">
            <a:xfrm>
              <a:off x="4533901" y="3495675"/>
              <a:ext cx="26988" cy="39687"/>
            </a:xfrm>
            <a:custGeom>
              <a:avLst/>
              <a:gdLst/>
              <a:ahLst/>
              <a:cxnLst>
                <a:cxn ang="0">
                  <a:pos x="66" y="198"/>
                </a:cxn>
                <a:cxn ang="0">
                  <a:pos x="53" y="197"/>
                </a:cxn>
                <a:cxn ang="0">
                  <a:pos x="40" y="193"/>
                </a:cxn>
                <a:cxn ang="0">
                  <a:pos x="29" y="186"/>
                </a:cxn>
                <a:cxn ang="0">
                  <a:pos x="11" y="169"/>
                </a:cxn>
                <a:cxn ang="0">
                  <a:pos x="5" y="158"/>
                </a:cxn>
                <a:cxn ang="0">
                  <a:pos x="1" y="145"/>
                </a:cxn>
                <a:cxn ang="0">
                  <a:pos x="0" y="132"/>
                </a:cxn>
                <a:cxn ang="0">
                  <a:pos x="0" y="66"/>
                </a:cxn>
                <a:cxn ang="0">
                  <a:pos x="1" y="53"/>
                </a:cxn>
                <a:cxn ang="0">
                  <a:pos x="5" y="40"/>
                </a:cxn>
                <a:cxn ang="0">
                  <a:pos x="11" y="29"/>
                </a:cxn>
                <a:cxn ang="0">
                  <a:pos x="29" y="11"/>
                </a:cxn>
                <a:cxn ang="0">
                  <a:pos x="40" y="5"/>
                </a:cxn>
                <a:cxn ang="0">
                  <a:pos x="53" y="1"/>
                </a:cxn>
                <a:cxn ang="0">
                  <a:pos x="66" y="0"/>
                </a:cxn>
                <a:cxn ang="0">
                  <a:pos x="73" y="0"/>
                </a:cxn>
                <a:cxn ang="0">
                  <a:pos x="86" y="3"/>
                </a:cxn>
                <a:cxn ang="0">
                  <a:pos x="98" y="8"/>
                </a:cxn>
                <a:cxn ang="0">
                  <a:pos x="112" y="20"/>
                </a:cxn>
                <a:cxn ang="0">
                  <a:pos x="124" y="34"/>
                </a:cxn>
                <a:cxn ang="0">
                  <a:pos x="129" y="46"/>
                </a:cxn>
                <a:cxn ang="0">
                  <a:pos x="132" y="59"/>
                </a:cxn>
                <a:cxn ang="0">
                  <a:pos x="132" y="132"/>
                </a:cxn>
                <a:cxn ang="0">
                  <a:pos x="132" y="138"/>
                </a:cxn>
                <a:cxn ang="0">
                  <a:pos x="129" y="151"/>
                </a:cxn>
                <a:cxn ang="0">
                  <a:pos x="124" y="163"/>
                </a:cxn>
                <a:cxn ang="0">
                  <a:pos x="112" y="178"/>
                </a:cxn>
                <a:cxn ang="0">
                  <a:pos x="98" y="190"/>
                </a:cxn>
                <a:cxn ang="0">
                  <a:pos x="86" y="195"/>
                </a:cxn>
                <a:cxn ang="0">
                  <a:pos x="73" y="198"/>
                </a:cxn>
                <a:cxn ang="0">
                  <a:pos x="66" y="198"/>
                </a:cxn>
              </a:cxnLst>
              <a:rect l="0" t="0" r="r" b="b"/>
              <a:pathLst>
                <a:path w="132" h="198">
                  <a:moveTo>
                    <a:pt x="66" y="198"/>
                  </a:moveTo>
                  <a:lnTo>
                    <a:pt x="66" y="198"/>
                  </a:lnTo>
                  <a:lnTo>
                    <a:pt x="60" y="198"/>
                  </a:lnTo>
                  <a:lnTo>
                    <a:pt x="53" y="197"/>
                  </a:lnTo>
                  <a:lnTo>
                    <a:pt x="46" y="195"/>
                  </a:lnTo>
                  <a:lnTo>
                    <a:pt x="40" y="193"/>
                  </a:lnTo>
                  <a:lnTo>
                    <a:pt x="35" y="190"/>
                  </a:lnTo>
                  <a:lnTo>
                    <a:pt x="29" y="186"/>
                  </a:lnTo>
                  <a:lnTo>
                    <a:pt x="20" y="178"/>
                  </a:lnTo>
                  <a:lnTo>
                    <a:pt x="11" y="169"/>
                  </a:lnTo>
                  <a:lnTo>
                    <a:pt x="8" y="163"/>
                  </a:lnTo>
                  <a:lnTo>
                    <a:pt x="5" y="158"/>
                  </a:lnTo>
                  <a:lnTo>
                    <a:pt x="3" y="151"/>
                  </a:lnTo>
                  <a:lnTo>
                    <a:pt x="1" y="145"/>
                  </a:lnTo>
                  <a:lnTo>
                    <a:pt x="0" y="138"/>
                  </a:lnTo>
                  <a:lnTo>
                    <a:pt x="0" y="132"/>
                  </a:lnTo>
                  <a:lnTo>
                    <a:pt x="0" y="66"/>
                  </a:lnTo>
                  <a:lnTo>
                    <a:pt x="0" y="66"/>
                  </a:lnTo>
                  <a:lnTo>
                    <a:pt x="0" y="59"/>
                  </a:lnTo>
                  <a:lnTo>
                    <a:pt x="1" y="53"/>
                  </a:lnTo>
                  <a:lnTo>
                    <a:pt x="3" y="46"/>
                  </a:lnTo>
                  <a:lnTo>
                    <a:pt x="5" y="40"/>
                  </a:lnTo>
                  <a:lnTo>
                    <a:pt x="8" y="34"/>
                  </a:lnTo>
                  <a:lnTo>
                    <a:pt x="11" y="29"/>
                  </a:lnTo>
                  <a:lnTo>
                    <a:pt x="20" y="20"/>
                  </a:lnTo>
                  <a:lnTo>
                    <a:pt x="29" y="11"/>
                  </a:lnTo>
                  <a:lnTo>
                    <a:pt x="35" y="8"/>
                  </a:lnTo>
                  <a:lnTo>
                    <a:pt x="40" y="5"/>
                  </a:lnTo>
                  <a:lnTo>
                    <a:pt x="46" y="3"/>
                  </a:lnTo>
                  <a:lnTo>
                    <a:pt x="53" y="1"/>
                  </a:lnTo>
                  <a:lnTo>
                    <a:pt x="60" y="0"/>
                  </a:lnTo>
                  <a:lnTo>
                    <a:pt x="66" y="0"/>
                  </a:lnTo>
                  <a:lnTo>
                    <a:pt x="66" y="0"/>
                  </a:lnTo>
                  <a:lnTo>
                    <a:pt x="73" y="0"/>
                  </a:lnTo>
                  <a:lnTo>
                    <a:pt x="79" y="1"/>
                  </a:lnTo>
                  <a:lnTo>
                    <a:pt x="86" y="3"/>
                  </a:lnTo>
                  <a:lnTo>
                    <a:pt x="92" y="5"/>
                  </a:lnTo>
                  <a:lnTo>
                    <a:pt x="98" y="8"/>
                  </a:lnTo>
                  <a:lnTo>
                    <a:pt x="103" y="11"/>
                  </a:lnTo>
                  <a:lnTo>
                    <a:pt x="112" y="20"/>
                  </a:lnTo>
                  <a:lnTo>
                    <a:pt x="121" y="29"/>
                  </a:lnTo>
                  <a:lnTo>
                    <a:pt x="124" y="34"/>
                  </a:lnTo>
                  <a:lnTo>
                    <a:pt x="127" y="40"/>
                  </a:lnTo>
                  <a:lnTo>
                    <a:pt x="129" y="46"/>
                  </a:lnTo>
                  <a:lnTo>
                    <a:pt x="131" y="53"/>
                  </a:lnTo>
                  <a:lnTo>
                    <a:pt x="132" y="59"/>
                  </a:lnTo>
                  <a:lnTo>
                    <a:pt x="132" y="66"/>
                  </a:lnTo>
                  <a:lnTo>
                    <a:pt x="132" y="132"/>
                  </a:lnTo>
                  <a:lnTo>
                    <a:pt x="132" y="132"/>
                  </a:lnTo>
                  <a:lnTo>
                    <a:pt x="132" y="138"/>
                  </a:lnTo>
                  <a:lnTo>
                    <a:pt x="131" y="145"/>
                  </a:lnTo>
                  <a:lnTo>
                    <a:pt x="129" y="151"/>
                  </a:lnTo>
                  <a:lnTo>
                    <a:pt x="127" y="158"/>
                  </a:lnTo>
                  <a:lnTo>
                    <a:pt x="124" y="163"/>
                  </a:lnTo>
                  <a:lnTo>
                    <a:pt x="121" y="169"/>
                  </a:lnTo>
                  <a:lnTo>
                    <a:pt x="112" y="178"/>
                  </a:lnTo>
                  <a:lnTo>
                    <a:pt x="103" y="186"/>
                  </a:lnTo>
                  <a:lnTo>
                    <a:pt x="98" y="190"/>
                  </a:lnTo>
                  <a:lnTo>
                    <a:pt x="92" y="193"/>
                  </a:lnTo>
                  <a:lnTo>
                    <a:pt x="86" y="195"/>
                  </a:lnTo>
                  <a:lnTo>
                    <a:pt x="79" y="197"/>
                  </a:lnTo>
                  <a:lnTo>
                    <a:pt x="73" y="198"/>
                  </a:lnTo>
                  <a:lnTo>
                    <a:pt x="66" y="198"/>
                  </a:lnTo>
                  <a:lnTo>
                    <a:pt x="66" y="198"/>
                  </a:lnTo>
                  <a:close/>
                </a:path>
              </a:pathLst>
            </a:custGeom>
            <a:solidFill>
              <a:srgbClr val="CCBEAC"/>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8" name="Line 751">
              <a:extLst>
                <a:ext uri="{FF2B5EF4-FFF2-40B4-BE49-F238E27FC236}">
                  <a16:creationId xmlns:a16="http://schemas.microsoft.com/office/drawing/2014/main" id="{55D3D584-F1AC-BCCA-72B1-2D9E56F28AC1}"/>
                </a:ext>
              </a:extLst>
            </p:cNvPr>
            <p:cNvSpPr>
              <a:spLocks noChangeShapeType="1"/>
            </p:cNvSpPr>
            <p:nvPr/>
          </p:nvSpPr>
          <p:spPr bwMode="auto">
            <a:xfrm>
              <a:off x="4913313" y="3405188"/>
              <a:ext cx="1588" cy="1588"/>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29" name="Line 752">
              <a:extLst>
                <a:ext uri="{FF2B5EF4-FFF2-40B4-BE49-F238E27FC236}">
                  <a16:creationId xmlns:a16="http://schemas.microsoft.com/office/drawing/2014/main" id="{AC1FDD57-BCDB-16C3-2AE6-2BE53339476D}"/>
                </a:ext>
              </a:extLst>
            </p:cNvPr>
            <p:cNvSpPr>
              <a:spLocks noChangeShapeType="1"/>
            </p:cNvSpPr>
            <p:nvPr/>
          </p:nvSpPr>
          <p:spPr bwMode="auto">
            <a:xfrm>
              <a:off x="4913313" y="3405188"/>
              <a:ext cx="1588" cy="1588"/>
            </a:xfrm>
            <a:prstGeom prst="line">
              <a:avLst/>
            </a:prstGeom>
            <a:noFill/>
            <a:ln w="9525">
              <a:noFill/>
              <a:round/>
              <a:headEnd/>
              <a:tailEnd/>
            </a:ln>
          </p:spPr>
          <p:txBody>
            <a:bodyPr vert="horz" wrap="square" lIns="91440" tIns="45720" rIns="91440" bIns="45720" numCol="1" anchor="t" anchorCtr="0" compatLnSpc="1">
              <a:prstTxWarp prst="textNoShape">
                <a:avLst/>
              </a:prstTxWarp>
            </a:bodyPr>
            <a:lstStyle/>
            <a:p>
              <a:endParaRPr lang="en-GB"/>
            </a:p>
          </p:txBody>
        </p:sp>
        <p:sp>
          <p:nvSpPr>
            <p:cNvPr id="30" name="Freeform 753">
              <a:extLst>
                <a:ext uri="{FF2B5EF4-FFF2-40B4-BE49-F238E27FC236}">
                  <a16:creationId xmlns:a16="http://schemas.microsoft.com/office/drawing/2014/main" id="{ECFE3961-4793-D12B-534C-7DFFCA7D66AD}"/>
                </a:ext>
              </a:extLst>
            </p:cNvPr>
            <p:cNvSpPr>
              <a:spLocks/>
            </p:cNvSpPr>
            <p:nvPr/>
          </p:nvSpPr>
          <p:spPr bwMode="auto">
            <a:xfrm>
              <a:off x="4441826" y="3430588"/>
              <a:ext cx="655638" cy="588963"/>
            </a:xfrm>
            <a:custGeom>
              <a:avLst/>
              <a:gdLst/>
              <a:ahLst/>
              <a:cxnLst>
                <a:cxn ang="0">
                  <a:pos x="2375" y="1715"/>
                </a:cxn>
                <a:cxn ang="0">
                  <a:pos x="1257" y="2970"/>
                </a:cxn>
                <a:cxn ang="0">
                  <a:pos x="1308" y="2968"/>
                </a:cxn>
                <a:cxn ang="0">
                  <a:pos x="1411" y="2959"/>
                </a:cxn>
                <a:cxn ang="0">
                  <a:pos x="1513" y="2947"/>
                </a:cxn>
                <a:cxn ang="0">
                  <a:pos x="1613" y="2928"/>
                </a:cxn>
                <a:cxn ang="0">
                  <a:pos x="1711" y="2905"/>
                </a:cxn>
                <a:cxn ang="0">
                  <a:pos x="1808" y="2879"/>
                </a:cxn>
                <a:cxn ang="0">
                  <a:pos x="1903" y="2848"/>
                </a:cxn>
                <a:cxn ang="0">
                  <a:pos x="1995" y="2812"/>
                </a:cxn>
                <a:cxn ang="0">
                  <a:pos x="2085" y="2772"/>
                </a:cxn>
                <a:cxn ang="0">
                  <a:pos x="2174" y="2728"/>
                </a:cxn>
                <a:cxn ang="0">
                  <a:pos x="2259" y="2680"/>
                </a:cxn>
                <a:cxn ang="0">
                  <a:pos x="2343" y="2628"/>
                </a:cxn>
                <a:cxn ang="0">
                  <a:pos x="2423" y="2573"/>
                </a:cxn>
                <a:cxn ang="0">
                  <a:pos x="2501" y="2514"/>
                </a:cxn>
                <a:cxn ang="0">
                  <a:pos x="2576" y="2452"/>
                </a:cxn>
                <a:cxn ang="0">
                  <a:pos x="2648" y="2386"/>
                </a:cxn>
                <a:cxn ang="0">
                  <a:pos x="2717" y="2317"/>
                </a:cxn>
                <a:cxn ang="0">
                  <a:pos x="2783" y="2245"/>
                </a:cxn>
                <a:cxn ang="0">
                  <a:pos x="2844" y="2170"/>
                </a:cxn>
                <a:cxn ang="0">
                  <a:pos x="2904" y="2093"/>
                </a:cxn>
                <a:cxn ang="0">
                  <a:pos x="2959" y="2012"/>
                </a:cxn>
                <a:cxn ang="0">
                  <a:pos x="3010" y="1929"/>
                </a:cxn>
                <a:cxn ang="0">
                  <a:pos x="3059" y="1843"/>
                </a:cxn>
                <a:cxn ang="0">
                  <a:pos x="3102" y="1755"/>
                </a:cxn>
                <a:cxn ang="0">
                  <a:pos x="3142" y="1664"/>
                </a:cxn>
                <a:cxn ang="0">
                  <a:pos x="3178" y="1572"/>
                </a:cxn>
                <a:cxn ang="0">
                  <a:pos x="3209" y="1478"/>
                </a:cxn>
                <a:cxn ang="0">
                  <a:pos x="3237" y="1381"/>
                </a:cxn>
                <a:cxn ang="0">
                  <a:pos x="3260" y="1283"/>
                </a:cxn>
                <a:cxn ang="0">
                  <a:pos x="3277" y="1183"/>
                </a:cxn>
                <a:cxn ang="0">
                  <a:pos x="3291" y="1081"/>
                </a:cxn>
                <a:cxn ang="0">
                  <a:pos x="3299" y="978"/>
                </a:cxn>
                <a:cxn ang="0">
                  <a:pos x="2375" y="0"/>
                </a:cxn>
              </a:cxnLst>
              <a:rect l="0" t="0" r="r" b="b"/>
              <a:pathLst>
                <a:path w="3301" h="2970">
                  <a:moveTo>
                    <a:pt x="2375" y="0"/>
                  </a:moveTo>
                  <a:lnTo>
                    <a:pt x="2375" y="1715"/>
                  </a:lnTo>
                  <a:lnTo>
                    <a:pt x="0" y="1715"/>
                  </a:lnTo>
                  <a:lnTo>
                    <a:pt x="1257" y="2970"/>
                  </a:lnTo>
                  <a:lnTo>
                    <a:pt x="1257" y="2970"/>
                  </a:lnTo>
                  <a:lnTo>
                    <a:pt x="1308" y="2968"/>
                  </a:lnTo>
                  <a:lnTo>
                    <a:pt x="1361" y="2964"/>
                  </a:lnTo>
                  <a:lnTo>
                    <a:pt x="1411" y="2959"/>
                  </a:lnTo>
                  <a:lnTo>
                    <a:pt x="1463" y="2954"/>
                  </a:lnTo>
                  <a:lnTo>
                    <a:pt x="1513" y="2947"/>
                  </a:lnTo>
                  <a:lnTo>
                    <a:pt x="1564" y="2938"/>
                  </a:lnTo>
                  <a:lnTo>
                    <a:pt x="1613" y="2928"/>
                  </a:lnTo>
                  <a:lnTo>
                    <a:pt x="1663" y="2918"/>
                  </a:lnTo>
                  <a:lnTo>
                    <a:pt x="1711" y="2905"/>
                  </a:lnTo>
                  <a:lnTo>
                    <a:pt x="1759" y="2893"/>
                  </a:lnTo>
                  <a:lnTo>
                    <a:pt x="1808" y="2879"/>
                  </a:lnTo>
                  <a:lnTo>
                    <a:pt x="1855" y="2863"/>
                  </a:lnTo>
                  <a:lnTo>
                    <a:pt x="1903" y="2848"/>
                  </a:lnTo>
                  <a:lnTo>
                    <a:pt x="1949" y="2830"/>
                  </a:lnTo>
                  <a:lnTo>
                    <a:pt x="1995" y="2812"/>
                  </a:lnTo>
                  <a:lnTo>
                    <a:pt x="2041" y="2792"/>
                  </a:lnTo>
                  <a:lnTo>
                    <a:pt x="2085" y="2772"/>
                  </a:lnTo>
                  <a:lnTo>
                    <a:pt x="2129" y="2750"/>
                  </a:lnTo>
                  <a:lnTo>
                    <a:pt x="2174" y="2728"/>
                  </a:lnTo>
                  <a:lnTo>
                    <a:pt x="2217" y="2705"/>
                  </a:lnTo>
                  <a:lnTo>
                    <a:pt x="2259" y="2680"/>
                  </a:lnTo>
                  <a:lnTo>
                    <a:pt x="2301" y="2655"/>
                  </a:lnTo>
                  <a:lnTo>
                    <a:pt x="2343" y="2628"/>
                  </a:lnTo>
                  <a:lnTo>
                    <a:pt x="2383" y="2602"/>
                  </a:lnTo>
                  <a:lnTo>
                    <a:pt x="2423" y="2573"/>
                  </a:lnTo>
                  <a:lnTo>
                    <a:pt x="2462" y="2544"/>
                  </a:lnTo>
                  <a:lnTo>
                    <a:pt x="2501" y="2514"/>
                  </a:lnTo>
                  <a:lnTo>
                    <a:pt x="2538" y="2483"/>
                  </a:lnTo>
                  <a:lnTo>
                    <a:pt x="2576" y="2452"/>
                  </a:lnTo>
                  <a:lnTo>
                    <a:pt x="2613" y="2419"/>
                  </a:lnTo>
                  <a:lnTo>
                    <a:pt x="2648" y="2386"/>
                  </a:lnTo>
                  <a:lnTo>
                    <a:pt x="2683" y="2352"/>
                  </a:lnTo>
                  <a:lnTo>
                    <a:pt x="2717" y="2317"/>
                  </a:lnTo>
                  <a:lnTo>
                    <a:pt x="2750" y="2281"/>
                  </a:lnTo>
                  <a:lnTo>
                    <a:pt x="2783" y="2245"/>
                  </a:lnTo>
                  <a:lnTo>
                    <a:pt x="2815" y="2208"/>
                  </a:lnTo>
                  <a:lnTo>
                    <a:pt x="2844" y="2170"/>
                  </a:lnTo>
                  <a:lnTo>
                    <a:pt x="2874" y="2132"/>
                  </a:lnTo>
                  <a:lnTo>
                    <a:pt x="2904" y="2093"/>
                  </a:lnTo>
                  <a:lnTo>
                    <a:pt x="2932" y="2052"/>
                  </a:lnTo>
                  <a:lnTo>
                    <a:pt x="2959" y="2012"/>
                  </a:lnTo>
                  <a:lnTo>
                    <a:pt x="2986" y="1971"/>
                  </a:lnTo>
                  <a:lnTo>
                    <a:pt x="3010" y="1929"/>
                  </a:lnTo>
                  <a:lnTo>
                    <a:pt x="3035" y="1887"/>
                  </a:lnTo>
                  <a:lnTo>
                    <a:pt x="3059" y="1843"/>
                  </a:lnTo>
                  <a:lnTo>
                    <a:pt x="3081" y="1799"/>
                  </a:lnTo>
                  <a:lnTo>
                    <a:pt x="3102" y="1755"/>
                  </a:lnTo>
                  <a:lnTo>
                    <a:pt x="3123" y="1710"/>
                  </a:lnTo>
                  <a:lnTo>
                    <a:pt x="3142" y="1664"/>
                  </a:lnTo>
                  <a:lnTo>
                    <a:pt x="3161" y="1619"/>
                  </a:lnTo>
                  <a:lnTo>
                    <a:pt x="3178" y="1572"/>
                  </a:lnTo>
                  <a:lnTo>
                    <a:pt x="3195" y="1525"/>
                  </a:lnTo>
                  <a:lnTo>
                    <a:pt x="3209" y="1478"/>
                  </a:lnTo>
                  <a:lnTo>
                    <a:pt x="3224" y="1429"/>
                  </a:lnTo>
                  <a:lnTo>
                    <a:pt x="3237" y="1381"/>
                  </a:lnTo>
                  <a:lnTo>
                    <a:pt x="3248" y="1332"/>
                  </a:lnTo>
                  <a:lnTo>
                    <a:pt x="3260" y="1283"/>
                  </a:lnTo>
                  <a:lnTo>
                    <a:pt x="3269" y="1232"/>
                  </a:lnTo>
                  <a:lnTo>
                    <a:pt x="3277" y="1183"/>
                  </a:lnTo>
                  <a:lnTo>
                    <a:pt x="3284" y="1133"/>
                  </a:lnTo>
                  <a:lnTo>
                    <a:pt x="3291" y="1081"/>
                  </a:lnTo>
                  <a:lnTo>
                    <a:pt x="3295" y="1029"/>
                  </a:lnTo>
                  <a:lnTo>
                    <a:pt x="3299" y="978"/>
                  </a:lnTo>
                  <a:lnTo>
                    <a:pt x="3301" y="926"/>
                  </a:lnTo>
                  <a:lnTo>
                    <a:pt x="2375" y="0"/>
                  </a:lnTo>
                  <a:close/>
                </a:path>
              </a:pathLst>
            </a:custGeom>
            <a:solidFill>
              <a:srgbClr val="3C9987"/>
            </a:solidFill>
            <a:ln w="9525">
              <a:noFill/>
              <a:round/>
              <a:headEnd/>
              <a:tailEnd/>
            </a:ln>
          </p:spPr>
          <p:txBody>
            <a:bodyPr vert="horz" wrap="square" lIns="91440" tIns="45720" rIns="91440" bIns="45720" numCol="1" anchor="t" anchorCtr="0" compatLnSpc="1">
              <a:prstTxWarp prst="textNoShape">
                <a:avLst/>
              </a:prstTxWarp>
            </a:bodyPr>
            <a:lstStyle/>
            <a:p>
              <a:endParaRPr lang="en-GB"/>
            </a:p>
          </p:txBody>
        </p:sp>
      </p:grpSp>
      <p:sp>
        <p:nvSpPr>
          <p:cNvPr id="31" name="Segnaposto numero diapositiva 30">
            <a:extLst>
              <a:ext uri="{FF2B5EF4-FFF2-40B4-BE49-F238E27FC236}">
                <a16:creationId xmlns:a16="http://schemas.microsoft.com/office/drawing/2014/main" id="{79DB4072-67C8-0D2C-5905-F8A3EFA86E94}"/>
              </a:ext>
            </a:extLst>
          </p:cNvPr>
          <p:cNvSpPr>
            <a:spLocks noGrp="1"/>
          </p:cNvSpPr>
          <p:nvPr>
            <p:ph type="sldNum" sz="quarter" idx="12"/>
          </p:nvPr>
        </p:nvSpPr>
        <p:spPr/>
        <p:txBody>
          <a:bodyPr/>
          <a:lstStyle/>
          <a:p>
            <a:fld id="{00F0C1FD-41C3-4D85-8E51-9C56B45C685D}" type="slidenum">
              <a:rPr lang="it-IT" smtClean="0"/>
              <a:t>13</a:t>
            </a:fld>
            <a:endParaRPr lang="it-IT"/>
          </a:p>
        </p:txBody>
      </p:sp>
      <p:grpSp>
        <p:nvGrpSpPr>
          <p:cNvPr id="32" name="Group 406">
            <a:extLst>
              <a:ext uri="{FF2B5EF4-FFF2-40B4-BE49-F238E27FC236}">
                <a16:creationId xmlns:a16="http://schemas.microsoft.com/office/drawing/2014/main" id="{82CA9A7A-6781-5CE6-60FE-929265520082}"/>
              </a:ext>
            </a:extLst>
          </p:cNvPr>
          <p:cNvGrpSpPr/>
          <p:nvPr/>
        </p:nvGrpSpPr>
        <p:grpSpPr>
          <a:xfrm>
            <a:off x="910387" y="1467163"/>
            <a:ext cx="684000" cy="684000"/>
            <a:chOff x="3144838" y="0"/>
            <a:chExt cx="1112838" cy="1114425"/>
          </a:xfrm>
        </p:grpSpPr>
        <p:sp>
          <p:nvSpPr>
            <p:cNvPr id="33" name="Freeform 7">
              <a:extLst>
                <a:ext uri="{FF2B5EF4-FFF2-40B4-BE49-F238E27FC236}">
                  <a16:creationId xmlns:a16="http://schemas.microsoft.com/office/drawing/2014/main" id="{4F31F117-D02E-9D8F-98FF-97FFC8B02156}"/>
                </a:ext>
              </a:extLst>
            </p:cNvPr>
            <p:cNvSpPr>
              <a:spLocks/>
            </p:cNvSpPr>
            <p:nvPr/>
          </p:nvSpPr>
          <p:spPr bwMode="auto">
            <a:xfrm>
              <a:off x="3144838" y="0"/>
              <a:ext cx="1112838" cy="1114425"/>
            </a:xfrm>
            <a:custGeom>
              <a:avLst/>
              <a:gdLst>
                <a:gd name="T0" fmla="*/ 332 w 701"/>
                <a:gd name="T1" fmla="*/ 701 h 702"/>
                <a:gd name="T2" fmla="*/ 280 w 701"/>
                <a:gd name="T3" fmla="*/ 695 h 702"/>
                <a:gd name="T4" fmla="*/ 230 w 701"/>
                <a:gd name="T5" fmla="*/ 680 h 702"/>
                <a:gd name="T6" fmla="*/ 183 w 701"/>
                <a:gd name="T7" fmla="*/ 659 h 702"/>
                <a:gd name="T8" fmla="*/ 141 w 701"/>
                <a:gd name="T9" fmla="*/ 632 h 702"/>
                <a:gd name="T10" fmla="*/ 103 w 701"/>
                <a:gd name="T11" fmla="*/ 598 h 702"/>
                <a:gd name="T12" fmla="*/ 69 w 701"/>
                <a:gd name="T13" fmla="*/ 561 h 702"/>
                <a:gd name="T14" fmla="*/ 42 w 701"/>
                <a:gd name="T15" fmla="*/ 518 h 702"/>
                <a:gd name="T16" fmla="*/ 21 w 701"/>
                <a:gd name="T17" fmla="*/ 471 h 702"/>
                <a:gd name="T18" fmla="*/ 7 w 701"/>
                <a:gd name="T19" fmla="*/ 422 h 702"/>
                <a:gd name="T20" fmla="*/ 0 w 701"/>
                <a:gd name="T21" fmla="*/ 369 h 702"/>
                <a:gd name="T22" fmla="*/ 0 w 701"/>
                <a:gd name="T23" fmla="*/ 333 h 702"/>
                <a:gd name="T24" fmla="*/ 7 w 701"/>
                <a:gd name="T25" fmla="*/ 280 h 702"/>
                <a:gd name="T26" fmla="*/ 21 w 701"/>
                <a:gd name="T27" fmla="*/ 231 h 702"/>
                <a:gd name="T28" fmla="*/ 42 w 701"/>
                <a:gd name="T29" fmla="*/ 184 h 702"/>
                <a:gd name="T30" fmla="*/ 69 w 701"/>
                <a:gd name="T31" fmla="*/ 142 h 702"/>
                <a:gd name="T32" fmla="*/ 103 w 701"/>
                <a:gd name="T33" fmla="*/ 104 h 702"/>
                <a:gd name="T34" fmla="*/ 141 w 701"/>
                <a:gd name="T35" fmla="*/ 70 h 702"/>
                <a:gd name="T36" fmla="*/ 183 w 701"/>
                <a:gd name="T37" fmla="*/ 43 h 702"/>
                <a:gd name="T38" fmla="*/ 230 w 701"/>
                <a:gd name="T39" fmla="*/ 22 h 702"/>
                <a:gd name="T40" fmla="*/ 280 w 701"/>
                <a:gd name="T41" fmla="*/ 7 h 702"/>
                <a:gd name="T42" fmla="*/ 332 w 701"/>
                <a:gd name="T43" fmla="*/ 1 h 702"/>
                <a:gd name="T44" fmla="*/ 368 w 701"/>
                <a:gd name="T45" fmla="*/ 1 h 702"/>
                <a:gd name="T46" fmla="*/ 421 w 701"/>
                <a:gd name="T47" fmla="*/ 7 h 702"/>
                <a:gd name="T48" fmla="*/ 470 w 701"/>
                <a:gd name="T49" fmla="*/ 22 h 702"/>
                <a:gd name="T50" fmla="*/ 517 w 701"/>
                <a:gd name="T51" fmla="*/ 43 h 702"/>
                <a:gd name="T52" fmla="*/ 560 w 701"/>
                <a:gd name="T53" fmla="*/ 70 h 702"/>
                <a:gd name="T54" fmla="*/ 599 w 701"/>
                <a:gd name="T55" fmla="*/ 104 h 702"/>
                <a:gd name="T56" fmla="*/ 631 w 701"/>
                <a:gd name="T57" fmla="*/ 142 h 702"/>
                <a:gd name="T58" fmla="*/ 659 w 701"/>
                <a:gd name="T59" fmla="*/ 184 h 702"/>
                <a:gd name="T60" fmla="*/ 680 w 701"/>
                <a:gd name="T61" fmla="*/ 231 h 702"/>
                <a:gd name="T62" fmla="*/ 693 w 701"/>
                <a:gd name="T63" fmla="*/ 280 h 702"/>
                <a:gd name="T64" fmla="*/ 701 w 701"/>
                <a:gd name="T65" fmla="*/ 333 h 702"/>
                <a:gd name="T66" fmla="*/ 701 w 701"/>
                <a:gd name="T67" fmla="*/ 369 h 702"/>
                <a:gd name="T68" fmla="*/ 693 w 701"/>
                <a:gd name="T69" fmla="*/ 422 h 702"/>
                <a:gd name="T70" fmla="*/ 680 w 701"/>
                <a:gd name="T71" fmla="*/ 471 h 702"/>
                <a:gd name="T72" fmla="*/ 659 w 701"/>
                <a:gd name="T73" fmla="*/ 518 h 702"/>
                <a:gd name="T74" fmla="*/ 631 w 701"/>
                <a:gd name="T75" fmla="*/ 561 h 702"/>
                <a:gd name="T76" fmla="*/ 599 w 701"/>
                <a:gd name="T77" fmla="*/ 598 h 702"/>
                <a:gd name="T78" fmla="*/ 560 w 701"/>
                <a:gd name="T79" fmla="*/ 632 h 702"/>
                <a:gd name="T80" fmla="*/ 517 w 701"/>
                <a:gd name="T81" fmla="*/ 659 h 702"/>
                <a:gd name="T82" fmla="*/ 470 w 701"/>
                <a:gd name="T83" fmla="*/ 680 h 702"/>
                <a:gd name="T84" fmla="*/ 421 w 701"/>
                <a:gd name="T85" fmla="*/ 695 h 702"/>
                <a:gd name="T86" fmla="*/ 368 w 701"/>
                <a:gd name="T8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1" y="702"/>
                  </a:moveTo>
                  <a:lnTo>
                    <a:pt x="351" y="702"/>
                  </a:lnTo>
                  <a:lnTo>
                    <a:pt x="332" y="701"/>
                  </a:lnTo>
                  <a:lnTo>
                    <a:pt x="315" y="699"/>
                  </a:lnTo>
                  <a:lnTo>
                    <a:pt x="298" y="697"/>
                  </a:lnTo>
                  <a:lnTo>
                    <a:pt x="280" y="695"/>
                  </a:lnTo>
                  <a:lnTo>
                    <a:pt x="263" y="691"/>
                  </a:lnTo>
                  <a:lnTo>
                    <a:pt x="246" y="686"/>
                  </a:lnTo>
                  <a:lnTo>
                    <a:pt x="230" y="680"/>
                  </a:lnTo>
                  <a:lnTo>
                    <a:pt x="214" y="674"/>
                  </a:lnTo>
                  <a:lnTo>
                    <a:pt x="199" y="667"/>
                  </a:lnTo>
                  <a:lnTo>
                    <a:pt x="183" y="659"/>
                  </a:lnTo>
                  <a:lnTo>
                    <a:pt x="168" y="651"/>
                  </a:lnTo>
                  <a:lnTo>
                    <a:pt x="155" y="641"/>
                  </a:lnTo>
                  <a:lnTo>
                    <a:pt x="141" y="632"/>
                  </a:lnTo>
                  <a:lnTo>
                    <a:pt x="127" y="622"/>
                  </a:lnTo>
                  <a:lnTo>
                    <a:pt x="115" y="611"/>
                  </a:lnTo>
                  <a:lnTo>
                    <a:pt x="103" y="598"/>
                  </a:lnTo>
                  <a:lnTo>
                    <a:pt x="90" y="587"/>
                  </a:lnTo>
                  <a:lnTo>
                    <a:pt x="81" y="574"/>
                  </a:lnTo>
                  <a:lnTo>
                    <a:pt x="69" y="561"/>
                  </a:lnTo>
                  <a:lnTo>
                    <a:pt x="60" y="546"/>
                  </a:lnTo>
                  <a:lnTo>
                    <a:pt x="51" y="533"/>
                  </a:lnTo>
                  <a:lnTo>
                    <a:pt x="42" y="518"/>
                  </a:lnTo>
                  <a:lnTo>
                    <a:pt x="35" y="503"/>
                  </a:lnTo>
                  <a:lnTo>
                    <a:pt x="27" y="487"/>
                  </a:lnTo>
                  <a:lnTo>
                    <a:pt x="21" y="471"/>
                  </a:lnTo>
                  <a:lnTo>
                    <a:pt x="15" y="455"/>
                  </a:lnTo>
                  <a:lnTo>
                    <a:pt x="11" y="439"/>
                  </a:lnTo>
                  <a:lnTo>
                    <a:pt x="7" y="422"/>
                  </a:lnTo>
                  <a:lnTo>
                    <a:pt x="4" y="405"/>
                  </a:lnTo>
                  <a:lnTo>
                    <a:pt x="2" y="387"/>
                  </a:lnTo>
                  <a:lnTo>
                    <a:pt x="0" y="369"/>
                  </a:lnTo>
                  <a:lnTo>
                    <a:pt x="0" y="352"/>
                  </a:lnTo>
                  <a:lnTo>
                    <a:pt x="0" y="352"/>
                  </a:lnTo>
                  <a:lnTo>
                    <a:pt x="0" y="333"/>
                  </a:lnTo>
                  <a:lnTo>
                    <a:pt x="2" y="316"/>
                  </a:lnTo>
                  <a:lnTo>
                    <a:pt x="4" y="297"/>
                  </a:lnTo>
                  <a:lnTo>
                    <a:pt x="7" y="280"/>
                  </a:lnTo>
                  <a:lnTo>
                    <a:pt x="11" y="264"/>
                  </a:lnTo>
                  <a:lnTo>
                    <a:pt x="15" y="247"/>
                  </a:lnTo>
                  <a:lnTo>
                    <a:pt x="21" y="231"/>
                  </a:lnTo>
                  <a:lnTo>
                    <a:pt x="27" y="215"/>
                  </a:lnTo>
                  <a:lnTo>
                    <a:pt x="35" y="199"/>
                  </a:lnTo>
                  <a:lnTo>
                    <a:pt x="42" y="184"/>
                  </a:lnTo>
                  <a:lnTo>
                    <a:pt x="51" y="169"/>
                  </a:lnTo>
                  <a:lnTo>
                    <a:pt x="60" y="155"/>
                  </a:lnTo>
                  <a:lnTo>
                    <a:pt x="69" y="142"/>
                  </a:lnTo>
                  <a:lnTo>
                    <a:pt x="81" y="128"/>
                  </a:lnTo>
                  <a:lnTo>
                    <a:pt x="90" y="116"/>
                  </a:lnTo>
                  <a:lnTo>
                    <a:pt x="103" y="104"/>
                  </a:lnTo>
                  <a:lnTo>
                    <a:pt x="115" y="91"/>
                  </a:lnTo>
                  <a:lnTo>
                    <a:pt x="127" y="80"/>
                  </a:lnTo>
                  <a:lnTo>
                    <a:pt x="141" y="70"/>
                  </a:lnTo>
                  <a:lnTo>
                    <a:pt x="155" y="60"/>
                  </a:lnTo>
                  <a:lnTo>
                    <a:pt x="168" y="52"/>
                  </a:lnTo>
                  <a:lnTo>
                    <a:pt x="183" y="43"/>
                  </a:lnTo>
                  <a:lnTo>
                    <a:pt x="199" y="35"/>
                  </a:lnTo>
                  <a:lnTo>
                    <a:pt x="214" y="28"/>
                  </a:lnTo>
                  <a:lnTo>
                    <a:pt x="230" y="22"/>
                  </a:lnTo>
                  <a:lnTo>
                    <a:pt x="246" y="16"/>
                  </a:lnTo>
                  <a:lnTo>
                    <a:pt x="263" y="11"/>
                  </a:lnTo>
                  <a:lnTo>
                    <a:pt x="280" y="7"/>
                  </a:lnTo>
                  <a:lnTo>
                    <a:pt x="298" y="5"/>
                  </a:lnTo>
                  <a:lnTo>
                    <a:pt x="315" y="2"/>
                  </a:lnTo>
                  <a:lnTo>
                    <a:pt x="332" y="1"/>
                  </a:lnTo>
                  <a:lnTo>
                    <a:pt x="351" y="0"/>
                  </a:lnTo>
                  <a:lnTo>
                    <a:pt x="351" y="0"/>
                  </a:lnTo>
                  <a:lnTo>
                    <a:pt x="368" y="1"/>
                  </a:lnTo>
                  <a:lnTo>
                    <a:pt x="386" y="2"/>
                  </a:lnTo>
                  <a:lnTo>
                    <a:pt x="404" y="5"/>
                  </a:lnTo>
                  <a:lnTo>
                    <a:pt x="421" y="7"/>
                  </a:lnTo>
                  <a:lnTo>
                    <a:pt x="438" y="11"/>
                  </a:lnTo>
                  <a:lnTo>
                    <a:pt x="454" y="16"/>
                  </a:lnTo>
                  <a:lnTo>
                    <a:pt x="470" y="22"/>
                  </a:lnTo>
                  <a:lnTo>
                    <a:pt x="486" y="28"/>
                  </a:lnTo>
                  <a:lnTo>
                    <a:pt x="502" y="35"/>
                  </a:lnTo>
                  <a:lnTo>
                    <a:pt x="517" y="43"/>
                  </a:lnTo>
                  <a:lnTo>
                    <a:pt x="532" y="52"/>
                  </a:lnTo>
                  <a:lnTo>
                    <a:pt x="547" y="60"/>
                  </a:lnTo>
                  <a:lnTo>
                    <a:pt x="560" y="70"/>
                  </a:lnTo>
                  <a:lnTo>
                    <a:pt x="574" y="80"/>
                  </a:lnTo>
                  <a:lnTo>
                    <a:pt x="586" y="91"/>
                  </a:lnTo>
                  <a:lnTo>
                    <a:pt x="599" y="104"/>
                  </a:lnTo>
                  <a:lnTo>
                    <a:pt x="610" y="116"/>
                  </a:lnTo>
                  <a:lnTo>
                    <a:pt x="621" y="128"/>
                  </a:lnTo>
                  <a:lnTo>
                    <a:pt x="631" y="142"/>
                  </a:lnTo>
                  <a:lnTo>
                    <a:pt x="640" y="155"/>
                  </a:lnTo>
                  <a:lnTo>
                    <a:pt x="650" y="169"/>
                  </a:lnTo>
                  <a:lnTo>
                    <a:pt x="659" y="184"/>
                  </a:lnTo>
                  <a:lnTo>
                    <a:pt x="666" y="199"/>
                  </a:lnTo>
                  <a:lnTo>
                    <a:pt x="674" y="215"/>
                  </a:lnTo>
                  <a:lnTo>
                    <a:pt x="680" y="231"/>
                  </a:lnTo>
                  <a:lnTo>
                    <a:pt x="685" y="247"/>
                  </a:lnTo>
                  <a:lnTo>
                    <a:pt x="690" y="264"/>
                  </a:lnTo>
                  <a:lnTo>
                    <a:pt x="693" y="280"/>
                  </a:lnTo>
                  <a:lnTo>
                    <a:pt x="697" y="297"/>
                  </a:lnTo>
                  <a:lnTo>
                    <a:pt x="698" y="316"/>
                  </a:lnTo>
                  <a:lnTo>
                    <a:pt x="701" y="333"/>
                  </a:lnTo>
                  <a:lnTo>
                    <a:pt x="701" y="352"/>
                  </a:lnTo>
                  <a:lnTo>
                    <a:pt x="701" y="352"/>
                  </a:lnTo>
                  <a:lnTo>
                    <a:pt x="701" y="369"/>
                  </a:lnTo>
                  <a:lnTo>
                    <a:pt x="698" y="387"/>
                  </a:lnTo>
                  <a:lnTo>
                    <a:pt x="697" y="405"/>
                  </a:lnTo>
                  <a:lnTo>
                    <a:pt x="693" y="422"/>
                  </a:lnTo>
                  <a:lnTo>
                    <a:pt x="690" y="439"/>
                  </a:lnTo>
                  <a:lnTo>
                    <a:pt x="685" y="455"/>
                  </a:lnTo>
                  <a:lnTo>
                    <a:pt x="680" y="471"/>
                  </a:lnTo>
                  <a:lnTo>
                    <a:pt x="674" y="487"/>
                  </a:lnTo>
                  <a:lnTo>
                    <a:pt x="666" y="503"/>
                  </a:lnTo>
                  <a:lnTo>
                    <a:pt x="659" y="518"/>
                  </a:lnTo>
                  <a:lnTo>
                    <a:pt x="650" y="533"/>
                  </a:lnTo>
                  <a:lnTo>
                    <a:pt x="640" y="546"/>
                  </a:lnTo>
                  <a:lnTo>
                    <a:pt x="631" y="561"/>
                  </a:lnTo>
                  <a:lnTo>
                    <a:pt x="621" y="574"/>
                  </a:lnTo>
                  <a:lnTo>
                    <a:pt x="610" y="587"/>
                  </a:lnTo>
                  <a:lnTo>
                    <a:pt x="599" y="598"/>
                  </a:lnTo>
                  <a:lnTo>
                    <a:pt x="586" y="611"/>
                  </a:lnTo>
                  <a:lnTo>
                    <a:pt x="574" y="622"/>
                  </a:lnTo>
                  <a:lnTo>
                    <a:pt x="560" y="632"/>
                  </a:lnTo>
                  <a:lnTo>
                    <a:pt x="547" y="641"/>
                  </a:lnTo>
                  <a:lnTo>
                    <a:pt x="532" y="651"/>
                  </a:lnTo>
                  <a:lnTo>
                    <a:pt x="517" y="659"/>
                  </a:lnTo>
                  <a:lnTo>
                    <a:pt x="502" y="667"/>
                  </a:lnTo>
                  <a:lnTo>
                    <a:pt x="486" y="674"/>
                  </a:lnTo>
                  <a:lnTo>
                    <a:pt x="470" y="680"/>
                  </a:lnTo>
                  <a:lnTo>
                    <a:pt x="454" y="686"/>
                  </a:lnTo>
                  <a:lnTo>
                    <a:pt x="438" y="691"/>
                  </a:lnTo>
                  <a:lnTo>
                    <a:pt x="421" y="695"/>
                  </a:lnTo>
                  <a:lnTo>
                    <a:pt x="404" y="697"/>
                  </a:lnTo>
                  <a:lnTo>
                    <a:pt x="386" y="699"/>
                  </a:lnTo>
                  <a:lnTo>
                    <a:pt x="368" y="701"/>
                  </a:lnTo>
                  <a:lnTo>
                    <a:pt x="351" y="702"/>
                  </a:lnTo>
                  <a:lnTo>
                    <a:pt x="351" y="702"/>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202">
              <a:extLst>
                <a:ext uri="{FF2B5EF4-FFF2-40B4-BE49-F238E27FC236}">
                  <a16:creationId xmlns:a16="http://schemas.microsoft.com/office/drawing/2014/main" id="{BC37D10B-AD36-3F99-2501-0EA6A46541B3}"/>
                </a:ext>
              </a:extLst>
            </p:cNvPr>
            <p:cNvSpPr>
              <a:spLocks/>
            </p:cNvSpPr>
            <p:nvPr/>
          </p:nvSpPr>
          <p:spPr bwMode="auto">
            <a:xfrm>
              <a:off x="3392488" y="244475"/>
              <a:ext cx="841375" cy="844550"/>
            </a:xfrm>
            <a:custGeom>
              <a:avLst/>
              <a:gdLst>
                <a:gd name="T0" fmla="*/ 343 w 530"/>
                <a:gd name="T1" fmla="*/ 110 h 532"/>
                <a:gd name="T2" fmla="*/ 340 w 530"/>
                <a:gd name="T3" fmla="*/ 109 h 532"/>
                <a:gd name="T4" fmla="*/ 311 w 530"/>
                <a:gd name="T5" fmla="*/ 79 h 532"/>
                <a:gd name="T6" fmla="*/ 277 w 530"/>
                <a:gd name="T7" fmla="*/ 58 h 532"/>
                <a:gd name="T8" fmla="*/ 275 w 530"/>
                <a:gd name="T9" fmla="*/ 58 h 532"/>
                <a:gd name="T10" fmla="*/ 269 w 530"/>
                <a:gd name="T11" fmla="*/ 59 h 532"/>
                <a:gd name="T12" fmla="*/ 260 w 530"/>
                <a:gd name="T13" fmla="*/ 72 h 532"/>
                <a:gd name="T14" fmla="*/ 234 w 530"/>
                <a:gd name="T15" fmla="*/ 46 h 532"/>
                <a:gd name="T16" fmla="*/ 229 w 530"/>
                <a:gd name="T17" fmla="*/ 40 h 532"/>
                <a:gd name="T18" fmla="*/ 208 w 530"/>
                <a:gd name="T19" fmla="*/ 24 h 532"/>
                <a:gd name="T20" fmla="*/ 185 w 530"/>
                <a:gd name="T21" fmla="*/ 11 h 532"/>
                <a:gd name="T22" fmla="*/ 160 w 530"/>
                <a:gd name="T23" fmla="*/ 4 h 532"/>
                <a:gd name="T24" fmla="*/ 134 w 530"/>
                <a:gd name="T25" fmla="*/ 0 h 532"/>
                <a:gd name="T26" fmla="*/ 121 w 530"/>
                <a:gd name="T27" fmla="*/ 1 h 532"/>
                <a:gd name="T28" fmla="*/ 95 w 530"/>
                <a:gd name="T29" fmla="*/ 6 h 532"/>
                <a:gd name="T30" fmla="*/ 70 w 530"/>
                <a:gd name="T31" fmla="*/ 16 h 532"/>
                <a:gd name="T32" fmla="*/ 49 w 530"/>
                <a:gd name="T33" fmla="*/ 31 h 532"/>
                <a:gd name="T34" fmla="*/ 39 w 530"/>
                <a:gd name="T35" fmla="*/ 40 h 532"/>
                <a:gd name="T36" fmla="*/ 22 w 530"/>
                <a:gd name="T37" fmla="*/ 61 h 532"/>
                <a:gd name="T38" fmla="*/ 10 w 530"/>
                <a:gd name="T39" fmla="*/ 84 h 532"/>
                <a:gd name="T40" fmla="*/ 2 w 530"/>
                <a:gd name="T41" fmla="*/ 109 h 532"/>
                <a:gd name="T42" fmla="*/ 0 w 530"/>
                <a:gd name="T43" fmla="*/ 135 h 532"/>
                <a:gd name="T44" fmla="*/ 0 w 530"/>
                <a:gd name="T45" fmla="*/ 149 h 532"/>
                <a:gd name="T46" fmla="*/ 6 w 530"/>
                <a:gd name="T47" fmla="*/ 177 h 532"/>
                <a:gd name="T48" fmla="*/ 17 w 530"/>
                <a:gd name="T49" fmla="*/ 201 h 532"/>
                <a:gd name="T50" fmla="*/ 33 w 530"/>
                <a:gd name="T51" fmla="*/ 223 h 532"/>
                <a:gd name="T52" fmla="*/ 74 w 530"/>
                <a:gd name="T53" fmla="*/ 264 h 532"/>
                <a:gd name="T54" fmla="*/ 63 w 530"/>
                <a:gd name="T55" fmla="*/ 270 h 532"/>
                <a:gd name="T56" fmla="*/ 59 w 530"/>
                <a:gd name="T57" fmla="*/ 275 h 532"/>
                <a:gd name="T58" fmla="*/ 59 w 530"/>
                <a:gd name="T59" fmla="*/ 283 h 532"/>
                <a:gd name="T60" fmla="*/ 76 w 530"/>
                <a:gd name="T61" fmla="*/ 312 h 532"/>
                <a:gd name="T62" fmla="*/ 79 w 530"/>
                <a:gd name="T63" fmla="*/ 315 h 532"/>
                <a:gd name="T64" fmla="*/ 296 w 530"/>
                <a:gd name="T65" fmla="*/ 532 h 532"/>
                <a:gd name="T66" fmla="*/ 336 w 530"/>
                <a:gd name="T67" fmla="*/ 517 h 532"/>
                <a:gd name="T68" fmla="*/ 375 w 530"/>
                <a:gd name="T69" fmla="*/ 496 h 532"/>
                <a:gd name="T70" fmla="*/ 410 w 530"/>
                <a:gd name="T71" fmla="*/ 473 h 532"/>
                <a:gd name="T72" fmla="*/ 443 w 530"/>
                <a:gd name="T73" fmla="*/ 443 h 532"/>
                <a:gd name="T74" fmla="*/ 471 w 530"/>
                <a:gd name="T75" fmla="*/ 411 h 532"/>
                <a:gd name="T76" fmla="*/ 494 w 530"/>
                <a:gd name="T77" fmla="*/ 375 h 532"/>
                <a:gd name="T78" fmla="*/ 514 w 530"/>
                <a:gd name="T79" fmla="*/ 337 h 532"/>
                <a:gd name="T80" fmla="*/ 530 w 530"/>
                <a:gd name="T81" fmla="*/ 296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0" h="532">
                  <a:moveTo>
                    <a:pt x="343" y="110"/>
                  </a:moveTo>
                  <a:lnTo>
                    <a:pt x="343" y="110"/>
                  </a:lnTo>
                  <a:lnTo>
                    <a:pt x="343" y="110"/>
                  </a:lnTo>
                  <a:lnTo>
                    <a:pt x="340" y="109"/>
                  </a:lnTo>
                  <a:lnTo>
                    <a:pt x="311" y="79"/>
                  </a:lnTo>
                  <a:lnTo>
                    <a:pt x="311" y="79"/>
                  </a:lnTo>
                  <a:lnTo>
                    <a:pt x="307" y="75"/>
                  </a:lnTo>
                  <a:lnTo>
                    <a:pt x="277" y="58"/>
                  </a:lnTo>
                  <a:lnTo>
                    <a:pt x="277" y="58"/>
                  </a:lnTo>
                  <a:lnTo>
                    <a:pt x="275" y="58"/>
                  </a:lnTo>
                  <a:lnTo>
                    <a:pt x="271" y="58"/>
                  </a:lnTo>
                  <a:lnTo>
                    <a:pt x="269" y="59"/>
                  </a:lnTo>
                  <a:lnTo>
                    <a:pt x="266" y="62"/>
                  </a:lnTo>
                  <a:lnTo>
                    <a:pt x="260" y="72"/>
                  </a:lnTo>
                  <a:lnTo>
                    <a:pt x="234" y="46"/>
                  </a:lnTo>
                  <a:lnTo>
                    <a:pt x="234" y="46"/>
                  </a:lnTo>
                  <a:lnTo>
                    <a:pt x="229" y="40"/>
                  </a:lnTo>
                  <a:lnTo>
                    <a:pt x="229" y="40"/>
                  </a:lnTo>
                  <a:lnTo>
                    <a:pt x="219" y="31"/>
                  </a:lnTo>
                  <a:lnTo>
                    <a:pt x="208" y="24"/>
                  </a:lnTo>
                  <a:lnTo>
                    <a:pt x="197" y="16"/>
                  </a:lnTo>
                  <a:lnTo>
                    <a:pt x="185" y="11"/>
                  </a:lnTo>
                  <a:lnTo>
                    <a:pt x="174" y="6"/>
                  </a:lnTo>
                  <a:lnTo>
                    <a:pt x="160" y="4"/>
                  </a:lnTo>
                  <a:lnTo>
                    <a:pt x="148" y="1"/>
                  </a:lnTo>
                  <a:lnTo>
                    <a:pt x="134" y="0"/>
                  </a:lnTo>
                  <a:lnTo>
                    <a:pt x="134" y="0"/>
                  </a:lnTo>
                  <a:lnTo>
                    <a:pt x="121" y="1"/>
                  </a:lnTo>
                  <a:lnTo>
                    <a:pt x="107" y="4"/>
                  </a:lnTo>
                  <a:lnTo>
                    <a:pt x="95" y="6"/>
                  </a:lnTo>
                  <a:lnTo>
                    <a:pt x="82" y="11"/>
                  </a:lnTo>
                  <a:lnTo>
                    <a:pt x="70" y="16"/>
                  </a:lnTo>
                  <a:lnTo>
                    <a:pt x="59" y="24"/>
                  </a:lnTo>
                  <a:lnTo>
                    <a:pt x="49" y="31"/>
                  </a:lnTo>
                  <a:lnTo>
                    <a:pt x="39" y="40"/>
                  </a:lnTo>
                  <a:lnTo>
                    <a:pt x="39" y="40"/>
                  </a:lnTo>
                  <a:lnTo>
                    <a:pt x="29" y="50"/>
                  </a:lnTo>
                  <a:lnTo>
                    <a:pt x="22" y="61"/>
                  </a:lnTo>
                  <a:lnTo>
                    <a:pt x="16" y="72"/>
                  </a:lnTo>
                  <a:lnTo>
                    <a:pt x="10" y="84"/>
                  </a:lnTo>
                  <a:lnTo>
                    <a:pt x="5" y="96"/>
                  </a:lnTo>
                  <a:lnTo>
                    <a:pt x="2" y="109"/>
                  </a:lnTo>
                  <a:lnTo>
                    <a:pt x="0" y="121"/>
                  </a:lnTo>
                  <a:lnTo>
                    <a:pt x="0" y="135"/>
                  </a:lnTo>
                  <a:lnTo>
                    <a:pt x="0" y="135"/>
                  </a:lnTo>
                  <a:lnTo>
                    <a:pt x="0" y="149"/>
                  </a:lnTo>
                  <a:lnTo>
                    <a:pt x="2" y="163"/>
                  </a:lnTo>
                  <a:lnTo>
                    <a:pt x="6" y="177"/>
                  </a:lnTo>
                  <a:lnTo>
                    <a:pt x="11" y="190"/>
                  </a:lnTo>
                  <a:lnTo>
                    <a:pt x="17" y="201"/>
                  </a:lnTo>
                  <a:lnTo>
                    <a:pt x="24" y="214"/>
                  </a:lnTo>
                  <a:lnTo>
                    <a:pt x="33" y="223"/>
                  </a:lnTo>
                  <a:lnTo>
                    <a:pt x="43" y="233"/>
                  </a:lnTo>
                  <a:lnTo>
                    <a:pt x="74" y="264"/>
                  </a:lnTo>
                  <a:lnTo>
                    <a:pt x="63" y="270"/>
                  </a:lnTo>
                  <a:lnTo>
                    <a:pt x="63" y="270"/>
                  </a:lnTo>
                  <a:lnTo>
                    <a:pt x="60" y="273"/>
                  </a:lnTo>
                  <a:lnTo>
                    <a:pt x="59" y="275"/>
                  </a:lnTo>
                  <a:lnTo>
                    <a:pt x="58" y="279"/>
                  </a:lnTo>
                  <a:lnTo>
                    <a:pt x="59" y="283"/>
                  </a:lnTo>
                  <a:lnTo>
                    <a:pt x="76" y="312"/>
                  </a:lnTo>
                  <a:lnTo>
                    <a:pt x="76" y="312"/>
                  </a:lnTo>
                  <a:lnTo>
                    <a:pt x="79" y="315"/>
                  </a:lnTo>
                  <a:lnTo>
                    <a:pt x="79" y="315"/>
                  </a:lnTo>
                  <a:lnTo>
                    <a:pt x="296" y="532"/>
                  </a:lnTo>
                  <a:lnTo>
                    <a:pt x="296" y="532"/>
                  </a:lnTo>
                  <a:lnTo>
                    <a:pt x="317" y="526"/>
                  </a:lnTo>
                  <a:lnTo>
                    <a:pt x="336" y="517"/>
                  </a:lnTo>
                  <a:lnTo>
                    <a:pt x="356" y="507"/>
                  </a:lnTo>
                  <a:lnTo>
                    <a:pt x="375" y="496"/>
                  </a:lnTo>
                  <a:lnTo>
                    <a:pt x="393" y="485"/>
                  </a:lnTo>
                  <a:lnTo>
                    <a:pt x="410" y="473"/>
                  </a:lnTo>
                  <a:lnTo>
                    <a:pt x="426" y="458"/>
                  </a:lnTo>
                  <a:lnTo>
                    <a:pt x="443" y="443"/>
                  </a:lnTo>
                  <a:lnTo>
                    <a:pt x="457" y="428"/>
                  </a:lnTo>
                  <a:lnTo>
                    <a:pt x="471" y="411"/>
                  </a:lnTo>
                  <a:lnTo>
                    <a:pt x="483" y="394"/>
                  </a:lnTo>
                  <a:lnTo>
                    <a:pt x="494" y="375"/>
                  </a:lnTo>
                  <a:lnTo>
                    <a:pt x="505" y="357"/>
                  </a:lnTo>
                  <a:lnTo>
                    <a:pt x="514" y="337"/>
                  </a:lnTo>
                  <a:lnTo>
                    <a:pt x="523" y="317"/>
                  </a:lnTo>
                  <a:lnTo>
                    <a:pt x="530" y="296"/>
                  </a:lnTo>
                  <a:lnTo>
                    <a:pt x="343" y="11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03">
              <a:extLst>
                <a:ext uri="{FF2B5EF4-FFF2-40B4-BE49-F238E27FC236}">
                  <a16:creationId xmlns:a16="http://schemas.microsoft.com/office/drawing/2014/main" id="{D621DA27-863F-D669-E631-FF04B6746187}"/>
                </a:ext>
              </a:extLst>
            </p:cNvPr>
            <p:cNvSpPr>
              <a:spLocks noEditPoints="1"/>
            </p:cNvSpPr>
            <p:nvPr/>
          </p:nvSpPr>
          <p:spPr bwMode="auto">
            <a:xfrm>
              <a:off x="3462338" y="317500"/>
              <a:ext cx="528638" cy="528638"/>
            </a:xfrm>
            <a:custGeom>
              <a:avLst/>
              <a:gdLst>
                <a:gd name="T0" fmla="*/ 299 w 333"/>
                <a:gd name="T1" fmla="*/ 118 h 333"/>
                <a:gd name="T2" fmla="*/ 320 w 333"/>
                <a:gd name="T3" fmla="*/ 100 h 333"/>
                <a:gd name="T4" fmla="*/ 296 w 333"/>
                <a:gd name="T5" fmla="*/ 63 h 333"/>
                <a:gd name="T6" fmla="*/ 264 w 333"/>
                <a:gd name="T7" fmla="*/ 66 h 333"/>
                <a:gd name="T8" fmla="*/ 268 w 333"/>
                <a:gd name="T9" fmla="*/ 36 h 333"/>
                <a:gd name="T10" fmla="*/ 231 w 333"/>
                <a:gd name="T11" fmla="*/ 12 h 333"/>
                <a:gd name="T12" fmla="*/ 212 w 333"/>
                <a:gd name="T13" fmla="*/ 33 h 333"/>
                <a:gd name="T14" fmla="*/ 190 w 333"/>
                <a:gd name="T15" fmla="*/ 5 h 333"/>
                <a:gd name="T16" fmla="*/ 148 w 333"/>
                <a:gd name="T17" fmla="*/ 0 h 333"/>
                <a:gd name="T18" fmla="*/ 140 w 333"/>
                <a:gd name="T19" fmla="*/ 29 h 333"/>
                <a:gd name="T20" fmla="*/ 109 w 333"/>
                <a:gd name="T21" fmla="*/ 18 h 333"/>
                <a:gd name="T22" fmla="*/ 67 w 333"/>
                <a:gd name="T23" fmla="*/ 32 h 333"/>
                <a:gd name="T24" fmla="*/ 64 w 333"/>
                <a:gd name="T25" fmla="*/ 43 h 333"/>
                <a:gd name="T26" fmla="*/ 42 w 333"/>
                <a:gd name="T27" fmla="*/ 66 h 333"/>
                <a:gd name="T28" fmla="*/ 31 w 333"/>
                <a:gd name="T29" fmla="*/ 70 h 333"/>
                <a:gd name="T30" fmla="*/ 14 w 333"/>
                <a:gd name="T31" fmla="*/ 108 h 333"/>
                <a:gd name="T32" fmla="*/ 29 w 333"/>
                <a:gd name="T33" fmla="*/ 143 h 333"/>
                <a:gd name="T34" fmla="*/ 1 w 333"/>
                <a:gd name="T35" fmla="*/ 148 h 333"/>
                <a:gd name="T36" fmla="*/ 3 w 333"/>
                <a:gd name="T37" fmla="*/ 191 h 333"/>
                <a:gd name="T38" fmla="*/ 32 w 333"/>
                <a:gd name="T39" fmla="*/ 205 h 333"/>
                <a:gd name="T40" fmla="*/ 15 w 333"/>
                <a:gd name="T41" fmla="*/ 229 h 333"/>
                <a:gd name="T42" fmla="*/ 35 w 333"/>
                <a:gd name="T43" fmla="*/ 269 h 333"/>
                <a:gd name="T44" fmla="*/ 62 w 333"/>
                <a:gd name="T45" fmla="*/ 259 h 333"/>
                <a:gd name="T46" fmla="*/ 67 w 333"/>
                <a:gd name="T47" fmla="*/ 295 h 333"/>
                <a:gd name="T48" fmla="*/ 100 w 333"/>
                <a:gd name="T49" fmla="*/ 319 h 333"/>
                <a:gd name="T50" fmla="*/ 122 w 333"/>
                <a:gd name="T51" fmla="*/ 298 h 333"/>
                <a:gd name="T52" fmla="*/ 143 w 333"/>
                <a:gd name="T53" fmla="*/ 324 h 333"/>
                <a:gd name="T54" fmla="*/ 186 w 333"/>
                <a:gd name="T55" fmla="*/ 333 h 333"/>
                <a:gd name="T56" fmla="*/ 195 w 333"/>
                <a:gd name="T57" fmla="*/ 324 h 333"/>
                <a:gd name="T58" fmla="*/ 226 w 333"/>
                <a:gd name="T59" fmla="*/ 314 h 333"/>
                <a:gd name="T60" fmla="*/ 237 w 333"/>
                <a:gd name="T61" fmla="*/ 318 h 333"/>
                <a:gd name="T62" fmla="*/ 270 w 333"/>
                <a:gd name="T63" fmla="*/ 292 h 333"/>
                <a:gd name="T64" fmla="*/ 275 w 333"/>
                <a:gd name="T65" fmla="*/ 256 h 333"/>
                <a:gd name="T66" fmla="*/ 301 w 333"/>
                <a:gd name="T67" fmla="*/ 265 h 333"/>
                <a:gd name="T68" fmla="*/ 321 w 333"/>
                <a:gd name="T69" fmla="*/ 227 h 333"/>
                <a:gd name="T70" fmla="*/ 302 w 333"/>
                <a:gd name="T71" fmla="*/ 201 h 333"/>
                <a:gd name="T72" fmla="*/ 331 w 333"/>
                <a:gd name="T73" fmla="*/ 187 h 333"/>
                <a:gd name="T74" fmla="*/ 333 w 333"/>
                <a:gd name="T75" fmla="*/ 144 h 333"/>
                <a:gd name="T76" fmla="*/ 167 w 333"/>
                <a:gd name="T77" fmla="*/ 255 h 333"/>
                <a:gd name="T78" fmla="*/ 132 w 333"/>
                <a:gd name="T79" fmla="*/ 248 h 333"/>
                <a:gd name="T80" fmla="*/ 99 w 333"/>
                <a:gd name="T81" fmla="*/ 223 h 333"/>
                <a:gd name="T82" fmla="*/ 80 w 333"/>
                <a:gd name="T83" fmla="*/ 184 h 333"/>
                <a:gd name="T84" fmla="*/ 80 w 333"/>
                <a:gd name="T85" fmla="*/ 148 h 333"/>
                <a:gd name="T86" fmla="*/ 99 w 333"/>
                <a:gd name="T87" fmla="*/ 110 h 333"/>
                <a:gd name="T88" fmla="*/ 132 w 333"/>
                <a:gd name="T89" fmla="*/ 85 h 333"/>
                <a:gd name="T90" fmla="*/ 167 w 333"/>
                <a:gd name="T91" fmla="*/ 78 h 333"/>
                <a:gd name="T92" fmla="*/ 210 w 333"/>
                <a:gd name="T93" fmla="*/ 89 h 333"/>
                <a:gd name="T94" fmla="*/ 241 w 333"/>
                <a:gd name="T95" fmla="*/ 117 h 333"/>
                <a:gd name="T96" fmla="*/ 255 w 333"/>
                <a:gd name="T97" fmla="*/ 158 h 333"/>
                <a:gd name="T98" fmla="*/ 252 w 333"/>
                <a:gd name="T99" fmla="*/ 192 h 333"/>
                <a:gd name="T100" fmla="*/ 230 w 333"/>
                <a:gd name="T101" fmla="*/ 229 h 333"/>
                <a:gd name="T102" fmla="*/ 194 w 333"/>
                <a:gd name="T103" fmla="*/ 25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3" h="333">
                  <a:moveTo>
                    <a:pt x="325" y="139"/>
                  </a:moveTo>
                  <a:lnTo>
                    <a:pt x="305" y="139"/>
                  </a:lnTo>
                  <a:lnTo>
                    <a:pt x="305" y="139"/>
                  </a:lnTo>
                  <a:lnTo>
                    <a:pt x="302" y="128"/>
                  </a:lnTo>
                  <a:lnTo>
                    <a:pt x="299" y="118"/>
                  </a:lnTo>
                  <a:lnTo>
                    <a:pt x="316" y="108"/>
                  </a:lnTo>
                  <a:lnTo>
                    <a:pt x="316" y="108"/>
                  </a:lnTo>
                  <a:lnTo>
                    <a:pt x="318" y="106"/>
                  </a:lnTo>
                  <a:lnTo>
                    <a:pt x="320" y="102"/>
                  </a:lnTo>
                  <a:lnTo>
                    <a:pt x="320" y="100"/>
                  </a:lnTo>
                  <a:lnTo>
                    <a:pt x="318" y="96"/>
                  </a:lnTo>
                  <a:lnTo>
                    <a:pt x="301" y="66"/>
                  </a:lnTo>
                  <a:lnTo>
                    <a:pt x="301" y="66"/>
                  </a:lnTo>
                  <a:lnTo>
                    <a:pt x="299" y="64"/>
                  </a:lnTo>
                  <a:lnTo>
                    <a:pt x="296" y="63"/>
                  </a:lnTo>
                  <a:lnTo>
                    <a:pt x="292" y="63"/>
                  </a:lnTo>
                  <a:lnTo>
                    <a:pt x="290" y="64"/>
                  </a:lnTo>
                  <a:lnTo>
                    <a:pt x="271" y="74"/>
                  </a:lnTo>
                  <a:lnTo>
                    <a:pt x="271" y="74"/>
                  </a:lnTo>
                  <a:lnTo>
                    <a:pt x="264" y="66"/>
                  </a:lnTo>
                  <a:lnTo>
                    <a:pt x="257" y="59"/>
                  </a:lnTo>
                  <a:lnTo>
                    <a:pt x="267" y="42"/>
                  </a:lnTo>
                  <a:lnTo>
                    <a:pt x="267" y="42"/>
                  </a:lnTo>
                  <a:lnTo>
                    <a:pt x="268" y="38"/>
                  </a:lnTo>
                  <a:lnTo>
                    <a:pt x="268" y="36"/>
                  </a:lnTo>
                  <a:lnTo>
                    <a:pt x="265" y="32"/>
                  </a:lnTo>
                  <a:lnTo>
                    <a:pt x="263" y="29"/>
                  </a:lnTo>
                  <a:lnTo>
                    <a:pt x="233" y="12"/>
                  </a:lnTo>
                  <a:lnTo>
                    <a:pt x="233" y="12"/>
                  </a:lnTo>
                  <a:lnTo>
                    <a:pt x="231" y="12"/>
                  </a:lnTo>
                  <a:lnTo>
                    <a:pt x="227" y="12"/>
                  </a:lnTo>
                  <a:lnTo>
                    <a:pt x="225" y="13"/>
                  </a:lnTo>
                  <a:lnTo>
                    <a:pt x="222" y="16"/>
                  </a:lnTo>
                  <a:lnTo>
                    <a:pt x="212" y="33"/>
                  </a:lnTo>
                  <a:lnTo>
                    <a:pt x="212" y="33"/>
                  </a:lnTo>
                  <a:lnTo>
                    <a:pt x="201" y="31"/>
                  </a:lnTo>
                  <a:lnTo>
                    <a:pt x="191" y="28"/>
                  </a:lnTo>
                  <a:lnTo>
                    <a:pt x="191" y="8"/>
                  </a:lnTo>
                  <a:lnTo>
                    <a:pt x="191" y="8"/>
                  </a:lnTo>
                  <a:lnTo>
                    <a:pt x="190" y="5"/>
                  </a:lnTo>
                  <a:lnTo>
                    <a:pt x="188" y="2"/>
                  </a:lnTo>
                  <a:lnTo>
                    <a:pt x="185" y="1"/>
                  </a:lnTo>
                  <a:lnTo>
                    <a:pt x="183" y="0"/>
                  </a:lnTo>
                  <a:lnTo>
                    <a:pt x="148" y="0"/>
                  </a:lnTo>
                  <a:lnTo>
                    <a:pt x="148" y="0"/>
                  </a:lnTo>
                  <a:lnTo>
                    <a:pt x="144" y="1"/>
                  </a:lnTo>
                  <a:lnTo>
                    <a:pt x="142" y="2"/>
                  </a:lnTo>
                  <a:lnTo>
                    <a:pt x="140" y="5"/>
                  </a:lnTo>
                  <a:lnTo>
                    <a:pt x="140" y="8"/>
                  </a:lnTo>
                  <a:lnTo>
                    <a:pt x="140" y="29"/>
                  </a:lnTo>
                  <a:lnTo>
                    <a:pt x="140" y="29"/>
                  </a:lnTo>
                  <a:lnTo>
                    <a:pt x="128" y="32"/>
                  </a:lnTo>
                  <a:lnTo>
                    <a:pt x="119" y="34"/>
                  </a:lnTo>
                  <a:lnTo>
                    <a:pt x="109" y="18"/>
                  </a:lnTo>
                  <a:lnTo>
                    <a:pt x="109" y="18"/>
                  </a:lnTo>
                  <a:lnTo>
                    <a:pt x="106" y="15"/>
                  </a:lnTo>
                  <a:lnTo>
                    <a:pt x="104" y="13"/>
                  </a:lnTo>
                  <a:lnTo>
                    <a:pt x="100" y="13"/>
                  </a:lnTo>
                  <a:lnTo>
                    <a:pt x="96" y="15"/>
                  </a:lnTo>
                  <a:lnTo>
                    <a:pt x="67" y="32"/>
                  </a:lnTo>
                  <a:lnTo>
                    <a:pt x="67" y="32"/>
                  </a:lnTo>
                  <a:lnTo>
                    <a:pt x="64" y="34"/>
                  </a:lnTo>
                  <a:lnTo>
                    <a:pt x="63" y="37"/>
                  </a:lnTo>
                  <a:lnTo>
                    <a:pt x="63" y="41"/>
                  </a:lnTo>
                  <a:lnTo>
                    <a:pt x="64" y="43"/>
                  </a:lnTo>
                  <a:lnTo>
                    <a:pt x="74" y="62"/>
                  </a:lnTo>
                  <a:lnTo>
                    <a:pt x="74" y="62"/>
                  </a:lnTo>
                  <a:lnTo>
                    <a:pt x="67" y="69"/>
                  </a:lnTo>
                  <a:lnTo>
                    <a:pt x="59" y="76"/>
                  </a:lnTo>
                  <a:lnTo>
                    <a:pt x="42" y="66"/>
                  </a:lnTo>
                  <a:lnTo>
                    <a:pt x="42" y="66"/>
                  </a:lnTo>
                  <a:lnTo>
                    <a:pt x="40" y="65"/>
                  </a:lnTo>
                  <a:lnTo>
                    <a:pt x="36" y="66"/>
                  </a:lnTo>
                  <a:lnTo>
                    <a:pt x="32" y="68"/>
                  </a:lnTo>
                  <a:lnTo>
                    <a:pt x="31" y="70"/>
                  </a:lnTo>
                  <a:lnTo>
                    <a:pt x="14" y="100"/>
                  </a:lnTo>
                  <a:lnTo>
                    <a:pt x="14" y="100"/>
                  </a:lnTo>
                  <a:lnTo>
                    <a:pt x="12" y="102"/>
                  </a:lnTo>
                  <a:lnTo>
                    <a:pt x="12" y="106"/>
                  </a:lnTo>
                  <a:lnTo>
                    <a:pt x="14" y="108"/>
                  </a:lnTo>
                  <a:lnTo>
                    <a:pt x="16" y="111"/>
                  </a:lnTo>
                  <a:lnTo>
                    <a:pt x="35" y="122"/>
                  </a:lnTo>
                  <a:lnTo>
                    <a:pt x="35" y="122"/>
                  </a:lnTo>
                  <a:lnTo>
                    <a:pt x="31" y="132"/>
                  </a:lnTo>
                  <a:lnTo>
                    <a:pt x="29" y="143"/>
                  </a:lnTo>
                  <a:lnTo>
                    <a:pt x="9" y="143"/>
                  </a:lnTo>
                  <a:lnTo>
                    <a:pt x="9" y="143"/>
                  </a:lnTo>
                  <a:lnTo>
                    <a:pt x="6" y="143"/>
                  </a:lnTo>
                  <a:lnTo>
                    <a:pt x="3" y="145"/>
                  </a:lnTo>
                  <a:lnTo>
                    <a:pt x="1" y="148"/>
                  </a:lnTo>
                  <a:lnTo>
                    <a:pt x="0" y="152"/>
                  </a:lnTo>
                  <a:lnTo>
                    <a:pt x="0" y="185"/>
                  </a:lnTo>
                  <a:lnTo>
                    <a:pt x="0" y="185"/>
                  </a:lnTo>
                  <a:lnTo>
                    <a:pt x="1" y="189"/>
                  </a:lnTo>
                  <a:lnTo>
                    <a:pt x="3" y="191"/>
                  </a:lnTo>
                  <a:lnTo>
                    <a:pt x="6" y="194"/>
                  </a:lnTo>
                  <a:lnTo>
                    <a:pt x="9" y="194"/>
                  </a:lnTo>
                  <a:lnTo>
                    <a:pt x="30" y="194"/>
                  </a:lnTo>
                  <a:lnTo>
                    <a:pt x="30" y="194"/>
                  </a:lnTo>
                  <a:lnTo>
                    <a:pt x="32" y="205"/>
                  </a:lnTo>
                  <a:lnTo>
                    <a:pt x="36" y="214"/>
                  </a:lnTo>
                  <a:lnTo>
                    <a:pt x="19" y="224"/>
                  </a:lnTo>
                  <a:lnTo>
                    <a:pt x="19" y="224"/>
                  </a:lnTo>
                  <a:lnTo>
                    <a:pt x="16" y="227"/>
                  </a:lnTo>
                  <a:lnTo>
                    <a:pt x="15" y="229"/>
                  </a:lnTo>
                  <a:lnTo>
                    <a:pt x="14" y="233"/>
                  </a:lnTo>
                  <a:lnTo>
                    <a:pt x="15" y="237"/>
                  </a:lnTo>
                  <a:lnTo>
                    <a:pt x="32" y="266"/>
                  </a:lnTo>
                  <a:lnTo>
                    <a:pt x="32" y="266"/>
                  </a:lnTo>
                  <a:lnTo>
                    <a:pt x="35" y="269"/>
                  </a:lnTo>
                  <a:lnTo>
                    <a:pt x="37" y="270"/>
                  </a:lnTo>
                  <a:lnTo>
                    <a:pt x="41" y="270"/>
                  </a:lnTo>
                  <a:lnTo>
                    <a:pt x="45" y="269"/>
                  </a:lnTo>
                  <a:lnTo>
                    <a:pt x="62" y="259"/>
                  </a:lnTo>
                  <a:lnTo>
                    <a:pt x="62" y="259"/>
                  </a:lnTo>
                  <a:lnTo>
                    <a:pt x="69" y="266"/>
                  </a:lnTo>
                  <a:lnTo>
                    <a:pt x="78" y="274"/>
                  </a:lnTo>
                  <a:lnTo>
                    <a:pt x="68" y="291"/>
                  </a:lnTo>
                  <a:lnTo>
                    <a:pt x="68" y="291"/>
                  </a:lnTo>
                  <a:lnTo>
                    <a:pt x="67" y="295"/>
                  </a:lnTo>
                  <a:lnTo>
                    <a:pt x="67" y="297"/>
                  </a:lnTo>
                  <a:lnTo>
                    <a:pt x="68" y="301"/>
                  </a:lnTo>
                  <a:lnTo>
                    <a:pt x="70" y="302"/>
                  </a:lnTo>
                  <a:lnTo>
                    <a:pt x="100" y="319"/>
                  </a:lnTo>
                  <a:lnTo>
                    <a:pt x="100" y="319"/>
                  </a:lnTo>
                  <a:lnTo>
                    <a:pt x="104" y="321"/>
                  </a:lnTo>
                  <a:lnTo>
                    <a:pt x="106" y="321"/>
                  </a:lnTo>
                  <a:lnTo>
                    <a:pt x="110" y="319"/>
                  </a:lnTo>
                  <a:lnTo>
                    <a:pt x="112" y="317"/>
                  </a:lnTo>
                  <a:lnTo>
                    <a:pt x="122" y="298"/>
                  </a:lnTo>
                  <a:lnTo>
                    <a:pt x="122" y="298"/>
                  </a:lnTo>
                  <a:lnTo>
                    <a:pt x="132" y="302"/>
                  </a:lnTo>
                  <a:lnTo>
                    <a:pt x="143" y="305"/>
                  </a:lnTo>
                  <a:lnTo>
                    <a:pt x="143" y="324"/>
                  </a:lnTo>
                  <a:lnTo>
                    <a:pt x="143" y="324"/>
                  </a:lnTo>
                  <a:lnTo>
                    <a:pt x="144" y="327"/>
                  </a:lnTo>
                  <a:lnTo>
                    <a:pt x="146" y="330"/>
                  </a:lnTo>
                  <a:lnTo>
                    <a:pt x="148" y="332"/>
                  </a:lnTo>
                  <a:lnTo>
                    <a:pt x="152" y="333"/>
                  </a:lnTo>
                  <a:lnTo>
                    <a:pt x="186" y="333"/>
                  </a:lnTo>
                  <a:lnTo>
                    <a:pt x="186" y="333"/>
                  </a:lnTo>
                  <a:lnTo>
                    <a:pt x="189" y="332"/>
                  </a:lnTo>
                  <a:lnTo>
                    <a:pt x="193" y="330"/>
                  </a:lnTo>
                  <a:lnTo>
                    <a:pt x="194" y="327"/>
                  </a:lnTo>
                  <a:lnTo>
                    <a:pt x="195" y="324"/>
                  </a:lnTo>
                  <a:lnTo>
                    <a:pt x="195" y="303"/>
                  </a:lnTo>
                  <a:lnTo>
                    <a:pt x="195" y="303"/>
                  </a:lnTo>
                  <a:lnTo>
                    <a:pt x="205" y="301"/>
                  </a:lnTo>
                  <a:lnTo>
                    <a:pt x="216" y="297"/>
                  </a:lnTo>
                  <a:lnTo>
                    <a:pt x="226" y="314"/>
                  </a:lnTo>
                  <a:lnTo>
                    <a:pt x="226" y="314"/>
                  </a:lnTo>
                  <a:lnTo>
                    <a:pt x="227" y="317"/>
                  </a:lnTo>
                  <a:lnTo>
                    <a:pt x="231" y="319"/>
                  </a:lnTo>
                  <a:lnTo>
                    <a:pt x="233" y="319"/>
                  </a:lnTo>
                  <a:lnTo>
                    <a:pt x="237" y="318"/>
                  </a:lnTo>
                  <a:lnTo>
                    <a:pt x="267" y="301"/>
                  </a:lnTo>
                  <a:lnTo>
                    <a:pt x="267" y="301"/>
                  </a:lnTo>
                  <a:lnTo>
                    <a:pt x="269" y="298"/>
                  </a:lnTo>
                  <a:lnTo>
                    <a:pt x="270" y="296"/>
                  </a:lnTo>
                  <a:lnTo>
                    <a:pt x="270" y="292"/>
                  </a:lnTo>
                  <a:lnTo>
                    <a:pt x="270" y="288"/>
                  </a:lnTo>
                  <a:lnTo>
                    <a:pt x="259" y="271"/>
                  </a:lnTo>
                  <a:lnTo>
                    <a:pt x="259" y="271"/>
                  </a:lnTo>
                  <a:lnTo>
                    <a:pt x="268" y="264"/>
                  </a:lnTo>
                  <a:lnTo>
                    <a:pt x="275" y="256"/>
                  </a:lnTo>
                  <a:lnTo>
                    <a:pt x="291" y="266"/>
                  </a:lnTo>
                  <a:lnTo>
                    <a:pt x="291" y="266"/>
                  </a:lnTo>
                  <a:lnTo>
                    <a:pt x="295" y="266"/>
                  </a:lnTo>
                  <a:lnTo>
                    <a:pt x="299" y="266"/>
                  </a:lnTo>
                  <a:lnTo>
                    <a:pt x="301" y="265"/>
                  </a:lnTo>
                  <a:lnTo>
                    <a:pt x="304" y="263"/>
                  </a:lnTo>
                  <a:lnTo>
                    <a:pt x="321" y="233"/>
                  </a:lnTo>
                  <a:lnTo>
                    <a:pt x="321" y="233"/>
                  </a:lnTo>
                  <a:lnTo>
                    <a:pt x="322" y="229"/>
                  </a:lnTo>
                  <a:lnTo>
                    <a:pt x="321" y="227"/>
                  </a:lnTo>
                  <a:lnTo>
                    <a:pt x="320" y="223"/>
                  </a:lnTo>
                  <a:lnTo>
                    <a:pt x="317" y="221"/>
                  </a:lnTo>
                  <a:lnTo>
                    <a:pt x="300" y="211"/>
                  </a:lnTo>
                  <a:lnTo>
                    <a:pt x="300" y="211"/>
                  </a:lnTo>
                  <a:lnTo>
                    <a:pt x="302" y="201"/>
                  </a:lnTo>
                  <a:lnTo>
                    <a:pt x="305" y="190"/>
                  </a:lnTo>
                  <a:lnTo>
                    <a:pt x="325" y="190"/>
                  </a:lnTo>
                  <a:lnTo>
                    <a:pt x="325" y="190"/>
                  </a:lnTo>
                  <a:lnTo>
                    <a:pt x="328" y="190"/>
                  </a:lnTo>
                  <a:lnTo>
                    <a:pt x="331" y="187"/>
                  </a:lnTo>
                  <a:lnTo>
                    <a:pt x="333" y="185"/>
                  </a:lnTo>
                  <a:lnTo>
                    <a:pt x="333" y="181"/>
                  </a:lnTo>
                  <a:lnTo>
                    <a:pt x="333" y="148"/>
                  </a:lnTo>
                  <a:lnTo>
                    <a:pt x="333" y="148"/>
                  </a:lnTo>
                  <a:lnTo>
                    <a:pt x="333" y="144"/>
                  </a:lnTo>
                  <a:lnTo>
                    <a:pt x="331" y="142"/>
                  </a:lnTo>
                  <a:lnTo>
                    <a:pt x="328" y="139"/>
                  </a:lnTo>
                  <a:lnTo>
                    <a:pt x="325" y="139"/>
                  </a:lnTo>
                  <a:lnTo>
                    <a:pt x="325" y="139"/>
                  </a:lnTo>
                  <a:close/>
                  <a:moveTo>
                    <a:pt x="167" y="255"/>
                  </a:moveTo>
                  <a:lnTo>
                    <a:pt x="167" y="255"/>
                  </a:lnTo>
                  <a:lnTo>
                    <a:pt x="158" y="254"/>
                  </a:lnTo>
                  <a:lnTo>
                    <a:pt x="149" y="253"/>
                  </a:lnTo>
                  <a:lnTo>
                    <a:pt x="141" y="251"/>
                  </a:lnTo>
                  <a:lnTo>
                    <a:pt x="132" y="248"/>
                  </a:lnTo>
                  <a:lnTo>
                    <a:pt x="125" y="244"/>
                  </a:lnTo>
                  <a:lnTo>
                    <a:pt x="117" y="240"/>
                  </a:lnTo>
                  <a:lnTo>
                    <a:pt x="110" y="234"/>
                  </a:lnTo>
                  <a:lnTo>
                    <a:pt x="104" y="229"/>
                  </a:lnTo>
                  <a:lnTo>
                    <a:pt x="99" y="223"/>
                  </a:lnTo>
                  <a:lnTo>
                    <a:pt x="94" y="216"/>
                  </a:lnTo>
                  <a:lnTo>
                    <a:pt x="89" y="208"/>
                  </a:lnTo>
                  <a:lnTo>
                    <a:pt x="85" y="201"/>
                  </a:lnTo>
                  <a:lnTo>
                    <a:pt x="83" y="192"/>
                  </a:lnTo>
                  <a:lnTo>
                    <a:pt x="80" y="184"/>
                  </a:lnTo>
                  <a:lnTo>
                    <a:pt x="79" y="175"/>
                  </a:lnTo>
                  <a:lnTo>
                    <a:pt x="78" y="166"/>
                  </a:lnTo>
                  <a:lnTo>
                    <a:pt x="78" y="166"/>
                  </a:lnTo>
                  <a:lnTo>
                    <a:pt x="79" y="158"/>
                  </a:lnTo>
                  <a:lnTo>
                    <a:pt x="80" y="148"/>
                  </a:lnTo>
                  <a:lnTo>
                    <a:pt x="83" y="140"/>
                  </a:lnTo>
                  <a:lnTo>
                    <a:pt x="85" y="132"/>
                  </a:lnTo>
                  <a:lnTo>
                    <a:pt x="89" y="124"/>
                  </a:lnTo>
                  <a:lnTo>
                    <a:pt x="94" y="117"/>
                  </a:lnTo>
                  <a:lnTo>
                    <a:pt x="99" y="110"/>
                  </a:lnTo>
                  <a:lnTo>
                    <a:pt x="104" y="103"/>
                  </a:lnTo>
                  <a:lnTo>
                    <a:pt x="110" y="97"/>
                  </a:lnTo>
                  <a:lnTo>
                    <a:pt x="117" y="92"/>
                  </a:lnTo>
                  <a:lnTo>
                    <a:pt x="125" y="89"/>
                  </a:lnTo>
                  <a:lnTo>
                    <a:pt x="132" y="85"/>
                  </a:lnTo>
                  <a:lnTo>
                    <a:pt x="141" y="81"/>
                  </a:lnTo>
                  <a:lnTo>
                    <a:pt x="149" y="79"/>
                  </a:lnTo>
                  <a:lnTo>
                    <a:pt x="158" y="78"/>
                  </a:lnTo>
                  <a:lnTo>
                    <a:pt x="167" y="78"/>
                  </a:lnTo>
                  <a:lnTo>
                    <a:pt x="167" y="78"/>
                  </a:lnTo>
                  <a:lnTo>
                    <a:pt x="177" y="78"/>
                  </a:lnTo>
                  <a:lnTo>
                    <a:pt x="185" y="79"/>
                  </a:lnTo>
                  <a:lnTo>
                    <a:pt x="194" y="81"/>
                  </a:lnTo>
                  <a:lnTo>
                    <a:pt x="201" y="85"/>
                  </a:lnTo>
                  <a:lnTo>
                    <a:pt x="210" y="89"/>
                  </a:lnTo>
                  <a:lnTo>
                    <a:pt x="216" y="92"/>
                  </a:lnTo>
                  <a:lnTo>
                    <a:pt x="223" y="97"/>
                  </a:lnTo>
                  <a:lnTo>
                    <a:pt x="230" y="103"/>
                  </a:lnTo>
                  <a:lnTo>
                    <a:pt x="236" y="110"/>
                  </a:lnTo>
                  <a:lnTo>
                    <a:pt x="241" y="117"/>
                  </a:lnTo>
                  <a:lnTo>
                    <a:pt x="246" y="124"/>
                  </a:lnTo>
                  <a:lnTo>
                    <a:pt x="249" y="132"/>
                  </a:lnTo>
                  <a:lnTo>
                    <a:pt x="252" y="140"/>
                  </a:lnTo>
                  <a:lnTo>
                    <a:pt x="254" y="148"/>
                  </a:lnTo>
                  <a:lnTo>
                    <a:pt x="255" y="158"/>
                  </a:lnTo>
                  <a:lnTo>
                    <a:pt x="255" y="166"/>
                  </a:lnTo>
                  <a:lnTo>
                    <a:pt x="255" y="166"/>
                  </a:lnTo>
                  <a:lnTo>
                    <a:pt x="255" y="175"/>
                  </a:lnTo>
                  <a:lnTo>
                    <a:pt x="254" y="184"/>
                  </a:lnTo>
                  <a:lnTo>
                    <a:pt x="252" y="192"/>
                  </a:lnTo>
                  <a:lnTo>
                    <a:pt x="249" y="201"/>
                  </a:lnTo>
                  <a:lnTo>
                    <a:pt x="246" y="208"/>
                  </a:lnTo>
                  <a:lnTo>
                    <a:pt x="241" y="216"/>
                  </a:lnTo>
                  <a:lnTo>
                    <a:pt x="236" y="223"/>
                  </a:lnTo>
                  <a:lnTo>
                    <a:pt x="230" y="229"/>
                  </a:lnTo>
                  <a:lnTo>
                    <a:pt x="223" y="234"/>
                  </a:lnTo>
                  <a:lnTo>
                    <a:pt x="216" y="240"/>
                  </a:lnTo>
                  <a:lnTo>
                    <a:pt x="210" y="244"/>
                  </a:lnTo>
                  <a:lnTo>
                    <a:pt x="201" y="248"/>
                  </a:lnTo>
                  <a:lnTo>
                    <a:pt x="194" y="251"/>
                  </a:lnTo>
                  <a:lnTo>
                    <a:pt x="185" y="253"/>
                  </a:lnTo>
                  <a:lnTo>
                    <a:pt x="177" y="254"/>
                  </a:lnTo>
                  <a:lnTo>
                    <a:pt x="167" y="255"/>
                  </a:lnTo>
                  <a:lnTo>
                    <a:pt x="167" y="255"/>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204">
              <a:extLst>
                <a:ext uri="{FF2B5EF4-FFF2-40B4-BE49-F238E27FC236}">
                  <a16:creationId xmlns:a16="http://schemas.microsoft.com/office/drawing/2014/main" id="{C62D1F04-B92B-2659-7B70-5F79473CFB59}"/>
                </a:ext>
              </a:extLst>
            </p:cNvPr>
            <p:cNvSpPr>
              <a:spLocks/>
            </p:cNvSpPr>
            <p:nvPr/>
          </p:nvSpPr>
          <p:spPr bwMode="auto">
            <a:xfrm>
              <a:off x="3462338" y="317500"/>
              <a:ext cx="260350" cy="528638"/>
            </a:xfrm>
            <a:custGeom>
              <a:avLst/>
              <a:gdLst>
                <a:gd name="T0" fmla="*/ 156 w 164"/>
                <a:gd name="T1" fmla="*/ 254 h 333"/>
                <a:gd name="T2" fmla="*/ 131 w 164"/>
                <a:gd name="T3" fmla="*/ 247 h 333"/>
                <a:gd name="T4" fmla="*/ 110 w 164"/>
                <a:gd name="T5" fmla="*/ 234 h 333"/>
                <a:gd name="T6" fmla="*/ 93 w 164"/>
                <a:gd name="T7" fmla="*/ 214 h 333"/>
                <a:gd name="T8" fmla="*/ 82 w 164"/>
                <a:gd name="T9" fmla="*/ 192 h 333"/>
                <a:gd name="T10" fmla="*/ 78 w 164"/>
                <a:gd name="T11" fmla="*/ 166 h 333"/>
                <a:gd name="T12" fmla="*/ 80 w 164"/>
                <a:gd name="T13" fmla="*/ 149 h 333"/>
                <a:gd name="T14" fmla="*/ 89 w 164"/>
                <a:gd name="T15" fmla="*/ 124 h 333"/>
                <a:gd name="T16" fmla="*/ 104 w 164"/>
                <a:gd name="T17" fmla="*/ 105 h 333"/>
                <a:gd name="T18" fmla="*/ 123 w 164"/>
                <a:gd name="T19" fmla="*/ 89 h 333"/>
                <a:gd name="T20" fmla="*/ 147 w 164"/>
                <a:gd name="T21" fmla="*/ 80 h 333"/>
                <a:gd name="T22" fmla="*/ 164 w 164"/>
                <a:gd name="T23" fmla="*/ 0 h 333"/>
                <a:gd name="T24" fmla="*/ 144 w 164"/>
                <a:gd name="T25" fmla="*/ 1 h 333"/>
                <a:gd name="T26" fmla="*/ 140 w 164"/>
                <a:gd name="T27" fmla="*/ 8 h 333"/>
                <a:gd name="T28" fmla="*/ 128 w 164"/>
                <a:gd name="T29" fmla="*/ 32 h 333"/>
                <a:gd name="T30" fmla="*/ 109 w 164"/>
                <a:gd name="T31" fmla="*/ 18 h 333"/>
                <a:gd name="T32" fmla="*/ 100 w 164"/>
                <a:gd name="T33" fmla="*/ 13 h 333"/>
                <a:gd name="T34" fmla="*/ 67 w 164"/>
                <a:gd name="T35" fmla="*/ 32 h 333"/>
                <a:gd name="T36" fmla="*/ 63 w 164"/>
                <a:gd name="T37" fmla="*/ 41 h 333"/>
                <a:gd name="T38" fmla="*/ 74 w 164"/>
                <a:gd name="T39" fmla="*/ 62 h 333"/>
                <a:gd name="T40" fmla="*/ 42 w 164"/>
                <a:gd name="T41" fmla="*/ 66 h 333"/>
                <a:gd name="T42" fmla="*/ 36 w 164"/>
                <a:gd name="T43" fmla="*/ 66 h 333"/>
                <a:gd name="T44" fmla="*/ 14 w 164"/>
                <a:gd name="T45" fmla="*/ 100 h 333"/>
                <a:gd name="T46" fmla="*/ 12 w 164"/>
                <a:gd name="T47" fmla="*/ 106 h 333"/>
                <a:gd name="T48" fmla="*/ 35 w 164"/>
                <a:gd name="T49" fmla="*/ 122 h 333"/>
                <a:gd name="T50" fmla="*/ 29 w 164"/>
                <a:gd name="T51" fmla="*/ 143 h 333"/>
                <a:gd name="T52" fmla="*/ 6 w 164"/>
                <a:gd name="T53" fmla="*/ 143 h 333"/>
                <a:gd name="T54" fmla="*/ 0 w 164"/>
                <a:gd name="T55" fmla="*/ 152 h 333"/>
                <a:gd name="T56" fmla="*/ 1 w 164"/>
                <a:gd name="T57" fmla="*/ 189 h 333"/>
                <a:gd name="T58" fmla="*/ 9 w 164"/>
                <a:gd name="T59" fmla="*/ 194 h 333"/>
                <a:gd name="T60" fmla="*/ 32 w 164"/>
                <a:gd name="T61" fmla="*/ 205 h 333"/>
                <a:gd name="T62" fmla="*/ 19 w 164"/>
                <a:gd name="T63" fmla="*/ 224 h 333"/>
                <a:gd name="T64" fmla="*/ 14 w 164"/>
                <a:gd name="T65" fmla="*/ 233 h 333"/>
                <a:gd name="T66" fmla="*/ 32 w 164"/>
                <a:gd name="T67" fmla="*/ 266 h 333"/>
                <a:gd name="T68" fmla="*/ 41 w 164"/>
                <a:gd name="T69" fmla="*/ 270 h 333"/>
                <a:gd name="T70" fmla="*/ 62 w 164"/>
                <a:gd name="T71" fmla="*/ 259 h 333"/>
                <a:gd name="T72" fmla="*/ 68 w 164"/>
                <a:gd name="T73" fmla="*/ 291 h 333"/>
                <a:gd name="T74" fmla="*/ 67 w 164"/>
                <a:gd name="T75" fmla="*/ 297 h 333"/>
                <a:gd name="T76" fmla="*/ 100 w 164"/>
                <a:gd name="T77" fmla="*/ 319 h 333"/>
                <a:gd name="T78" fmla="*/ 106 w 164"/>
                <a:gd name="T79" fmla="*/ 321 h 333"/>
                <a:gd name="T80" fmla="*/ 122 w 164"/>
                <a:gd name="T81" fmla="*/ 298 h 333"/>
                <a:gd name="T82" fmla="*/ 143 w 164"/>
                <a:gd name="T83" fmla="*/ 305 h 333"/>
                <a:gd name="T84" fmla="*/ 144 w 164"/>
                <a:gd name="T85" fmla="*/ 327 h 333"/>
                <a:gd name="T86" fmla="*/ 152 w 164"/>
                <a:gd name="T87"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333">
                  <a:moveTo>
                    <a:pt x="164" y="255"/>
                  </a:moveTo>
                  <a:lnTo>
                    <a:pt x="164" y="255"/>
                  </a:lnTo>
                  <a:lnTo>
                    <a:pt x="156" y="254"/>
                  </a:lnTo>
                  <a:lnTo>
                    <a:pt x="147" y="253"/>
                  </a:lnTo>
                  <a:lnTo>
                    <a:pt x="138" y="250"/>
                  </a:lnTo>
                  <a:lnTo>
                    <a:pt x="131" y="247"/>
                  </a:lnTo>
                  <a:lnTo>
                    <a:pt x="123" y="243"/>
                  </a:lnTo>
                  <a:lnTo>
                    <a:pt x="116" y="239"/>
                  </a:lnTo>
                  <a:lnTo>
                    <a:pt x="110" y="234"/>
                  </a:lnTo>
                  <a:lnTo>
                    <a:pt x="104" y="228"/>
                  </a:lnTo>
                  <a:lnTo>
                    <a:pt x="98" y="222"/>
                  </a:lnTo>
                  <a:lnTo>
                    <a:pt x="93" y="214"/>
                  </a:lnTo>
                  <a:lnTo>
                    <a:pt x="89" y="208"/>
                  </a:lnTo>
                  <a:lnTo>
                    <a:pt x="85" y="200"/>
                  </a:lnTo>
                  <a:lnTo>
                    <a:pt x="82" y="192"/>
                  </a:lnTo>
                  <a:lnTo>
                    <a:pt x="80" y="184"/>
                  </a:lnTo>
                  <a:lnTo>
                    <a:pt x="79" y="175"/>
                  </a:lnTo>
                  <a:lnTo>
                    <a:pt x="78" y="166"/>
                  </a:lnTo>
                  <a:lnTo>
                    <a:pt x="78" y="166"/>
                  </a:lnTo>
                  <a:lnTo>
                    <a:pt x="79" y="158"/>
                  </a:lnTo>
                  <a:lnTo>
                    <a:pt x="80" y="149"/>
                  </a:lnTo>
                  <a:lnTo>
                    <a:pt x="82" y="140"/>
                  </a:lnTo>
                  <a:lnTo>
                    <a:pt x="85" y="132"/>
                  </a:lnTo>
                  <a:lnTo>
                    <a:pt x="89" y="124"/>
                  </a:lnTo>
                  <a:lnTo>
                    <a:pt x="93" y="117"/>
                  </a:lnTo>
                  <a:lnTo>
                    <a:pt x="98" y="111"/>
                  </a:lnTo>
                  <a:lnTo>
                    <a:pt x="104" y="105"/>
                  </a:lnTo>
                  <a:lnTo>
                    <a:pt x="110" y="99"/>
                  </a:lnTo>
                  <a:lnTo>
                    <a:pt x="116" y="94"/>
                  </a:lnTo>
                  <a:lnTo>
                    <a:pt x="123" y="89"/>
                  </a:lnTo>
                  <a:lnTo>
                    <a:pt x="131" y="85"/>
                  </a:lnTo>
                  <a:lnTo>
                    <a:pt x="138" y="82"/>
                  </a:lnTo>
                  <a:lnTo>
                    <a:pt x="147" y="80"/>
                  </a:lnTo>
                  <a:lnTo>
                    <a:pt x="156" y="79"/>
                  </a:lnTo>
                  <a:lnTo>
                    <a:pt x="164" y="78"/>
                  </a:lnTo>
                  <a:lnTo>
                    <a:pt x="164" y="0"/>
                  </a:lnTo>
                  <a:lnTo>
                    <a:pt x="148" y="0"/>
                  </a:lnTo>
                  <a:lnTo>
                    <a:pt x="148" y="0"/>
                  </a:lnTo>
                  <a:lnTo>
                    <a:pt x="144" y="1"/>
                  </a:lnTo>
                  <a:lnTo>
                    <a:pt x="142" y="2"/>
                  </a:lnTo>
                  <a:lnTo>
                    <a:pt x="140" y="5"/>
                  </a:lnTo>
                  <a:lnTo>
                    <a:pt x="140" y="8"/>
                  </a:lnTo>
                  <a:lnTo>
                    <a:pt x="140" y="29"/>
                  </a:lnTo>
                  <a:lnTo>
                    <a:pt x="140" y="29"/>
                  </a:lnTo>
                  <a:lnTo>
                    <a:pt x="128" y="32"/>
                  </a:lnTo>
                  <a:lnTo>
                    <a:pt x="119" y="34"/>
                  </a:lnTo>
                  <a:lnTo>
                    <a:pt x="109" y="18"/>
                  </a:lnTo>
                  <a:lnTo>
                    <a:pt x="109" y="18"/>
                  </a:lnTo>
                  <a:lnTo>
                    <a:pt x="106" y="15"/>
                  </a:lnTo>
                  <a:lnTo>
                    <a:pt x="104" y="13"/>
                  </a:lnTo>
                  <a:lnTo>
                    <a:pt x="100" y="13"/>
                  </a:lnTo>
                  <a:lnTo>
                    <a:pt x="96" y="15"/>
                  </a:lnTo>
                  <a:lnTo>
                    <a:pt x="67" y="32"/>
                  </a:lnTo>
                  <a:lnTo>
                    <a:pt x="67" y="32"/>
                  </a:lnTo>
                  <a:lnTo>
                    <a:pt x="64" y="34"/>
                  </a:lnTo>
                  <a:lnTo>
                    <a:pt x="63" y="37"/>
                  </a:lnTo>
                  <a:lnTo>
                    <a:pt x="63" y="41"/>
                  </a:lnTo>
                  <a:lnTo>
                    <a:pt x="64" y="43"/>
                  </a:lnTo>
                  <a:lnTo>
                    <a:pt x="74" y="62"/>
                  </a:lnTo>
                  <a:lnTo>
                    <a:pt x="74" y="62"/>
                  </a:lnTo>
                  <a:lnTo>
                    <a:pt x="67" y="69"/>
                  </a:lnTo>
                  <a:lnTo>
                    <a:pt x="59" y="76"/>
                  </a:lnTo>
                  <a:lnTo>
                    <a:pt x="42" y="66"/>
                  </a:lnTo>
                  <a:lnTo>
                    <a:pt x="42" y="66"/>
                  </a:lnTo>
                  <a:lnTo>
                    <a:pt x="40" y="65"/>
                  </a:lnTo>
                  <a:lnTo>
                    <a:pt x="36" y="66"/>
                  </a:lnTo>
                  <a:lnTo>
                    <a:pt x="32" y="68"/>
                  </a:lnTo>
                  <a:lnTo>
                    <a:pt x="31" y="70"/>
                  </a:lnTo>
                  <a:lnTo>
                    <a:pt x="14" y="100"/>
                  </a:lnTo>
                  <a:lnTo>
                    <a:pt x="14" y="100"/>
                  </a:lnTo>
                  <a:lnTo>
                    <a:pt x="12" y="102"/>
                  </a:lnTo>
                  <a:lnTo>
                    <a:pt x="12" y="106"/>
                  </a:lnTo>
                  <a:lnTo>
                    <a:pt x="14" y="108"/>
                  </a:lnTo>
                  <a:lnTo>
                    <a:pt x="16" y="111"/>
                  </a:lnTo>
                  <a:lnTo>
                    <a:pt x="35" y="122"/>
                  </a:lnTo>
                  <a:lnTo>
                    <a:pt x="35" y="122"/>
                  </a:lnTo>
                  <a:lnTo>
                    <a:pt x="31" y="132"/>
                  </a:lnTo>
                  <a:lnTo>
                    <a:pt x="29" y="143"/>
                  </a:lnTo>
                  <a:lnTo>
                    <a:pt x="9" y="143"/>
                  </a:lnTo>
                  <a:lnTo>
                    <a:pt x="9" y="143"/>
                  </a:lnTo>
                  <a:lnTo>
                    <a:pt x="6" y="143"/>
                  </a:lnTo>
                  <a:lnTo>
                    <a:pt x="3" y="145"/>
                  </a:lnTo>
                  <a:lnTo>
                    <a:pt x="1" y="148"/>
                  </a:lnTo>
                  <a:lnTo>
                    <a:pt x="0" y="152"/>
                  </a:lnTo>
                  <a:lnTo>
                    <a:pt x="0" y="185"/>
                  </a:lnTo>
                  <a:lnTo>
                    <a:pt x="0" y="185"/>
                  </a:lnTo>
                  <a:lnTo>
                    <a:pt x="1" y="189"/>
                  </a:lnTo>
                  <a:lnTo>
                    <a:pt x="3" y="191"/>
                  </a:lnTo>
                  <a:lnTo>
                    <a:pt x="6" y="194"/>
                  </a:lnTo>
                  <a:lnTo>
                    <a:pt x="9" y="194"/>
                  </a:lnTo>
                  <a:lnTo>
                    <a:pt x="30" y="194"/>
                  </a:lnTo>
                  <a:lnTo>
                    <a:pt x="30" y="194"/>
                  </a:lnTo>
                  <a:lnTo>
                    <a:pt x="32" y="205"/>
                  </a:lnTo>
                  <a:lnTo>
                    <a:pt x="36" y="214"/>
                  </a:lnTo>
                  <a:lnTo>
                    <a:pt x="19" y="224"/>
                  </a:lnTo>
                  <a:lnTo>
                    <a:pt x="19" y="224"/>
                  </a:lnTo>
                  <a:lnTo>
                    <a:pt x="16" y="227"/>
                  </a:lnTo>
                  <a:lnTo>
                    <a:pt x="15" y="229"/>
                  </a:lnTo>
                  <a:lnTo>
                    <a:pt x="14" y="233"/>
                  </a:lnTo>
                  <a:lnTo>
                    <a:pt x="15" y="237"/>
                  </a:lnTo>
                  <a:lnTo>
                    <a:pt x="32" y="266"/>
                  </a:lnTo>
                  <a:lnTo>
                    <a:pt x="32" y="266"/>
                  </a:lnTo>
                  <a:lnTo>
                    <a:pt x="35" y="269"/>
                  </a:lnTo>
                  <a:lnTo>
                    <a:pt x="37" y="270"/>
                  </a:lnTo>
                  <a:lnTo>
                    <a:pt x="41" y="270"/>
                  </a:lnTo>
                  <a:lnTo>
                    <a:pt x="45" y="269"/>
                  </a:lnTo>
                  <a:lnTo>
                    <a:pt x="62" y="259"/>
                  </a:lnTo>
                  <a:lnTo>
                    <a:pt x="62" y="259"/>
                  </a:lnTo>
                  <a:lnTo>
                    <a:pt x="69" y="266"/>
                  </a:lnTo>
                  <a:lnTo>
                    <a:pt x="78" y="274"/>
                  </a:lnTo>
                  <a:lnTo>
                    <a:pt x="68" y="291"/>
                  </a:lnTo>
                  <a:lnTo>
                    <a:pt x="68" y="291"/>
                  </a:lnTo>
                  <a:lnTo>
                    <a:pt x="67" y="295"/>
                  </a:lnTo>
                  <a:lnTo>
                    <a:pt x="67" y="297"/>
                  </a:lnTo>
                  <a:lnTo>
                    <a:pt x="68" y="301"/>
                  </a:lnTo>
                  <a:lnTo>
                    <a:pt x="70" y="302"/>
                  </a:lnTo>
                  <a:lnTo>
                    <a:pt x="100" y="319"/>
                  </a:lnTo>
                  <a:lnTo>
                    <a:pt x="100" y="319"/>
                  </a:lnTo>
                  <a:lnTo>
                    <a:pt x="104" y="321"/>
                  </a:lnTo>
                  <a:lnTo>
                    <a:pt x="106" y="321"/>
                  </a:lnTo>
                  <a:lnTo>
                    <a:pt x="110" y="319"/>
                  </a:lnTo>
                  <a:lnTo>
                    <a:pt x="112" y="317"/>
                  </a:lnTo>
                  <a:lnTo>
                    <a:pt x="122" y="298"/>
                  </a:lnTo>
                  <a:lnTo>
                    <a:pt x="122" y="298"/>
                  </a:lnTo>
                  <a:lnTo>
                    <a:pt x="132" y="302"/>
                  </a:lnTo>
                  <a:lnTo>
                    <a:pt x="143" y="305"/>
                  </a:lnTo>
                  <a:lnTo>
                    <a:pt x="143" y="324"/>
                  </a:lnTo>
                  <a:lnTo>
                    <a:pt x="143" y="324"/>
                  </a:lnTo>
                  <a:lnTo>
                    <a:pt x="144" y="327"/>
                  </a:lnTo>
                  <a:lnTo>
                    <a:pt x="146" y="330"/>
                  </a:lnTo>
                  <a:lnTo>
                    <a:pt x="148" y="332"/>
                  </a:lnTo>
                  <a:lnTo>
                    <a:pt x="152" y="333"/>
                  </a:lnTo>
                  <a:lnTo>
                    <a:pt x="164" y="333"/>
                  </a:lnTo>
                  <a:lnTo>
                    <a:pt x="164" y="255"/>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206">
              <a:extLst>
                <a:ext uri="{FF2B5EF4-FFF2-40B4-BE49-F238E27FC236}">
                  <a16:creationId xmlns:a16="http://schemas.microsoft.com/office/drawing/2014/main" id="{14EDA596-C863-DE2E-AC55-23DF0B047C60}"/>
                </a:ext>
              </a:extLst>
            </p:cNvPr>
            <p:cNvSpPr>
              <a:spLocks noEditPoints="1"/>
            </p:cNvSpPr>
            <p:nvPr/>
          </p:nvSpPr>
          <p:spPr bwMode="auto">
            <a:xfrm>
              <a:off x="3556000" y="409575"/>
              <a:ext cx="342900" cy="344488"/>
            </a:xfrm>
            <a:custGeom>
              <a:avLst/>
              <a:gdLst>
                <a:gd name="T0" fmla="*/ 97 w 216"/>
                <a:gd name="T1" fmla="*/ 1 h 217"/>
                <a:gd name="T2" fmla="*/ 66 w 216"/>
                <a:gd name="T3" fmla="*/ 8 h 217"/>
                <a:gd name="T4" fmla="*/ 40 w 216"/>
                <a:gd name="T5" fmla="*/ 24 h 217"/>
                <a:gd name="T6" fmla="*/ 19 w 216"/>
                <a:gd name="T7" fmla="*/ 48 h 217"/>
                <a:gd name="T8" fmla="*/ 5 w 216"/>
                <a:gd name="T9" fmla="*/ 76 h 217"/>
                <a:gd name="T10" fmla="*/ 0 w 216"/>
                <a:gd name="T11" fmla="*/ 108 h 217"/>
                <a:gd name="T12" fmla="*/ 2 w 216"/>
                <a:gd name="T13" fmla="*/ 131 h 217"/>
                <a:gd name="T14" fmla="*/ 13 w 216"/>
                <a:gd name="T15" fmla="*/ 160 h 217"/>
                <a:gd name="T16" fmla="*/ 31 w 216"/>
                <a:gd name="T17" fmla="*/ 185 h 217"/>
                <a:gd name="T18" fmla="*/ 56 w 216"/>
                <a:gd name="T19" fmla="*/ 203 h 217"/>
                <a:gd name="T20" fmla="*/ 87 w 216"/>
                <a:gd name="T21" fmla="*/ 214 h 217"/>
                <a:gd name="T22" fmla="*/ 108 w 216"/>
                <a:gd name="T23" fmla="*/ 217 h 217"/>
                <a:gd name="T24" fmla="*/ 140 w 216"/>
                <a:gd name="T25" fmla="*/ 212 h 217"/>
                <a:gd name="T26" fmla="*/ 168 w 216"/>
                <a:gd name="T27" fmla="*/ 198 h 217"/>
                <a:gd name="T28" fmla="*/ 192 w 216"/>
                <a:gd name="T29" fmla="*/ 177 h 217"/>
                <a:gd name="T30" fmla="*/ 208 w 216"/>
                <a:gd name="T31" fmla="*/ 150 h 217"/>
                <a:gd name="T32" fmla="*/ 215 w 216"/>
                <a:gd name="T33" fmla="*/ 119 h 217"/>
                <a:gd name="T34" fmla="*/ 215 w 216"/>
                <a:gd name="T35" fmla="*/ 97 h 217"/>
                <a:gd name="T36" fmla="*/ 208 w 216"/>
                <a:gd name="T37" fmla="*/ 66 h 217"/>
                <a:gd name="T38" fmla="*/ 192 w 216"/>
                <a:gd name="T39" fmla="*/ 39 h 217"/>
                <a:gd name="T40" fmla="*/ 168 w 216"/>
                <a:gd name="T41" fmla="*/ 18 h 217"/>
                <a:gd name="T42" fmla="*/ 140 w 216"/>
                <a:gd name="T43" fmla="*/ 5 h 217"/>
                <a:gd name="T44" fmla="*/ 108 w 216"/>
                <a:gd name="T45" fmla="*/ 0 h 217"/>
                <a:gd name="T46" fmla="*/ 108 w 216"/>
                <a:gd name="T47" fmla="*/ 197 h 217"/>
                <a:gd name="T48" fmla="*/ 82 w 216"/>
                <a:gd name="T49" fmla="*/ 193 h 217"/>
                <a:gd name="T50" fmla="*/ 58 w 216"/>
                <a:gd name="T51" fmla="*/ 182 h 217"/>
                <a:gd name="T52" fmla="*/ 40 w 216"/>
                <a:gd name="T53" fmla="*/ 165 h 217"/>
                <a:gd name="T54" fmla="*/ 26 w 216"/>
                <a:gd name="T55" fmla="*/ 143 h 217"/>
                <a:gd name="T56" fmla="*/ 20 w 216"/>
                <a:gd name="T57" fmla="*/ 117 h 217"/>
                <a:gd name="T58" fmla="*/ 20 w 216"/>
                <a:gd name="T59" fmla="*/ 100 h 217"/>
                <a:gd name="T60" fmla="*/ 26 w 216"/>
                <a:gd name="T61" fmla="*/ 74 h 217"/>
                <a:gd name="T62" fmla="*/ 40 w 216"/>
                <a:gd name="T63" fmla="*/ 52 h 217"/>
                <a:gd name="T64" fmla="*/ 58 w 216"/>
                <a:gd name="T65" fmla="*/ 34 h 217"/>
                <a:gd name="T66" fmla="*/ 82 w 216"/>
                <a:gd name="T67" fmla="*/ 23 h 217"/>
                <a:gd name="T68" fmla="*/ 108 w 216"/>
                <a:gd name="T69" fmla="*/ 20 h 217"/>
                <a:gd name="T70" fmla="*/ 126 w 216"/>
                <a:gd name="T71" fmla="*/ 21 h 217"/>
                <a:gd name="T72" fmla="*/ 151 w 216"/>
                <a:gd name="T73" fmla="*/ 31 h 217"/>
                <a:gd name="T74" fmla="*/ 171 w 216"/>
                <a:gd name="T75" fmla="*/ 45 h 217"/>
                <a:gd name="T76" fmla="*/ 187 w 216"/>
                <a:gd name="T77" fmla="*/ 66 h 217"/>
                <a:gd name="T78" fmla="*/ 195 w 216"/>
                <a:gd name="T79" fmla="*/ 90 h 217"/>
                <a:gd name="T80" fmla="*/ 196 w 216"/>
                <a:gd name="T81" fmla="*/ 108 h 217"/>
                <a:gd name="T82" fmla="*/ 193 w 216"/>
                <a:gd name="T83" fmla="*/ 134 h 217"/>
                <a:gd name="T84" fmla="*/ 182 w 216"/>
                <a:gd name="T85" fmla="*/ 158 h 217"/>
                <a:gd name="T86" fmla="*/ 164 w 216"/>
                <a:gd name="T87" fmla="*/ 176 h 217"/>
                <a:gd name="T88" fmla="*/ 142 w 216"/>
                <a:gd name="T89" fmla="*/ 190 h 217"/>
                <a:gd name="T90" fmla="*/ 118 w 216"/>
                <a:gd name="T91" fmla="*/ 19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6" h="217">
                  <a:moveTo>
                    <a:pt x="108" y="0"/>
                  </a:moveTo>
                  <a:lnTo>
                    <a:pt x="108" y="0"/>
                  </a:lnTo>
                  <a:lnTo>
                    <a:pt x="97" y="1"/>
                  </a:lnTo>
                  <a:lnTo>
                    <a:pt x="87" y="2"/>
                  </a:lnTo>
                  <a:lnTo>
                    <a:pt x="76" y="5"/>
                  </a:lnTo>
                  <a:lnTo>
                    <a:pt x="66" y="8"/>
                  </a:lnTo>
                  <a:lnTo>
                    <a:pt x="56" y="13"/>
                  </a:lnTo>
                  <a:lnTo>
                    <a:pt x="47" y="18"/>
                  </a:lnTo>
                  <a:lnTo>
                    <a:pt x="40" y="24"/>
                  </a:lnTo>
                  <a:lnTo>
                    <a:pt x="31" y="32"/>
                  </a:lnTo>
                  <a:lnTo>
                    <a:pt x="25" y="39"/>
                  </a:lnTo>
                  <a:lnTo>
                    <a:pt x="19" y="48"/>
                  </a:lnTo>
                  <a:lnTo>
                    <a:pt x="13" y="57"/>
                  </a:lnTo>
                  <a:lnTo>
                    <a:pt x="9" y="66"/>
                  </a:lnTo>
                  <a:lnTo>
                    <a:pt x="5" y="76"/>
                  </a:lnTo>
                  <a:lnTo>
                    <a:pt x="2" y="86"/>
                  </a:lnTo>
                  <a:lnTo>
                    <a:pt x="0" y="97"/>
                  </a:lnTo>
                  <a:lnTo>
                    <a:pt x="0" y="108"/>
                  </a:lnTo>
                  <a:lnTo>
                    <a:pt x="0" y="108"/>
                  </a:lnTo>
                  <a:lnTo>
                    <a:pt x="0" y="119"/>
                  </a:lnTo>
                  <a:lnTo>
                    <a:pt x="2" y="131"/>
                  </a:lnTo>
                  <a:lnTo>
                    <a:pt x="5" y="140"/>
                  </a:lnTo>
                  <a:lnTo>
                    <a:pt x="9" y="150"/>
                  </a:lnTo>
                  <a:lnTo>
                    <a:pt x="13" y="160"/>
                  </a:lnTo>
                  <a:lnTo>
                    <a:pt x="19" y="169"/>
                  </a:lnTo>
                  <a:lnTo>
                    <a:pt x="25" y="177"/>
                  </a:lnTo>
                  <a:lnTo>
                    <a:pt x="31" y="185"/>
                  </a:lnTo>
                  <a:lnTo>
                    <a:pt x="40" y="191"/>
                  </a:lnTo>
                  <a:lnTo>
                    <a:pt x="47" y="198"/>
                  </a:lnTo>
                  <a:lnTo>
                    <a:pt x="56" y="203"/>
                  </a:lnTo>
                  <a:lnTo>
                    <a:pt x="66" y="208"/>
                  </a:lnTo>
                  <a:lnTo>
                    <a:pt x="76" y="212"/>
                  </a:lnTo>
                  <a:lnTo>
                    <a:pt x="87" y="214"/>
                  </a:lnTo>
                  <a:lnTo>
                    <a:pt x="97" y="216"/>
                  </a:lnTo>
                  <a:lnTo>
                    <a:pt x="108" y="217"/>
                  </a:lnTo>
                  <a:lnTo>
                    <a:pt x="108" y="217"/>
                  </a:lnTo>
                  <a:lnTo>
                    <a:pt x="119" y="216"/>
                  </a:lnTo>
                  <a:lnTo>
                    <a:pt x="130" y="214"/>
                  </a:lnTo>
                  <a:lnTo>
                    <a:pt x="140" y="212"/>
                  </a:lnTo>
                  <a:lnTo>
                    <a:pt x="150" y="208"/>
                  </a:lnTo>
                  <a:lnTo>
                    <a:pt x="159" y="203"/>
                  </a:lnTo>
                  <a:lnTo>
                    <a:pt x="168" y="198"/>
                  </a:lnTo>
                  <a:lnTo>
                    <a:pt x="177" y="191"/>
                  </a:lnTo>
                  <a:lnTo>
                    <a:pt x="184" y="185"/>
                  </a:lnTo>
                  <a:lnTo>
                    <a:pt x="192" y="177"/>
                  </a:lnTo>
                  <a:lnTo>
                    <a:pt x="198" y="169"/>
                  </a:lnTo>
                  <a:lnTo>
                    <a:pt x="203" y="160"/>
                  </a:lnTo>
                  <a:lnTo>
                    <a:pt x="208" y="150"/>
                  </a:lnTo>
                  <a:lnTo>
                    <a:pt x="211" y="140"/>
                  </a:lnTo>
                  <a:lnTo>
                    <a:pt x="214" y="131"/>
                  </a:lnTo>
                  <a:lnTo>
                    <a:pt x="215" y="119"/>
                  </a:lnTo>
                  <a:lnTo>
                    <a:pt x="216" y="108"/>
                  </a:lnTo>
                  <a:lnTo>
                    <a:pt x="216" y="108"/>
                  </a:lnTo>
                  <a:lnTo>
                    <a:pt x="215" y="97"/>
                  </a:lnTo>
                  <a:lnTo>
                    <a:pt x="214" y="86"/>
                  </a:lnTo>
                  <a:lnTo>
                    <a:pt x="211" y="76"/>
                  </a:lnTo>
                  <a:lnTo>
                    <a:pt x="208" y="66"/>
                  </a:lnTo>
                  <a:lnTo>
                    <a:pt x="203" y="57"/>
                  </a:lnTo>
                  <a:lnTo>
                    <a:pt x="198" y="48"/>
                  </a:lnTo>
                  <a:lnTo>
                    <a:pt x="192" y="39"/>
                  </a:lnTo>
                  <a:lnTo>
                    <a:pt x="184" y="32"/>
                  </a:lnTo>
                  <a:lnTo>
                    <a:pt x="177" y="24"/>
                  </a:lnTo>
                  <a:lnTo>
                    <a:pt x="168" y="18"/>
                  </a:lnTo>
                  <a:lnTo>
                    <a:pt x="159" y="13"/>
                  </a:lnTo>
                  <a:lnTo>
                    <a:pt x="150" y="8"/>
                  </a:lnTo>
                  <a:lnTo>
                    <a:pt x="140" y="5"/>
                  </a:lnTo>
                  <a:lnTo>
                    <a:pt x="130" y="2"/>
                  </a:lnTo>
                  <a:lnTo>
                    <a:pt x="119" y="1"/>
                  </a:lnTo>
                  <a:lnTo>
                    <a:pt x="108" y="0"/>
                  </a:lnTo>
                  <a:lnTo>
                    <a:pt x="108" y="0"/>
                  </a:lnTo>
                  <a:close/>
                  <a:moveTo>
                    <a:pt x="108" y="197"/>
                  </a:moveTo>
                  <a:lnTo>
                    <a:pt x="108" y="197"/>
                  </a:lnTo>
                  <a:lnTo>
                    <a:pt x="99" y="196"/>
                  </a:lnTo>
                  <a:lnTo>
                    <a:pt x="90" y="195"/>
                  </a:lnTo>
                  <a:lnTo>
                    <a:pt x="82" y="193"/>
                  </a:lnTo>
                  <a:lnTo>
                    <a:pt x="73" y="190"/>
                  </a:lnTo>
                  <a:lnTo>
                    <a:pt x="66" y="186"/>
                  </a:lnTo>
                  <a:lnTo>
                    <a:pt x="58" y="182"/>
                  </a:lnTo>
                  <a:lnTo>
                    <a:pt x="51" y="176"/>
                  </a:lnTo>
                  <a:lnTo>
                    <a:pt x="45" y="171"/>
                  </a:lnTo>
                  <a:lnTo>
                    <a:pt x="40" y="165"/>
                  </a:lnTo>
                  <a:lnTo>
                    <a:pt x="35" y="158"/>
                  </a:lnTo>
                  <a:lnTo>
                    <a:pt x="30" y="150"/>
                  </a:lnTo>
                  <a:lnTo>
                    <a:pt x="26" y="143"/>
                  </a:lnTo>
                  <a:lnTo>
                    <a:pt x="24" y="134"/>
                  </a:lnTo>
                  <a:lnTo>
                    <a:pt x="21" y="126"/>
                  </a:lnTo>
                  <a:lnTo>
                    <a:pt x="20" y="117"/>
                  </a:lnTo>
                  <a:lnTo>
                    <a:pt x="19" y="108"/>
                  </a:lnTo>
                  <a:lnTo>
                    <a:pt x="19" y="108"/>
                  </a:lnTo>
                  <a:lnTo>
                    <a:pt x="20" y="100"/>
                  </a:lnTo>
                  <a:lnTo>
                    <a:pt x="21" y="90"/>
                  </a:lnTo>
                  <a:lnTo>
                    <a:pt x="24" y="82"/>
                  </a:lnTo>
                  <a:lnTo>
                    <a:pt x="26" y="74"/>
                  </a:lnTo>
                  <a:lnTo>
                    <a:pt x="30" y="66"/>
                  </a:lnTo>
                  <a:lnTo>
                    <a:pt x="35" y="59"/>
                  </a:lnTo>
                  <a:lnTo>
                    <a:pt x="40" y="52"/>
                  </a:lnTo>
                  <a:lnTo>
                    <a:pt x="45" y="45"/>
                  </a:lnTo>
                  <a:lnTo>
                    <a:pt x="51" y="39"/>
                  </a:lnTo>
                  <a:lnTo>
                    <a:pt x="58" y="34"/>
                  </a:lnTo>
                  <a:lnTo>
                    <a:pt x="66" y="31"/>
                  </a:lnTo>
                  <a:lnTo>
                    <a:pt x="73" y="27"/>
                  </a:lnTo>
                  <a:lnTo>
                    <a:pt x="82" y="23"/>
                  </a:lnTo>
                  <a:lnTo>
                    <a:pt x="90" y="21"/>
                  </a:lnTo>
                  <a:lnTo>
                    <a:pt x="99" y="20"/>
                  </a:lnTo>
                  <a:lnTo>
                    <a:pt x="108" y="20"/>
                  </a:lnTo>
                  <a:lnTo>
                    <a:pt x="108" y="20"/>
                  </a:lnTo>
                  <a:lnTo>
                    <a:pt x="118" y="20"/>
                  </a:lnTo>
                  <a:lnTo>
                    <a:pt x="126" y="21"/>
                  </a:lnTo>
                  <a:lnTo>
                    <a:pt x="135" y="23"/>
                  </a:lnTo>
                  <a:lnTo>
                    <a:pt x="142" y="27"/>
                  </a:lnTo>
                  <a:lnTo>
                    <a:pt x="151" y="31"/>
                  </a:lnTo>
                  <a:lnTo>
                    <a:pt x="157" y="34"/>
                  </a:lnTo>
                  <a:lnTo>
                    <a:pt x="164" y="39"/>
                  </a:lnTo>
                  <a:lnTo>
                    <a:pt x="171" y="45"/>
                  </a:lnTo>
                  <a:lnTo>
                    <a:pt x="177" y="52"/>
                  </a:lnTo>
                  <a:lnTo>
                    <a:pt x="182" y="59"/>
                  </a:lnTo>
                  <a:lnTo>
                    <a:pt x="187" y="66"/>
                  </a:lnTo>
                  <a:lnTo>
                    <a:pt x="190" y="74"/>
                  </a:lnTo>
                  <a:lnTo>
                    <a:pt x="193" y="82"/>
                  </a:lnTo>
                  <a:lnTo>
                    <a:pt x="195" y="90"/>
                  </a:lnTo>
                  <a:lnTo>
                    <a:pt x="196" y="100"/>
                  </a:lnTo>
                  <a:lnTo>
                    <a:pt x="196" y="108"/>
                  </a:lnTo>
                  <a:lnTo>
                    <a:pt x="196" y="108"/>
                  </a:lnTo>
                  <a:lnTo>
                    <a:pt x="196" y="117"/>
                  </a:lnTo>
                  <a:lnTo>
                    <a:pt x="195" y="126"/>
                  </a:lnTo>
                  <a:lnTo>
                    <a:pt x="193" y="134"/>
                  </a:lnTo>
                  <a:lnTo>
                    <a:pt x="190" y="143"/>
                  </a:lnTo>
                  <a:lnTo>
                    <a:pt x="187" y="150"/>
                  </a:lnTo>
                  <a:lnTo>
                    <a:pt x="182" y="158"/>
                  </a:lnTo>
                  <a:lnTo>
                    <a:pt x="177" y="165"/>
                  </a:lnTo>
                  <a:lnTo>
                    <a:pt x="171" y="171"/>
                  </a:lnTo>
                  <a:lnTo>
                    <a:pt x="164" y="176"/>
                  </a:lnTo>
                  <a:lnTo>
                    <a:pt x="157" y="182"/>
                  </a:lnTo>
                  <a:lnTo>
                    <a:pt x="151" y="186"/>
                  </a:lnTo>
                  <a:lnTo>
                    <a:pt x="142" y="190"/>
                  </a:lnTo>
                  <a:lnTo>
                    <a:pt x="135" y="193"/>
                  </a:lnTo>
                  <a:lnTo>
                    <a:pt x="126" y="195"/>
                  </a:lnTo>
                  <a:lnTo>
                    <a:pt x="118" y="196"/>
                  </a:lnTo>
                  <a:lnTo>
                    <a:pt x="108" y="197"/>
                  </a:lnTo>
                  <a:lnTo>
                    <a:pt x="108" y="197"/>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207">
              <a:extLst>
                <a:ext uri="{FF2B5EF4-FFF2-40B4-BE49-F238E27FC236}">
                  <a16:creationId xmlns:a16="http://schemas.microsoft.com/office/drawing/2014/main" id="{D1012462-1A63-A41D-9639-096154A5281B}"/>
                </a:ext>
              </a:extLst>
            </p:cNvPr>
            <p:cNvSpPr>
              <a:spLocks/>
            </p:cNvSpPr>
            <p:nvPr/>
          </p:nvSpPr>
          <p:spPr bwMode="auto">
            <a:xfrm>
              <a:off x="3722688" y="409575"/>
              <a:ext cx="176213" cy="344488"/>
            </a:xfrm>
            <a:custGeom>
              <a:avLst/>
              <a:gdLst>
                <a:gd name="T0" fmla="*/ 3 w 111"/>
                <a:gd name="T1" fmla="*/ 0 h 217"/>
                <a:gd name="T2" fmla="*/ 0 w 111"/>
                <a:gd name="T3" fmla="*/ 20 h 217"/>
                <a:gd name="T4" fmla="*/ 3 w 111"/>
                <a:gd name="T5" fmla="*/ 20 h 217"/>
                <a:gd name="T6" fmla="*/ 13 w 111"/>
                <a:gd name="T7" fmla="*/ 20 h 217"/>
                <a:gd name="T8" fmla="*/ 30 w 111"/>
                <a:gd name="T9" fmla="*/ 23 h 217"/>
                <a:gd name="T10" fmla="*/ 46 w 111"/>
                <a:gd name="T11" fmla="*/ 31 h 217"/>
                <a:gd name="T12" fmla="*/ 59 w 111"/>
                <a:gd name="T13" fmla="*/ 39 h 217"/>
                <a:gd name="T14" fmla="*/ 72 w 111"/>
                <a:gd name="T15" fmla="*/ 52 h 217"/>
                <a:gd name="T16" fmla="*/ 82 w 111"/>
                <a:gd name="T17" fmla="*/ 66 h 217"/>
                <a:gd name="T18" fmla="*/ 88 w 111"/>
                <a:gd name="T19" fmla="*/ 82 h 217"/>
                <a:gd name="T20" fmla="*/ 91 w 111"/>
                <a:gd name="T21" fmla="*/ 100 h 217"/>
                <a:gd name="T22" fmla="*/ 91 w 111"/>
                <a:gd name="T23" fmla="*/ 108 h 217"/>
                <a:gd name="T24" fmla="*/ 90 w 111"/>
                <a:gd name="T25" fmla="*/ 126 h 217"/>
                <a:gd name="T26" fmla="*/ 85 w 111"/>
                <a:gd name="T27" fmla="*/ 143 h 217"/>
                <a:gd name="T28" fmla="*/ 77 w 111"/>
                <a:gd name="T29" fmla="*/ 158 h 217"/>
                <a:gd name="T30" fmla="*/ 66 w 111"/>
                <a:gd name="T31" fmla="*/ 171 h 217"/>
                <a:gd name="T32" fmla="*/ 52 w 111"/>
                <a:gd name="T33" fmla="*/ 182 h 217"/>
                <a:gd name="T34" fmla="*/ 37 w 111"/>
                <a:gd name="T35" fmla="*/ 190 h 217"/>
                <a:gd name="T36" fmla="*/ 21 w 111"/>
                <a:gd name="T37" fmla="*/ 195 h 217"/>
                <a:gd name="T38" fmla="*/ 3 w 111"/>
                <a:gd name="T39" fmla="*/ 197 h 217"/>
                <a:gd name="T40" fmla="*/ 0 w 111"/>
                <a:gd name="T41" fmla="*/ 197 h 217"/>
                <a:gd name="T42" fmla="*/ 0 w 111"/>
                <a:gd name="T43" fmla="*/ 216 h 217"/>
                <a:gd name="T44" fmla="*/ 3 w 111"/>
                <a:gd name="T45" fmla="*/ 217 h 217"/>
                <a:gd name="T46" fmla="*/ 25 w 111"/>
                <a:gd name="T47" fmla="*/ 214 h 217"/>
                <a:gd name="T48" fmla="*/ 45 w 111"/>
                <a:gd name="T49" fmla="*/ 208 h 217"/>
                <a:gd name="T50" fmla="*/ 63 w 111"/>
                <a:gd name="T51" fmla="*/ 198 h 217"/>
                <a:gd name="T52" fmla="*/ 79 w 111"/>
                <a:gd name="T53" fmla="*/ 185 h 217"/>
                <a:gd name="T54" fmla="*/ 93 w 111"/>
                <a:gd name="T55" fmla="*/ 169 h 217"/>
                <a:gd name="T56" fmla="*/ 103 w 111"/>
                <a:gd name="T57" fmla="*/ 150 h 217"/>
                <a:gd name="T58" fmla="*/ 109 w 111"/>
                <a:gd name="T59" fmla="*/ 131 h 217"/>
                <a:gd name="T60" fmla="*/ 111 w 111"/>
                <a:gd name="T61" fmla="*/ 108 h 217"/>
                <a:gd name="T62" fmla="*/ 110 w 111"/>
                <a:gd name="T63" fmla="*/ 97 h 217"/>
                <a:gd name="T64" fmla="*/ 106 w 111"/>
                <a:gd name="T65" fmla="*/ 76 h 217"/>
                <a:gd name="T66" fmla="*/ 98 w 111"/>
                <a:gd name="T67" fmla="*/ 57 h 217"/>
                <a:gd name="T68" fmla="*/ 87 w 111"/>
                <a:gd name="T69" fmla="*/ 39 h 217"/>
                <a:gd name="T70" fmla="*/ 72 w 111"/>
                <a:gd name="T71" fmla="*/ 24 h 217"/>
                <a:gd name="T72" fmla="*/ 54 w 111"/>
                <a:gd name="T73" fmla="*/ 13 h 217"/>
                <a:gd name="T74" fmla="*/ 35 w 111"/>
                <a:gd name="T75" fmla="*/ 5 h 217"/>
                <a:gd name="T76" fmla="*/ 14 w 111"/>
                <a:gd name="T77" fmla="*/ 1 h 217"/>
                <a:gd name="T78" fmla="*/ 3 w 111"/>
                <a:gd name="T7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1" h="217">
                  <a:moveTo>
                    <a:pt x="3" y="0"/>
                  </a:moveTo>
                  <a:lnTo>
                    <a:pt x="3" y="0"/>
                  </a:lnTo>
                  <a:lnTo>
                    <a:pt x="0" y="0"/>
                  </a:lnTo>
                  <a:lnTo>
                    <a:pt x="0" y="20"/>
                  </a:lnTo>
                  <a:lnTo>
                    <a:pt x="0" y="20"/>
                  </a:lnTo>
                  <a:lnTo>
                    <a:pt x="3" y="20"/>
                  </a:lnTo>
                  <a:lnTo>
                    <a:pt x="3" y="20"/>
                  </a:lnTo>
                  <a:lnTo>
                    <a:pt x="13" y="20"/>
                  </a:lnTo>
                  <a:lnTo>
                    <a:pt x="21" y="21"/>
                  </a:lnTo>
                  <a:lnTo>
                    <a:pt x="30" y="23"/>
                  </a:lnTo>
                  <a:lnTo>
                    <a:pt x="37" y="27"/>
                  </a:lnTo>
                  <a:lnTo>
                    <a:pt x="46" y="31"/>
                  </a:lnTo>
                  <a:lnTo>
                    <a:pt x="52" y="34"/>
                  </a:lnTo>
                  <a:lnTo>
                    <a:pt x="59" y="39"/>
                  </a:lnTo>
                  <a:lnTo>
                    <a:pt x="66" y="45"/>
                  </a:lnTo>
                  <a:lnTo>
                    <a:pt x="72" y="52"/>
                  </a:lnTo>
                  <a:lnTo>
                    <a:pt x="77" y="59"/>
                  </a:lnTo>
                  <a:lnTo>
                    <a:pt x="82" y="66"/>
                  </a:lnTo>
                  <a:lnTo>
                    <a:pt x="85" y="74"/>
                  </a:lnTo>
                  <a:lnTo>
                    <a:pt x="88" y="82"/>
                  </a:lnTo>
                  <a:lnTo>
                    <a:pt x="90" y="90"/>
                  </a:lnTo>
                  <a:lnTo>
                    <a:pt x="91" y="100"/>
                  </a:lnTo>
                  <a:lnTo>
                    <a:pt x="91" y="108"/>
                  </a:lnTo>
                  <a:lnTo>
                    <a:pt x="91" y="108"/>
                  </a:lnTo>
                  <a:lnTo>
                    <a:pt x="91" y="117"/>
                  </a:lnTo>
                  <a:lnTo>
                    <a:pt x="90" y="126"/>
                  </a:lnTo>
                  <a:lnTo>
                    <a:pt x="88" y="134"/>
                  </a:lnTo>
                  <a:lnTo>
                    <a:pt x="85" y="143"/>
                  </a:lnTo>
                  <a:lnTo>
                    <a:pt x="82" y="150"/>
                  </a:lnTo>
                  <a:lnTo>
                    <a:pt x="77" y="158"/>
                  </a:lnTo>
                  <a:lnTo>
                    <a:pt x="72" y="165"/>
                  </a:lnTo>
                  <a:lnTo>
                    <a:pt x="66" y="171"/>
                  </a:lnTo>
                  <a:lnTo>
                    <a:pt x="59" y="176"/>
                  </a:lnTo>
                  <a:lnTo>
                    <a:pt x="52" y="182"/>
                  </a:lnTo>
                  <a:lnTo>
                    <a:pt x="46" y="186"/>
                  </a:lnTo>
                  <a:lnTo>
                    <a:pt x="37" y="190"/>
                  </a:lnTo>
                  <a:lnTo>
                    <a:pt x="30" y="193"/>
                  </a:lnTo>
                  <a:lnTo>
                    <a:pt x="21" y="195"/>
                  </a:lnTo>
                  <a:lnTo>
                    <a:pt x="13" y="196"/>
                  </a:lnTo>
                  <a:lnTo>
                    <a:pt x="3" y="197"/>
                  </a:lnTo>
                  <a:lnTo>
                    <a:pt x="3" y="197"/>
                  </a:lnTo>
                  <a:lnTo>
                    <a:pt x="0" y="197"/>
                  </a:lnTo>
                  <a:lnTo>
                    <a:pt x="0" y="216"/>
                  </a:lnTo>
                  <a:lnTo>
                    <a:pt x="0" y="216"/>
                  </a:lnTo>
                  <a:lnTo>
                    <a:pt x="3" y="217"/>
                  </a:lnTo>
                  <a:lnTo>
                    <a:pt x="3" y="217"/>
                  </a:lnTo>
                  <a:lnTo>
                    <a:pt x="14" y="216"/>
                  </a:lnTo>
                  <a:lnTo>
                    <a:pt x="25" y="214"/>
                  </a:lnTo>
                  <a:lnTo>
                    <a:pt x="35" y="212"/>
                  </a:lnTo>
                  <a:lnTo>
                    <a:pt x="45" y="208"/>
                  </a:lnTo>
                  <a:lnTo>
                    <a:pt x="54" y="203"/>
                  </a:lnTo>
                  <a:lnTo>
                    <a:pt x="63" y="198"/>
                  </a:lnTo>
                  <a:lnTo>
                    <a:pt x="72" y="191"/>
                  </a:lnTo>
                  <a:lnTo>
                    <a:pt x="79" y="185"/>
                  </a:lnTo>
                  <a:lnTo>
                    <a:pt x="87" y="177"/>
                  </a:lnTo>
                  <a:lnTo>
                    <a:pt x="93" y="169"/>
                  </a:lnTo>
                  <a:lnTo>
                    <a:pt x="98" y="160"/>
                  </a:lnTo>
                  <a:lnTo>
                    <a:pt x="103" y="150"/>
                  </a:lnTo>
                  <a:lnTo>
                    <a:pt x="106" y="140"/>
                  </a:lnTo>
                  <a:lnTo>
                    <a:pt x="109" y="131"/>
                  </a:lnTo>
                  <a:lnTo>
                    <a:pt x="110" y="119"/>
                  </a:lnTo>
                  <a:lnTo>
                    <a:pt x="111" y="108"/>
                  </a:lnTo>
                  <a:lnTo>
                    <a:pt x="111" y="108"/>
                  </a:lnTo>
                  <a:lnTo>
                    <a:pt x="110" y="97"/>
                  </a:lnTo>
                  <a:lnTo>
                    <a:pt x="109" y="86"/>
                  </a:lnTo>
                  <a:lnTo>
                    <a:pt x="106" y="76"/>
                  </a:lnTo>
                  <a:lnTo>
                    <a:pt x="103" y="66"/>
                  </a:lnTo>
                  <a:lnTo>
                    <a:pt x="98" y="57"/>
                  </a:lnTo>
                  <a:lnTo>
                    <a:pt x="93" y="48"/>
                  </a:lnTo>
                  <a:lnTo>
                    <a:pt x="87" y="39"/>
                  </a:lnTo>
                  <a:lnTo>
                    <a:pt x="79" y="32"/>
                  </a:lnTo>
                  <a:lnTo>
                    <a:pt x="72" y="24"/>
                  </a:lnTo>
                  <a:lnTo>
                    <a:pt x="63" y="18"/>
                  </a:lnTo>
                  <a:lnTo>
                    <a:pt x="54" y="13"/>
                  </a:lnTo>
                  <a:lnTo>
                    <a:pt x="45" y="8"/>
                  </a:lnTo>
                  <a:lnTo>
                    <a:pt x="35" y="5"/>
                  </a:lnTo>
                  <a:lnTo>
                    <a:pt x="25" y="2"/>
                  </a:lnTo>
                  <a:lnTo>
                    <a:pt x="14" y="1"/>
                  </a:lnTo>
                  <a:lnTo>
                    <a:pt x="3" y="0"/>
                  </a:lnTo>
                  <a:lnTo>
                    <a:pt x="3" y="0"/>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9" name="Freeform 208">
              <a:extLst>
                <a:ext uri="{FF2B5EF4-FFF2-40B4-BE49-F238E27FC236}">
                  <a16:creationId xmlns:a16="http://schemas.microsoft.com/office/drawing/2014/main" id="{04E557A0-76ED-1D4D-B78D-ED50CDF08718}"/>
                </a:ext>
              </a:extLst>
            </p:cNvPr>
            <p:cNvSpPr>
              <a:spLocks/>
            </p:cNvSpPr>
            <p:nvPr/>
          </p:nvSpPr>
          <p:spPr bwMode="auto">
            <a:xfrm>
              <a:off x="3762375" y="617538"/>
              <a:ext cx="276225" cy="276225"/>
            </a:xfrm>
            <a:custGeom>
              <a:avLst/>
              <a:gdLst>
                <a:gd name="T0" fmla="*/ 164 w 174"/>
                <a:gd name="T1" fmla="*/ 164 h 174"/>
                <a:gd name="T2" fmla="*/ 164 w 174"/>
                <a:gd name="T3" fmla="*/ 164 h 174"/>
                <a:gd name="T4" fmla="*/ 164 w 174"/>
                <a:gd name="T5" fmla="*/ 164 h 174"/>
                <a:gd name="T6" fmla="*/ 164 w 174"/>
                <a:gd name="T7" fmla="*/ 164 h 174"/>
                <a:gd name="T8" fmla="*/ 158 w 174"/>
                <a:gd name="T9" fmla="*/ 169 h 174"/>
                <a:gd name="T10" fmla="*/ 152 w 174"/>
                <a:gd name="T11" fmla="*/ 171 h 174"/>
                <a:gd name="T12" fmla="*/ 145 w 174"/>
                <a:gd name="T13" fmla="*/ 174 h 174"/>
                <a:gd name="T14" fmla="*/ 139 w 174"/>
                <a:gd name="T15" fmla="*/ 174 h 174"/>
                <a:gd name="T16" fmla="*/ 133 w 174"/>
                <a:gd name="T17" fmla="*/ 174 h 174"/>
                <a:gd name="T18" fmla="*/ 127 w 174"/>
                <a:gd name="T19" fmla="*/ 171 h 174"/>
                <a:gd name="T20" fmla="*/ 121 w 174"/>
                <a:gd name="T21" fmla="*/ 169 h 174"/>
                <a:gd name="T22" fmla="*/ 115 w 174"/>
                <a:gd name="T23" fmla="*/ 164 h 174"/>
                <a:gd name="T24" fmla="*/ 10 w 174"/>
                <a:gd name="T25" fmla="*/ 59 h 174"/>
                <a:gd name="T26" fmla="*/ 10 w 174"/>
                <a:gd name="T27" fmla="*/ 59 h 174"/>
                <a:gd name="T28" fmla="*/ 6 w 174"/>
                <a:gd name="T29" fmla="*/ 53 h 174"/>
                <a:gd name="T30" fmla="*/ 2 w 174"/>
                <a:gd name="T31" fmla="*/ 48 h 174"/>
                <a:gd name="T32" fmla="*/ 1 w 174"/>
                <a:gd name="T33" fmla="*/ 40 h 174"/>
                <a:gd name="T34" fmla="*/ 0 w 174"/>
                <a:gd name="T35" fmla="*/ 34 h 174"/>
                <a:gd name="T36" fmla="*/ 1 w 174"/>
                <a:gd name="T37" fmla="*/ 28 h 174"/>
                <a:gd name="T38" fmla="*/ 2 w 174"/>
                <a:gd name="T39" fmla="*/ 22 h 174"/>
                <a:gd name="T40" fmla="*/ 6 w 174"/>
                <a:gd name="T41" fmla="*/ 16 h 174"/>
                <a:gd name="T42" fmla="*/ 10 w 174"/>
                <a:gd name="T43" fmla="*/ 9 h 174"/>
                <a:gd name="T44" fmla="*/ 10 w 174"/>
                <a:gd name="T45" fmla="*/ 9 h 174"/>
                <a:gd name="T46" fmla="*/ 10 w 174"/>
                <a:gd name="T47" fmla="*/ 9 h 174"/>
                <a:gd name="T48" fmla="*/ 10 w 174"/>
                <a:gd name="T49" fmla="*/ 9 h 174"/>
                <a:gd name="T50" fmla="*/ 16 w 174"/>
                <a:gd name="T51" fmla="*/ 6 h 174"/>
                <a:gd name="T52" fmla="*/ 22 w 174"/>
                <a:gd name="T53" fmla="*/ 2 h 174"/>
                <a:gd name="T54" fmla="*/ 28 w 174"/>
                <a:gd name="T55" fmla="*/ 1 h 174"/>
                <a:gd name="T56" fmla="*/ 34 w 174"/>
                <a:gd name="T57" fmla="*/ 0 h 174"/>
                <a:gd name="T58" fmla="*/ 42 w 174"/>
                <a:gd name="T59" fmla="*/ 1 h 174"/>
                <a:gd name="T60" fmla="*/ 48 w 174"/>
                <a:gd name="T61" fmla="*/ 2 h 174"/>
                <a:gd name="T62" fmla="*/ 53 w 174"/>
                <a:gd name="T63" fmla="*/ 6 h 174"/>
                <a:gd name="T64" fmla="*/ 59 w 174"/>
                <a:gd name="T65" fmla="*/ 11 h 174"/>
                <a:gd name="T66" fmla="*/ 164 w 174"/>
                <a:gd name="T67" fmla="*/ 116 h 174"/>
                <a:gd name="T68" fmla="*/ 164 w 174"/>
                <a:gd name="T69" fmla="*/ 116 h 174"/>
                <a:gd name="T70" fmla="*/ 168 w 174"/>
                <a:gd name="T71" fmla="*/ 120 h 174"/>
                <a:gd name="T72" fmla="*/ 171 w 174"/>
                <a:gd name="T73" fmla="*/ 127 h 174"/>
                <a:gd name="T74" fmla="*/ 173 w 174"/>
                <a:gd name="T75" fmla="*/ 133 h 174"/>
                <a:gd name="T76" fmla="*/ 174 w 174"/>
                <a:gd name="T77" fmla="*/ 140 h 174"/>
                <a:gd name="T78" fmla="*/ 173 w 174"/>
                <a:gd name="T79" fmla="*/ 146 h 174"/>
                <a:gd name="T80" fmla="*/ 171 w 174"/>
                <a:gd name="T81" fmla="*/ 153 h 174"/>
                <a:gd name="T82" fmla="*/ 168 w 174"/>
                <a:gd name="T83" fmla="*/ 159 h 174"/>
                <a:gd name="T84" fmla="*/ 164 w 174"/>
                <a:gd name="T85" fmla="*/ 164 h 174"/>
                <a:gd name="T86" fmla="*/ 164 w 174"/>
                <a:gd name="T87" fmla="*/ 16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4" h="174">
                  <a:moveTo>
                    <a:pt x="164" y="164"/>
                  </a:moveTo>
                  <a:lnTo>
                    <a:pt x="164" y="164"/>
                  </a:lnTo>
                  <a:lnTo>
                    <a:pt x="164" y="164"/>
                  </a:lnTo>
                  <a:lnTo>
                    <a:pt x="164" y="164"/>
                  </a:lnTo>
                  <a:lnTo>
                    <a:pt x="158" y="169"/>
                  </a:lnTo>
                  <a:lnTo>
                    <a:pt x="152" y="171"/>
                  </a:lnTo>
                  <a:lnTo>
                    <a:pt x="145" y="174"/>
                  </a:lnTo>
                  <a:lnTo>
                    <a:pt x="139" y="174"/>
                  </a:lnTo>
                  <a:lnTo>
                    <a:pt x="133" y="174"/>
                  </a:lnTo>
                  <a:lnTo>
                    <a:pt x="127" y="171"/>
                  </a:lnTo>
                  <a:lnTo>
                    <a:pt x="121" y="169"/>
                  </a:lnTo>
                  <a:lnTo>
                    <a:pt x="115" y="164"/>
                  </a:lnTo>
                  <a:lnTo>
                    <a:pt x="10" y="59"/>
                  </a:lnTo>
                  <a:lnTo>
                    <a:pt x="10" y="59"/>
                  </a:lnTo>
                  <a:lnTo>
                    <a:pt x="6" y="53"/>
                  </a:lnTo>
                  <a:lnTo>
                    <a:pt x="2" y="48"/>
                  </a:lnTo>
                  <a:lnTo>
                    <a:pt x="1" y="40"/>
                  </a:lnTo>
                  <a:lnTo>
                    <a:pt x="0" y="34"/>
                  </a:lnTo>
                  <a:lnTo>
                    <a:pt x="1" y="28"/>
                  </a:lnTo>
                  <a:lnTo>
                    <a:pt x="2" y="22"/>
                  </a:lnTo>
                  <a:lnTo>
                    <a:pt x="6" y="16"/>
                  </a:lnTo>
                  <a:lnTo>
                    <a:pt x="10" y="9"/>
                  </a:lnTo>
                  <a:lnTo>
                    <a:pt x="10" y="9"/>
                  </a:lnTo>
                  <a:lnTo>
                    <a:pt x="10" y="9"/>
                  </a:lnTo>
                  <a:lnTo>
                    <a:pt x="10" y="9"/>
                  </a:lnTo>
                  <a:lnTo>
                    <a:pt x="16" y="6"/>
                  </a:lnTo>
                  <a:lnTo>
                    <a:pt x="22" y="2"/>
                  </a:lnTo>
                  <a:lnTo>
                    <a:pt x="28" y="1"/>
                  </a:lnTo>
                  <a:lnTo>
                    <a:pt x="34" y="0"/>
                  </a:lnTo>
                  <a:lnTo>
                    <a:pt x="42" y="1"/>
                  </a:lnTo>
                  <a:lnTo>
                    <a:pt x="48" y="2"/>
                  </a:lnTo>
                  <a:lnTo>
                    <a:pt x="53" y="6"/>
                  </a:lnTo>
                  <a:lnTo>
                    <a:pt x="59" y="11"/>
                  </a:lnTo>
                  <a:lnTo>
                    <a:pt x="164" y="116"/>
                  </a:lnTo>
                  <a:lnTo>
                    <a:pt x="164" y="116"/>
                  </a:lnTo>
                  <a:lnTo>
                    <a:pt x="168" y="120"/>
                  </a:lnTo>
                  <a:lnTo>
                    <a:pt x="171" y="127"/>
                  </a:lnTo>
                  <a:lnTo>
                    <a:pt x="173" y="133"/>
                  </a:lnTo>
                  <a:lnTo>
                    <a:pt x="174" y="140"/>
                  </a:lnTo>
                  <a:lnTo>
                    <a:pt x="173" y="146"/>
                  </a:lnTo>
                  <a:lnTo>
                    <a:pt x="171" y="153"/>
                  </a:lnTo>
                  <a:lnTo>
                    <a:pt x="168" y="159"/>
                  </a:lnTo>
                  <a:lnTo>
                    <a:pt x="164" y="164"/>
                  </a:lnTo>
                  <a:lnTo>
                    <a:pt x="164" y="164"/>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0" name="Freeform 209">
              <a:extLst>
                <a:ext uri="{FF2B5EF4-FFF2-40B4-BE49-F238E27FC236}">
                  <a16:creationId xmlns:a16="http://schemas.microsoft.com/office/drawing/2014/main" id="{5BAF255B-2E9D-1FCE-7838-67E2F08A044A}"/>
                </a:ext>
              </a:extLst>
            </p:cNvPr>
            <p:cNvSpPr>
              <a:spLocks/>
            </p:cNvSpPr>
            <p:nvPr/>
          </p:nvSpPr>
          <p:spPr bwMode="auto">
            <a:xfrm>
              <a:off x="3795713" y="673100"/>
              <a:ext cx="209550" cy="209550"/>
            </a:xfrm>
            <a:custGeom>
              <a:avLst/>
              <a:gdLst>
                <a:gd name="T0" fmla="*/ 128 w 132"/>
                <a:gd name="T1" fmla="*/ 129 h 132"/>
                <a:gd name="T2" fmla="*/ 128 w 132"/>
                <a:gd name="T3" fmla="*/ 129 h 132"/>
                <a:gd name="T4" fmla="*/ 123 w 132"/>
                <a:gd name="T5" fmla="*/ 131 h 132"/>
                <a:gd name="T6" fmla="*/ 118 w 132"/>
                <a:gd name="T7" fmla="*/ 132 h 132"/>
                <a:gd name="T8" fmla="*/ 113 w 132"/>
                <a:gd name="T9" fmla="*/ 131 h 132"/>
                <a:gd name="T10" fmla="*/ 108 w 132"/>
                <a:gd name="T11" fmla="*/ 129 h 132"/>
                <a:gd name="T12" fmla="*/ 4 w 132"/>
                <a:gd name="T13" fmla="*/ 23 h 132"/>
                <a:gd name="T14" fmla="*/ 4 w 132"/>
                <a:gd name="T15" fmla="*/ 23 h 132"/>
                <a:gd name="T16" fmla="*/ 1 w 132"/>
                <a:gd name="T17" fmla="*/ 19 h 132"/>
                <a:gd name="T18" fmla="*/ 0 w 132"/>
                <a:gd name="T19" fmla="*/ 14 h 132"/>
                <a:gd name="T20" fmla="*/ 1 w 132"/>
                <a:gd name="T21" fmla="*/ 9 h 132"/>
                <a:gd name="T22" fmla="*/ 4 w 132"/>
                <a:gd name="T23" fmla="*/ 4 h 132"/>
                <a:gd name="T24" fmla="*/ 4 w 132"/>
                <a:gd name="T25" fmla="*/ 4 h 132"/>
                <a:gd name="T26" fmla="*/ 8 w 132"/>
                <a:gd name="T27" fmla="*/ 2 h 132"/>
                <a:gd name="T28" fmla="*/ 13 w 132"/>
                <a:gd name="T29" fmla="*/ 0 h 132"/>
                <a:gd name="T30" fmla="*/ 18 w 132"/>
                <a:gd name="T31" fmla="*/ 2 h 132"/>
                <a:gd name="T32" fmla="*/ 23 w 132"/>
                <a:gd name="T33" fmla="*/ 4 h 132"/>
                <a:gd name="T34" fmla="*/ 128 w 132"/>
                <a:gd name="T35" fmla="*/ 109 h 132"/>
                <a:gd name="T36" fmla="*/ 128 w 132"/>
                <a:gd name="T37" fmla="*/ 109 h 132"/>
                <a:gd name="T38" fmla="*/ 131 w 132"/>
                <a:gd name="T39" fmla="*/ 114 h 132"/>
                <a:gd name="T40" fmla="*/ 132 w 132"/>
                <a:gd name="T41" fmla="*/ 119 h 132"/>
                <a:gd name="T42" fmla="*/ 131 w 132"/>
                <a:gd name="T43" fmla="*/ 124 h 132"/>
                <a:gd name="T44" fmla="*/ 128 w 132"/>
                <a:gd name="T45" fmla="*/ 129 h 132"/>
                <a:gd name="T46" fmla="*/ 128 w 132"/>
                <a:gd name="T47"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32">
                  <a:moveTo>
                    <a:pt x="128" y="129"/>
                  </a:moveTo>
                  <a:lnTo>
                    <a:pt x="128" y="129"/>
                  </a:lnTo>
                  <a:lnTo>
                    <a:pt x="123" y="131"/>
                  </a:lnTo>
                  <a:lnTo>
                    <a:pt x="118" y="132"/>
                  </a:lnTo>
                  <a:lnTo>
                    <a:pt x="113" y="131"/>
                  </a:lnTo>
                  <a:lnTo>
                    <a:pt x="108" y="129"/>
                  </a:lnTo>
                  <a:lnTo>
                    <a:pt x="4" y="23"/>
                  </a:lnTo>
                  <a:lnTo>
                    <a:pt x="4" y="23"/>
                  </a:lnTo>
                  <a:lnTo>
                    <a:pt x="1" y="19"/>
                  </a:lnTo>
                  <a:lnTo>
                    <a:pt x="0" y="14"/>
                  </a:lnTo>
                  <a:lnTo>
                    <a:pt x="1" y="9"/>
                  </a:lnTo>
                  <a:lnTo>
                    <a:pt x="4" y="4"/>
                  </a:lnTo>
                  <a:lnTo>
                    <a:pt x="4" y="4"/>
                  </a:lnTo>
                  <a:lnTo>
                    <a:pt x="8" y="2"/>
                  </a:lnTo>
                  <a:lnTo>
                    <a:pt x="13" y="0"/>
                  </a:lnTo>
                  <a:lnTo>
                    <a:pt x="18" y="2"/>
                  </a:lnTo>
                  <a:lnTo>
                    <a:pt x="23" y="4"/>
                  </a:lnTo>
                  <a:lnTo>
                    <a:pt x="128" y="109"/>
                  </a:lnTo>
                  <a:lnTo>
                    <a:pt x="128" y="109"/>
                  </a:lnTo>
                  <a:lnTo>
                    <a:pt x="131" y="114"/>
                  </a:lnTo>
                  <a:lnTo>
                    <a:pt x="132" y="119"/>
                  </a:lnTo>
                  <a:lnTo>
                    <a:pt x="131" y="124"/>
                  </a:lnTo>
                  <a:lnTo>
                    <a:pt x="128" y="129"/>
                  </a:lnTo>
                  <a:lnTo>
                    <a:pt x="128" y="129"/>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1" name="Freeform 210">
              <a:extLst>
                <a:ext uri="{FF2B5EF4-FFF2-40B4-BE49-F238E27FC236}">
                  <a16:creationId xmlns:a16="http://schemas.microsoft.com/office/drawing/2014/main" id="{05E35596-D41B-0970-0E0F-703D4E06E56E}"/>
                </a:ext>
              </a:extLst>
            </p:cNvPr>
            <p:cNvSpPr>
              <a:spLocks/>
            </p:cNvSpPr>
            <p:nvPr/>
          </p:nvSpPr>
          <p:spPr bwMode="auto">
            <a:xfrm>
              <a:off x="3392488" y="244475"/>
              <a:ext cx="427038" cy="427038"/>
            </a:xfrm>
            <a:custGeom>
              <a:avLst/>
              <a:gdLst>
                <a:gd name="T0" fmla="*/ 39 w 269"/>
                <a:gd name="T1" fmla="*/ 40 h 269"/>
                <a:gd name="T2" fmla="*/ 39 w 269"/>
                <a:gd name="T3" fmla="*/ 40 h 269"/>
                <a:gd name="T4" fmla="*/ 59 w 269"/>
                <a:gd name="T5" fmla="*/ 24 h 269"/>
                <a:gd name="T6" fmla="*/ 82 w 269"/>
                <a:gd name="T7" fmla="*/ 11 h 269"/>
                <a:gd name="T8" fmla="*/ 107 w 269"/>
                <a:gd name="T9" fmla="*/ 4 h 269"/>
                <a:gd name="T10" fmla="*/ 134 w 269"/>
                <a:gd name="T11" fmla="*/ 0 h 269"/>
                <a:gd name="T12" fmla="*/ 148 w 269"/>
                <a:gd name="T13" fmla="*/ 1 h 269"/>
                <a:gd name="T14" fmla="*/ 174 w 269"/>
                <a:gd name="T15" fmla="*/ 6 h 269"/>
                <a:gd name="T16" fmla="*/ 198 w 269"/>
                <a:gd name="T17" fmla="*/ 17 h 269"/>
                <a:gd name="T18" fmla="*/ 219 w 269"/>
                <a:gd name="T19" fmla="*/ 31 h 269"/>
                <a:gd name="T20" fmla="*/ 238 w 269"/>
                <a:gd name="T21" fmla="*/ 50 h 269"/>
                <a:gd name="T22" fmla="*/ 251 w 269"/>
                <a:gd name="T23" fmla="*/ 72 h 269"/>
                <a:gd name="T24" fmla="*/ 262 w 269"/>
                <a:gd name="T25" fmla="*/ 95 h 269"/>
                <a:gd name="T26" fmla="*/ 267 w 269"/>
                <a:gd name="T27" fmla="*/ 121 h 269"/>
                <a:gd name="T28" fmla="*/ 269 w 269"/>
                <a:gd name="T29" fmla="*/ 136 h 269"/>
                <a:gd name="T30" fmla="*/ 265 w 269"/>
                <a:gd name="T31" fmla="*/ 162 h 269"/>
                <a:gd name="T32" fmla="*/ 258 w 269"/>
                <a:gd name="T33" fmla="*/ 186 h 269"/>
                <a:gd name="T34" fmla="*/ 245 w 269"/>
                <a:gd name="T35" fmla="*/ 210 h 269"/>
                <a:gd name="T36" fmla="*/ 229 w 269"/>
                <a:gd name="T37" fmla="*/ 230 h 269"/>
                <a:gd name="T38" fmla="*/ 219 w 269"/>
                <a:gd name="T39" fmla="*/ 240 h 269"/>
                <a:gd name="T40" fmla="*/ 197 w 269"/>
                <a:gd name="T41" fmla="*/ 253 h 269"/>
                <a:gd name="T42" fmla="*/ 172 w 269"/>
                <a:gd name="T43" fmla="*/ 264 h 269"/>
                <a:gd name="T44" fmla="*/ 147 w 269"/>
                <a:gd name="T45" fmla="*/ 269 h 269"/>
                <a:gd name="T46" fmla="*/ 133 w 269"/>
                <a:gd name="T47" fmla="*/ 269 h 269"/>
                <a:gd name="T48" fmla="*/ 107 w 269"/>
                <a:gd name="T49" fmla="*/ 267 h 269"/>
                <a:gd name="T50" fmla="*/ 82 w 269"/>
                <a:gd name="T51" fmla="*/ 259 h 269"/>
                <a:gd name="T52" fmla="*/ 59 w 269"/>
                <a:gd name="T53" fmla="*/ 247 h 269"/>
                <a:gd name="T54" fmla="*/ 39 w 269"/>
                <a:gd name="T55" fmla="*/ 230 h 269"/>
                <a:gd name="T56" fmla="*/ 29 w 269"/>
                <a:gd name="T57" fmla="*/ 220 h 269"/>
                <a:gd name="T58" fmla="*/ 15 w 269"/>
                <a:gd name="T59" fmla="*/ 198 h 269"/>
                <a:gd name="T60" fmla="*/ 5 w 269"/>
                <a:gd name="T61" fmla="*/ 174 h 269"/>
                <a:gd name="T62" fmla="*/ 0 w 269"/>
                <a:gd name="T63" fmla="*/ 148 h 269"/>
                <a:gd name="T64" fmla="*/ 0 w 269"/>
                <a:gd name="T65" fmla="*/ 135 h 269"/>
                <a:gd name="T66" fmla="*/ 2 w 269"/>
                <a:gd name="T67" fmla="*/ 109 h 269"/>
                <a:gd name="T68" fmla="*/ 10 w 269"/>
                <a:gd name="T69" fmla="*/ 84 h 269"/>
                <a:gd name="T70" fmla="*/ 22 w 269"/>
                <a:gd name="T71" fmla="*/ 61 h 269"/>
                <a:gd name="T72" fmla="*/ 39 w 269"/>
                <a:gd name="T73" fmla="*/ 4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9" h="269">
                  <a:moveTo>
                    <a:pt x="39" y="40"/>
                  </a:moveTo>
                  <a:lnTo>
                    <a:pt x="39" y="40"/>
                  </a:lnTo>
                  <a:lnTo>
                    <a:pt x="39" y="40"/>
                  </a:lnTo>
                  <a:lnTo>
                    <a:pt x="39" y="40"/>
                  </a:lnTo>
                  <a:lnTo>
                    <a:pt x="49" y="31"/>
                  </a:lnTo>
                  <a:lnTo>
                    <a:pt x="59" y="24"/>
                  </a:lnTo>
                  <a:lnTo>
                    <a:pt x="70" y="16"/>
                  </a:lnTo>
                  <a:lnTo>
                    <a:pt x="82" y="11"/>
                  </a:lnTo>
                  <a:lnTo>
                    <a:pt x="95" y="6"/>
                  </a:lnTo>
                  <a:lnTo>
                    <a:pt x="107" y="4"/>
                  </a:lnTo>
                  <a:lnTo>
                    <a:pt x="121" y="1"/>
                  </a:lnTo>
                  <a:lnTo>
                    <a:pt x="134" y="0"/>
                  </a:lnTo>
                  <a:lnTo>
                    <a:pt x="134" y="0"/>
                  </a:lnTo>
                  <a:lnTo>
                    <a:pt x="148" y="1"/>
                  </a:lnTo>
                  <a:lnTo>
                    <a:pt x="161" y="4"/>
                  </a:lnTo>
                  <a:lnTo>
                    <a:pt x="174" y="6"/>
                  </a:lnTo>
                  <a:lnTo>
                    <a:pt x="186" y="11"/>
                  </a:lnTo>
                  <a:lnTo>
                    <a:pt x="198" y="17"/>
                  </a:lnTo>
                  <a:lnTo>
                    <a:pt x="209" y="24"/>
                  </a:lnTo>
                  <a:lnTo>
                    <a:pt x="219" y="31"/>
                  </a:lnTo>
                  <a:lnTo>
                    <a:pt x="229" y="40"/>
                  </a:lnTo>
                  <a:lnTo>
                    <a:pt x="238" y="50"/>
                  </a:lnTo>
                  <a:lnTo>
                    <a:pt x="245" y="61"/>
                  </a:lnTo>
                  <a:lnTo>
                    <a:pt x="251" y="72"/>
                  </a:lnTo>
                  <a:lnTo>
                    <a:pt x="258" y="83"/>
                  </a:lnTo>
                  <a:lnTo>
                    <a:pt x="262" y="95"/>
                  </a:lnTo>
                  <a:lnTo>
                    <a:pt x="265" y="109"/>
                  </a:lnTo>
                  <a:lnTo>
                    <a:pt x="267" y="121"/>
                  </a:lnTo>
                  <a:lnTo>
                    <a:pt x="269" y="136"/>
                  </a:lnTo>
                  <a:lnTo>
                    <a:pt x="269" y="136"/>
                  </a:lnTo>
                  <a:lnTo>
                    <a:pt x="267" y="148"/>
                  </a:lnTo>
                  <a:lnTo>
                    <a:pt x="265" y="162"/>
                  </a:lnTo>
                  <a:lnTo>
                    <a:pt x="262" y="174"/>
                  </a:lnTo>
                  <a:lnTo>
                    <a:pt x="258" y="186"/>
                  </a:lnTo>
                  <a:lnTo>
                    <a:pt x="253" y="199"/>
                  </a:lnTo>
                  <a:lnTo>
                    <a:pt x="245" y="210"/>
                  </a:lnTo>
                  <a:lnTo>
                    <a:pt x="238" y="220"/>
                  </a:lnTo>
                  <a:lnTo>
                    <a:pt x="229" y="230"/>
                  </a:lnTo>
                  <a:lnTo>
                    <a:pt x="229" y="230"/>
                  </a:lnTo>
                  <a:lnTo>
                    <a:pt x="219" y="240"/>
                  </a:lnTo>
                  <a:lnTo>
                    <a:pt x="208" y="247"/>
                  </a:lnTo>
                  <a:lnTo>
                    <a:pt x="197" y="253"/>
                  </a:lnTo>
                  <a:lnTo>
                    <a:pt x="185" y="259"/>
                  </a:lnTo>
                  <a:lnTo>
                    <a:pt x="172" y="264"/>
                  </a:lnTo>
                  <a:lnTo>
                    <a:pt x="160" y="267"/>
                  </a:lnTo>
                  <a:lnTo>
                    <a:pt x="147" y="269"/>
                  </a:lnTo>
                  <a:lnTo>
                    <a:pt x="133" y="269"/>
                  </a:lnTo>
                  <a:lnTo>
                    <a:pt x="133" y="269"/>
                  </a:lnTo>
                  <a:lnTo>
                    <a:pt x="121" y="269"/>
                  </a:lnTo>
                  <a:lnTo>
                    <a:pt x="107" y="267"/>
                  </a:lnTo>
                  <a:lnTo>
                    <a:pt x="95" y="263"/>
                  </a:lnTo>
                  <a:lnTo>
                    <a:pt x="82" y="259"/>
                  </a:lnTo>
                  <a:lnTo>
                    <a:pt x="70" y="253"/>
                  </a:lnTo>
                  <a:lnTo>
                    <a:pt x="59" y="247"/>
                  </a:lnTo>
                  <a:lnTo>
                    <a:pt x="49" y="238"/>
                  </a:lnTo>
                  <a:lnTo>
                    <a:pt x="39" y="230"/>
                  </a:lnTo>
                  <a:lnTo>
                    <a:pt x="39" y="230"/>
                  </a:lnTo>
                  <a:lnTo>
                    <a:pt x="29" y="220"/>
                  </a:lnTo>
                  <a:lnTo>
                    <a:pt x="22" y="209"/>
                  </a:lnTo>
                  <a:lnTo>
                    <a:pt x="15" y="198"/>
                  </a:lnTo>
                  <a:lnTo>
                    <a:pt x="10" y="186"/>
                  </a:lnTo>
                  <a:lnTo>
                    <a:pt x="5" y="174"/>
                  </a:lnTo>
                  <a:lnTo>
                    <a:pt x="2" y="162"/>
                  </a:lnTo>
                  <a:lnTo>
                    <a:pt x="0" y="148"/>
                  </a:lnTo>
                  <a:lnTo>
                    <a:pt x="0" y="135"/>
                  </a:lnTo>
                  <a:lnTo>
                    <a:pt x="0" y="135"/>
                  </a:lnTo>
                  <a:lnTo>
                    <a:pt x="0" y="121"/>
                  </a:lnTo>
                  <a:lnTo>
                    <a:pt x="2" y="109"/>
                  </a:lnTo>
                  <a:lnTo>
                    <a:pt x="5" y="96"/>
                  </a:lnTo>
                  <a:lnTo>
                    <a:pt x="10" y="84"/>
                  </a:lnTo>
                  <a:lnTo>
                    <a:pt x="16" y="72"/>
                  </a:lnTo>
                  <a:lnTo>
                    <a:pt x="22" y="61"/>
                  </a:lnTo>
                  <a:lnTo>
                    <a:pt x="29" y="50"/>
                  </a:lnTo>
                  <a:lnTo>
                    <a:pt x="39" y="40"/>
                  </a:lnTo>
                  <a:lnTo>
                    <a:pt x="39" y="40"/>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2" name="Freeform 211">
              <a:extLst>
                <a:ext uri="{FF2B5EF4-FFF2-40B4-BE49-F238E27FC236}">
                  <a16:creationId xmlns:a16="http://schemas.microsoft.com/office/drawing/2014/main" id="{660B28EC-C8B8-A7F3-35AE-B7DBA5F91E1B}"/>
                </a:ext>
              </a:extLst>
            </p:cNvPr>
            <p:cNvSpPr>
              <a:spLocks/>
            </p:cNvSpPr>
            <p:nvPr/>
          </p:nvSpPr>
          <p:spPr bwMode="auto">
            <a:xfrm>
              <a:off x="3446463" y="300038"/>
              <a:ext cx="317500" cy="317500"/>
            </a:xfrm>
            <a:custGeom>
              <a:avLst/>
              <a:gdLst>
                <a:gd name="T0" fmla="*/ 29 w 200"/>
                <a:gd name="T1" fmla="*/ 29 h 200"/>
                <a:gd name="T2" fmla="*/ 16 w 200"/>
                <a:gd name="T3" fmla="*/ 44 h 200"/>
                <a:gd name="T4" fmla="*/ 8 w 200"/>
                <a:gd name="T5" fmla="*/ 61 h 200"/>
                <a:gd name="T6" fmla="*/ 2 w 200"/>
                <a:gd name="T7" fmla="*/ 80 h 200"/>
                <a:gd name="T8" fmla="*/ 0 w 200"/>
                <a:gd name="T9" fmla="*/ 100 h 200"/>
                <a:gd name="T10" fmla="*/ 0 w 200"/>
                <a:gd name="T11" fmla="*/ 110 h 200"/>
                <a:gd name="T12" fmla="*/ 4 w 200"/>
                <a:gd name="T13" fmla="*/ 129 h 200"/>
                <a:gd name="T14" fmla="*/ 11 w 200"/>
                <a:gd name="T15" fmla="*/ 148 h 200"/>
                <a:gd name="T16" fmla="*/ 22 w 200"/>
                <a:gd name="T17" fmla="*/ 164 h 200"/>
                <a:gd name="T18" fmla="*/ 36 w 200"/>
                <a:gd name="T19" fmla="*/ 177 h 200"/>
                <a:gd name="T20" fmla="*/ 52 w 200"/>
                <a:gd name="T21" fmla="*/ 187 h 200"/>
                <a:gd name="T22" fmla="*/ 69 w 200"/>
                <a:gd name="T23" fmla="*/ 196 h 200"/>
                <a:gd name="T24" fmla="*/ 89 w 200"/>
                <a:gd name="T25" fmla="*/ 200 h 200"/>
                <a:gd name="T26" fmla="*/ 99 w 200"/>
                <a:gd name="T27" fmla="*/ 200 h 200"/>
                <a:gd name="T28" fmla="*/ 119 w 200"/>
                <a:gd name="T29" fmla="*/ 198 h 200"/>
                <a:gd name="T30" fmla="*/ 138 w 200"/>
                <a:gd name="T31" fmla="*/ 192 h 200"/>
                <a:gd name="T32" fmla="*/ 156 w 200"/>
                <a:gd name="T33" fmla="*/ 184 h 200"/>
                <a:gd name="T34" fmla="*/ 170 w 200"/>
                <a:gd name="T35" fmla="*/ 171 h 200"/>
                <a:gd name="T36" fmla="*/ 170 w 200"/>
                <a:gd name="T37" fmla="*/ 171 h 200"/>
                <a:gd name="T38" fmla="*/ 183 w 200"/>
                <a:gd name="T39" fmla="*/ 155 h 200"/>
                <a:gd name="T40" fmla="*/ 193 w 200"/>
                <a:gd name="T41" fmla="*/ 138 h 200"/>
                <a:gd name="T42" fmla="*/ 198 w 200"/>
                <a:gd name="T43" fmla="*/ 119 h 200"/>
                <a:gd name="T44" fmla="*/ 200 w 200"/>
                <a:gd name="T45" fmla="*/ 100 h 200"/>
                <a:gd name="T46" fmla="*/ 199 w 200"/>
                <a:gd name="T47" fmla="*/ 90 h 200"/>
                <a:gd name="T48" fmla="*/ 195 w 200"/>
                <a:gd name="T49" fmla="*/ 71 h 200"/>
                <a:gd name="T50" fmla="*/ 188 w 200"/>
                <a:gd name="T51" fmla="*/ 53 h 200"/>
                <a:gd name="T52" fmla="*/ 177 w 200"/>
                <a:gd name="T53" fmla="*/ 37 h 200"/>
                <a:gd name="T54" fmla="*/ 170 w 200"/>
                <a:gd name="T55" fmla="*/ 29 h 200"/>
                <a:gd name="T56" fmla="*/ 156 w 200"/>
                <a:gd name="T57" fmla="*/ 17 h 200"/>
                <a:gd name="T58" fmla="*/ 138 w 200"/>
                <a:gd name="T59" fmla="*/ 7 h 200"/>
                <a:gd name="T60" fmla="*/ 120 w 200"/>
                <a:gd name="T61" fmla="*/ 2 h 200"/>
                <a:gd name="T62" fmla="*/ 100 w 200"/>
                <a:gd name="T63" fmla="*/ 0 h 200"/>
                <a:gd name="T64" fmla="*/ 90 w 200"/>
                <a:gd name="T65" fmla="*/ 1 h 200"/>
                <a:gd name="T66" fmla="*/ 71 w 200"/>
                <a:gd name="T67" fmla="*/ 5 h 200"/>
                <a:gd name="T68" fmla="*/ 53 w 200"/>
                <a:gd name="T69" fmla="*/ 12 h 200"/>
                <a:gd name="T70" fmla="*/ 36 w 200"/>
                <a:gd name="T71" fmla="*/ 23 h 200"/>
                <a:gd name="T72" fmla="*/ 29 w 200"/>
                <a:gd name="T73" fmla="*/ 2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200">
                  <a:moveTo>
                    <a:pt x="29" y="29"/>
                  </a:moveTo>
                  <a:lnTo>
                    <a:pt x="29" y="29"/>
                  </a:lnTo>
                  <a:lnTo>
                    <a:pt x="22" y="37"/>
                  </a:lnTo>
                  <a:lnTo>
                    <a:pt x="16" y="44"/>
                  </a:lnTo>
                  <a:lnTo>
                    <a:pt x="11" y="53"/>
                  </a:lnTo>
                  <a:lnTo>
                    <a:pt x="8" y="61"/>
                  </a:lnTo>
                  <a:lnTo>
                    <a:pt x="4" y="71"/>
                  </a:lnTo>
                  <a:lnTo>
                    <a:pt x="2" y="80"/>
                  </a:lnTo>
                  <a:lnTo>
                    <a:pt x="0" y="90"/>
                  </a:lnTo>
                  <a:lnTo>
                    <a:pt x="0" y="100"/>
                  </a:lnTo>
                  <a:lnTo>
                    <a:pt x="0" y="100"/>
                  </a:lnTo>
                  <a:lnTo>
                    <a:pt x="0" y="110"/>
                  </a:lnTo>
                  <a:lnTo>
                    <a:pt x="2" y="119"/>
                  </a:lnTo>
                  <a:lnTo>
                    <a:pt x="4" y="129"/>
                  </a:lnTo>
                  <a:lnTo>
                    <a:pt x="8" y="139"/>
                  </a:lnTo>
                  <a:lnTo>
                    <a:pt x="11" y="148"/>
                  </a:lnTo>
                  <a:lnTo>
                    <a:pt x="16" y="155"/>
                  </a:lnTo>
                  <a:lnTo>
                    <a:pt x="22" y="164"/>
                  </a:lnTo>
                  <a:lnTo>
                    <a:pt x="29" y="170"/>
                  </a:lnTo>
                  <a:lnTo>
                    <a:pt x="36" y="177"/>
                  </a:lnTo>
                  <a:lnTo>
                    <a:pt x="43" y="182"/>
                  </a:lnTo>
                  <a:lnTo>
                    <a:pt x="52" y="187"/>
                  </a:lnTo>
                  <a:lnTo>
                    <a:pt x="61" y="192"/>
                  </a:lnTo>
                  <a:lnTo>
                    <a:pt x="69" y="196"/>
                  </a:lnTo>
                  <a:lnTo>
                    <a:pt x="79" y="198"/>
                  </a:lnTo>
                  <a:lnTo>
                    <a:pt x="89" y="200"/>
                  </a:lnTo>
                  <a:lnTo>
                    <a:pt x="99" y="200"/>
                  </a:lnTo>
                  <a:lnTo>
                    <a:pt x="99" y="200"/>
                  </a:lnTo>
                  <a:lnTo>
                    <a:pt x="110" y="200"/>
                  </a:lnTo>
                  <a:lnTo>
                    <a:pt x="119" y="198"/>
                  </a:lnTo>
                  <a:lnTo>
                    <a:pt x="129" y="196"/>
                  </a:lnTo>
                  <a:lnTo>
                    <a:pt x="138" y="192"/>
                  </a:lnTo>
                  <a:lnTo>
                    <a:pt x="147" y="188"/>
                  </a:lnTo>
                  <a:lnTo>
                    <a:pt x="156" y="184"/>
                  </a:lnTo>
                  <a:lnTo>
                    <a:pt x="163" y="177"/>
                  </a:lnTo>
                  <a:lnTo>
                    <a:pt x="170" y="171"/>
                  </a:lnTo>
                  <a:lnTo>
                    <a:pt x="170" y="171"/>
                  </a:lnTo>
                  <a:lnTo>
                    <a:pt x="170" y="171"/>
                  </a:lnTo>
                  <a:lnTo>
                    <a:pt x="177" y="164"/>
                  </a:lnTo>
                  <a:lnTo>
                    <a:pt x="183" y="155"/>
                  </a:lnTo>
                  <a:lnTo>
                    <a:pt x="188" y="147"/>
                  </a:lnTo>
                  <a:lnTo>
                    <a:pt x="193" y="138"/>
                  </a:lnTo>
                  <a:lnTo>
                    <a:pt x="195" y="129"/>
                  </a:lnTo>
                  <a:lnTo>
                    <a:pt x="198" y="119"/>
                  </a:lnTo>
                  <a:lnTo>
                    <a:pt x="199" y="110"/>
                  </a:lnTo>
                  <a:lnTo>
                    <a:pt x="200" y="100"/>
                  </a:lnTo>
                  <a:lnTo>
                    <a:pt x="200" y="100"/>
                  </a:lnTo>
                  <a:lnTo>
                    <a:pt x="199" y="90"/>
                  </a:lnTo>
                  <a:lnTo>
                    <a:pt x="198" y="81"/>
                  </a:lnTo>
                  <a:lnTo>
                    <a:pt x="195" y="71"/>
                  </a:lnTo>
                  <a:lnTo>
                    <a:pt x="193" y="61"/>
                  </a:lnTo>
                  <a:lnTo>
                    <a:pt x="188" y="53"/>
                  </a:lnTo>
                  <a:lnTo>
                    <a:pt x="183" y="45"/>
                  </a:lnTo>
                  <a:lnTo>
                    <a:pt x="177" y="37"/>
                  </a:lnTo>
                  <a:lnTo>
                    <a:pt x="170" y="29"/>
                  </a:lnTo>
                  <a:lnTo>
                    <a:pt x="170" y="29"/>
                  </a:lnTo>
                  <a:lnTo>
                    <a:pt x="163" y="23"/>
                  </a:lnTo>
                  <a:lnTo>
                    <a:pt x="156" y="17"/>
                  </a:lnTo>
                  <a:lnTo>
                    <a:pt x="147" y="12"/>
                  </a:lnTo>
                  <a:lnTo>
                    <a:pt x="138" y="7"/>
                  </a:lnTo>
                  <a:lnTo>
                    <a:pt x="129" y="5"/>
                  </a:lnTo>
                  <a:lnTo>
                    <a:pt x="120" y="2"/>
                  </a:lnTo>
                  <a:lnTo>
                    <a:pt x="110" y="1"/>
                  </a:lnTo>
                  <a:lnTo>
                    <a:pt x="100" y="0"/>
                  </a:lnTo>
                  <a:lnTo>
                    <a:pt x="100" y="0"/>
                  </a:lnTo>
                  <a:lnTo>
                    <a:pt x="90" y="1"/>
                  </a:lnTo>
                  <a:lnTo>
                    <a:pt x="80" y="2"/>
                  </a:lnTo>
                  <a:lnTo>
                    <a:pt x="71" y="5"/>
                  </a:lnTo>
                  <a:lnTo>
                    <a:pt x="62" y="7"/>
                  </a:lnTo>
                  <a:lnTo>
                    <a:pt x="53" y="12"/>
                  </a:lnTo>
                  <a:lnTo>
                    <a:pt x="45" y="17"/>
                  </a:lnTo>
                  <a:lnTo>
                    <a:pt x="36" y="23"/>
                  </a:lnTo>
                  <a:lnTo>
                    <a:pt x="29" y="29"/>
                  </a:lnTo>
                  <a:lnTo>
                    <a:pt x="29" y="29"/>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3" name="Freeform 212">
              <a:extLst>
                <a:ext uri="{FF2B5EF4-FFF2-40B4-BE49-F238E27FC236}">
                  <a16:creationId xmlns:a16="http://schemas.microsoft.com/office/drawing/2014/main" id="{D51AAD4B-5D7B-8032-28A7-B30D4F79789E}"/>
                </a:ext>
              </a:extLst>
            </p:cNvPr>
            <p:cNvSpPr>
              <a:spLocks/>
            </p:cNvSpPr>
            <p:nvPr/>
          </p:nvSpPr>
          <p:spPr bwMode="auto">
            <a:xfrm>
              <a:off x="3476625" y="300038"/>
              <a:ext cx="287338" cy="306388"/>
            </a:xfrm>
            <a:custGeom>
              <a:avLst/>
              <a:gdLst>
                <a:gd name="T0" fmla="*/ 151 w 181"/>
                <a:gd name="T1" fmla="*/ 29 h 193"/>
                <a:gd name="T2" fmla="*/ 137 w 181"/>
                <a:gd name="T3" fmla="*/ 17 h 193"/>
                <a:gd name="T4" fmla="*/ 119 w 181"/>
                <a:gd name="T5" fmla="*/ 7 h 193"/>
                <a:gd name="T6" fmla="*/ 101 w 181"/>
                <a:gd name="T7" fmla="*/ 2 h 193"/>
                <a:gd name="T8" fmla="*/ 81 w 181"/>
                <a:gd name="T9" fmla="*/ 0 h 193"/>
                <a:gd name="T10" fmla="*/ 70 w 181"/>
                <a:gd name="T11" fmla="*/ 1 h 193"/>
                <a:gd name="T12" fmla="*/ 59 w 181"/>
                <a:gd name="T13" fmla="*/ 2 h 193"/>
                <a:gd name="T14" fmla="*/ 43 w 181"/>
                <a:gd name="T15" fmla="*/ 11 h 193"/>
                <a:gd name="T16" fmla="*/ 29 w 181"/>
                <a:gd name="T17" fmla="*/ 23 h 193"/>
                <a:gd name="T18" fmla="*/ 23 w 181"/>
                <a:gd name="T19" fmla="*/ 31 h 193"/>
                <a:gd name="T20" fmla="*/ 12 w 181"/>
                <a:gd name="T21" fmla="*/ 47 h 193"/>
                <a:gd name="T22" fmla="*/ 5 w 181"/>
                <a:gd name="T23" fmla="*/ 64 h 193"/>
                <a:gd name="T24" fmla="*/ 1 w 181"/>
                <a:gd name="T25" fmla="*/ 84 h 193"/>
                <a:gd name="T26" fmla="*/ 0 w 181"/>
                <a:gd name="T27" fmla="*/ 93 h 193"/>
                <a:gd name="T28" fmla="*/ 2 w 181"/>
                <a:gd name="T29" fmla="*/ 113 h 193"/>
                <a:gd name="T30" fmla="*/ 7 w 181"/>
                <a:gd name="T31" fmla="*/ 133 h 193"/>
                <a:gd name="T32" fmla="*/ 17 w 181"/>
                <a:gd name="T33" fmla="*/ 149 h 193"/>
                <a:gd name="T34" fmla="*/ 29 w 181"/>
                <a:gd name="T35" fmla="*/ 164 h 193"/>
                <a:gd name="T36" fmla="*/ 44 w 181"/>
                <a:gd name="T37" fmla="*/ 176 h 193"/>
                <a:gd name="T38" fmla="*/ 61 w 181"/>
                <a:gd name="T39" fmla="*/ 186 h 193"/>
                <a:gd name="T40" fmla="*/ 80 w 181"/>
                <a:gd name="T41" fmla="*/ 191 h 193"/>
                <a:gd name="T42" fmla="*/ 100 w 181"/>
                <a:gd name="T43" fmla="*/ 193 h 193"/>
                <a:gd name="T44" fmla="*/ 111 w 181"/>
                <a:gd name="T45" fmla="*/ 193 h 193"/>
                <a:gd name="T46" fmla="*/ 122 w 181"/>
                <a:gd name="T47" fmla="*/ 191 h 193"/>
                <a:gd name="T48" fmla="*/ 138 w 181"/>
                <a:gd name="T49" fmla="*/ 182 h 193"/>
                <a:gd name="T50" fmla="*/ 151 w 181"/>
                <a:gd name="T51" fmla="*/ 171 h 193"/>
                <a:gd name="T52" fmla="*/ 151 w 181"/>
                <a:gd name="T53" fmla="*/ 171 h 193"/>
                <a:gd name="T54" fmla="*/ 164 w 181"/>
                <a:gd name="T55" fmla="*/ 155 h 193"/>
                <a:gd name="T56" fmla="*/ 174 w 181"/>
                <a:gd name="T57" fmla="*/ 138 h 193"/>
                <a:gd name="T58" fmla="*/ 179 w 181"/>
                <a:gd name="T59" fmla="*/ 119 h 193"/>
                <a:gd name="T60" fmla="*/ 181 w 181"/>
                <a:gd name="T61" fmla="*/ 100 h 193"/>
                <a:gd name="T62" fmla="*/ 180 w 181"/>
                <a:gd name="T63" fmla="*/ 90 h 193"/>
                <a:gd name="T64" fmla="*/ 176 w 181"/>
                <a:gd name="T65" fmla="*/ 71 h 193"/>
                <a:gd name="T66" fmla="*/ 169 w 181"/>
                <a:gd name="T67" fmla="*/ 53 h 193"/>
                <a:gd name="T68" fmla="*/ 158 w 181"/>
                <a:gd name="T69" fmla="*/ 37 h 193"/>
                <a:gd name="T70" fmla="*/ 151 w 181"/>
                <a:gd name="T71" fmla="*/ 2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193">
                  <a:moveTo>
                    <a:pt x="151" y="29"/>
                  </a:moveTo>
                  <a:lnTo>
                    <a:pt x="151" y="29"/>
                  </a:lnTo>
                  <a:lnTo>
                    <a:pt x="144" y="23"/>
                  </a:lnTo>
                  <a:lnTo>
                    <a:pt x="137" y="17"/>
                  </a:lnTo>
                  <a:lnTo>
                    <a:pt x="128" y="12"/>
                  </a:lnTo>
                  <a:lnTo>
                    <a:pt x="119" y="7"/>
                  </a:lnTo>
                  <a:lnTo>
                    <a:pt x="110" y="5"/>
                  </a:lnTo>
                  <a:lnTo>
                    <a:pt x="101" y="2"/>
                  </a:lnTo>
                  <a:lnTo>
                    <a:pt x="91" y="1"/>
                  </a:lnTo>
                  <a:lnTo>
                    <a:pt x="81" y="0"/>
                  </a:lnTo>
                  <a:lnTo>
                    <a:pt x="81" y="0"/>
                  </a:lnTo>
                  <a:lnTo>
                    <a:pt x="70" y="1"/>
                  </a:lnTo>
                  <a:lnTo>
                    <a:pt x="59" y="2"/>
                  </a:lnTo>
                  <a:lnTo>
                    <a:pt x="59" y="2"/>
                  </a:lnTo>
                  <a:lnTo>
                    <a:pt x="50" y="7"/>
                  </a:lnTo>
                  <a:lnTo>
                    <a:pt x="43" y="11"/>
                  </a:lnTo>
                  <a:lnTo>
                    <a:pt x="36" y="17"/>
                  </a:lnTo>
                  <a:lnTo>
                    <a:pt x="29" y="23"/>
                  </a:lnTo>
                  <a:lnTo>
                    <a:pt x="29" y="23"/>
                  </a:lnTo>
                  <a:lnTo>
                    <a:pt x="23" y="31"/>
                  </a:lnTo>
                  <a:lnTo>
                    <a:pt x="17" y="38"/>
                  </a:lnTo>
                  <a:lnTo>
                    <a:pt x="12" y="47"/>
                  </a:lnTo>
                  <a:lnTo>
                    <a:pt x="7" y="55"/>
                  </a:lnTo>
                  <a:lnTo>
                    <a:pt x="5" y="64"/>
                  </a:lnTo>
                  <a:lnTo>
                    <a:pt x="2" y="74"/>
                  </a:lnTo>
                  <a:lnTo>
                    <a:pt x="1" y="84"/>
                  </a:lnTo>
                  <a:lnTo>
                    <a:pt x="0" y="93"/>
                  </a:lnTo>
                  <a:lnTo>
                    <a:pt x="0" y="93"/>
                  </a:lnTo>
                  <a:lnTo>
                    <a:pt x="1" y="103"/>
                  </a:lnTo>
                  <a:lnTo>
                    <a:pt x="2" y="113"/>
                  </a:lnTo>
                  <a:lnTo>
                    <a:pt x="5" y="123"/>
                  </a:lnTo>
                  <a:lnTo>
                    <a:pt x="7" y="133"/>
                  </a:lnTo>
                  <a:lnTo>
                    <a:pt x="12" y="142"/>
                  </a:lnTo>
                  <a:lnTo>
                    <a:pt x="17" y="149"/>
                  </a:lnTo>
                  <a:lnTo>
                    <a:pt x="23" y="158"/>
                  </a:lnTo>
                  <a:lnTo>
                    <a:pt x="29" y="164"/>
                  </a:lnTo>
                  <a:lnTo>
                    <a:pt x="37" y="171"/>
                  </a:lnTo>
                  <a:lnTo>
                    <a:pt x="44" y="176"/>
                  </a:lnTo>
                  <a:lnTo>
                    <a:pt x="52" y="181"/>
                  </a:lnTo>
                  <a:lnTo>
                    <a:pt x="61" y="186"/>
                  </a:lnTo>
                  <a:lnTo>
                    <a:pt x="70" y="188"/>
                  </a:lnTo>
                  <a:lnTo>
                    <a:pt x="80" y="191"/>
                  </a:lnTo>
                  <a:lnTo>
                    <a:pt x="90" y="193"/>
                  </a:lnTo>
                  <a:lnTo>
                    <a:pt x="100" y="193"/>
                  </a:lnTo>
                  <a:lnTo>
                    <a:pt x="100" y="193"/>
                  </a:lnTo>
                  <a:lnTo>
                    <a:pt x="111" y="193"/>
                  </a:lnTo>
                  <a:lnTo>
                    <a:pt x="122" y="191"/>
                  </a:lnTo>
                  <a:lnTo>
                    <a:pt x="122" y="191"/>
                  </a:lnTo>
                  <a:lnTo>
                    <a:pt x="129" y="187"/>
                  </a:lnTo>
                  <a:lnTo>
                    <a:pt x="138" y="182"/>
                  </a:lnTo>
                  <a:lnTo>
                    <a:pt x="144" y="177"/>
                  </a:lnTo>
                  <a:lnTo>
                    <a:pt x="151" y="171"/>
                  </a:lnTo>
                  <a:lnTo>
                    <a:pt x="151" y="171"/>
                  </a:lnTo>
                  <a:lnTo>
                    <a:pt x="151" y="171"/>
                  </a:lnTo>
                  <a:lnTo>
                    <a:pt x="158" y="164"/>
                  </a:lnTo>
                  <a:lnTo>
                    <a:pt x="164" y="155"/>
                  </a:lnTo>
                  <a:lnTo>
                    <a:pt x="169" y="147"/>
                  </a:lnTo>
                  <a:lnTo>
                    <a:pt x="174" y="138"/>
                  </a:lnTo>
                  <a:lnTo>
                    <a:pt x="176" y="129"/>
                  </a:lnTo>
                  <a:lnTo>
                    <a:pt x="179" y="119"/>
                  </a:lnTo>
                  <a:lnTo>
                    <a:pt x="180" y="110"/>
                  </a:lnTo>
                  <a:lnTo>
                    <a:pt x="181" y="100"/>
                  </a:lnTo>
                  <a:lnTo>
                    <a:pt x="181" y="100"/>
                  </a:lnTo>
                  <a:lnTo>
                    <a:pt x="180" y="90"/>
                  </a:lnTo>
                  <a:lnTo>
                    <a:pt x="179" y="81"/>
                  </a:lnTo>
                  <a:lnTo>
                    <a:pt x="176" y="71"/>
                  </a:lnTo>
                  <a:lnTo>
                    <a:pt x="174" y="61"/>
                  </a:lnTo>
                  <a:lnTo>
                    <a:pt x="169" y="53"/>
                  </a:lnTo>
                  <a:lnTo>
                    <a:pt x="164" y="45"/>
                  </a:lnTo>
                  <a:lnTo>
                    <a:pt x="158" y="37"/>
                  </a:lnTo>
                  <a:lnTo>
                    <a:pt x="151" y="29"/>
                  </a:lnTo>
                  <a:lnTo>
                    <a:pt x="151"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4" name="Freeform 213">
              <a:extLst>
                <a:ext uri="{FF2B5EF4-FFF2-40B4-BE49-F238E27FC236}">
                  <a16:creationId xmlns:a16="http://schemas.microsoft.com/office/drawing/2014/main" id="{E40B8BFC-9459-AEEC-6C1B-59C32C046D67}"/>
                </a:ext>
              </a:extLst>
            </p:cNvPr>
            <p:cNvSpPr>
              <a:spLocks/>
            </p:cNvSpPr>
            <p:nvPr/>
          </p:nvSpPr>
          <p:spPr bwMode="auto">
            <a:xfrm>
              <a:off x="3719513" y="573088"/>
              <a:ext cx="87313" cy="90488"/>
            </a:xfrm>
            <a:custGeom>
              <a:avLst/>
              <a:gdLst>
                <a:gd name="T0" fmla="*/ 50 w 55"/>
                <a:gd name="T1" fmla="*/ 52 h 57"/>
                <a:gd name="T2" fmla="*/ 50 w 55"/>
                <a:gd name="T3" fmla="*/ 52 h 57"/>
                <a:gd name="T4" fmla="*/ 45 w 55"/>
                <a:gd name="T5" fmla="*/ 56 h 57"/>
                <a:gd name="T6" fmla="*/ 39 w 55"/>
                <a:gd name="T7" fmla="*/ 57 h 57"/>
                <a:gd name="T8" fmla="*/ 32 w 55"/>
                <a:gd name="T9" fmla="*/ 56 h 57"/>
                <a:gd name="T10" fmla="*/ 27 w 55"/>
                <a:gd name="T11" fmla="*/ 52 h 57"/>
                <a:gd name="T12" fmla="*/ 5 w 55"/>
                <a:gd name="T13" fmla="*/ 30 h 57"/>
                <a:gd name="T14" fmla="*/ 5 w 55"/>
                <a:gd name="T15" fmla="*/ 30 h 57"/>
                <a:gd name="T16" fmla="*/ 1 w 55"/>
                <a:gd name="T17" fmla="*/ 24 h 57"/>
                <a:gd name="T18" fmla="*/ 0 w 55"/>
                <a:gd name="T19" fmla="*/ 18 h 57"/>
                <a:gd name="T20" fmla="*/ 1 w 55"/>
                <a:gd name="T21" fmla="*/ 12 h 57"/>
                <a:gd name="T22" fmla="*/ 5 w 55"/>
                <a:gd name="T23" fmla="*/ 5 h 57"/>
                <a:gd name="T24" fmla="*/ 5 w 55"/>
                <a:gd name="T25" fmla="*/ 5 h 57"/>
                <a:gd name="T26" fmla="*/ 5 w 55"/>
                <a:gd name="T27" fmla="*/ 5 h 57"/>
                <a:gd name="T28" fmla="*/ 5 w 55"/>
                <a:gd name="T29" fmla="*/ 5 h 57"/>
                <a:gd name="T30" fmla="*/ 11 w 55"/>
                <a:gd name="T31" fmla="*/ 2 h 57"/>
                <a:gd name="T32" fmla="*/ 17 w 55"/>
                <a:gd name="T33" fmla="*/ 0 h 57"/>
                <a:gd name="T34" fmla="*/ 23 w 55"/>
                <a:gd name="T35" fmla="*/ 2 h 57"/>
                <a:gd name="T36" fmla="*/ 29 w 55"/>
                <a:gd name="T37" fmla="*/ 5 h 57"/>
                <a:gd name="T38" fmla="*/ 50 w 55"/>
                <a:gd name="T39" fmla="*/ 28 h 57"/>
                <a:gd name="T40" fmla="*/ 50 w 55"/>
                <a:gd name="T41" fmla="*/ 28 h 57"/>
                <a:gd name="T42" fmla="*/ 54 w 55"/>
                <a:gd name="T43" fmla="*/ 34 h 57"/>
                <a:gd name="T44" fmla="*/ 55 w 55"/>
                <a:gd name="T45" fmla="*/ 40 h 57"/>
                <a:gd name="T46" fmla="*/ 54 w 55"/>
                <a:gd name="T47" fmla="*/ 46 h 57"/>
                <a:gd name="T48" fmla="*/ 50 w 55"/>
                <a:gd name="T49" fmla="*/ 52 h 57"/>
                <a:gd name="T50" fmla="*/ 50 w 55"/>
                <a:gd name="T51" fmla="*/ 52 h 57"/>
                <a:gd name="T52" fmla="*/ 50 w 55"/>
                <a:gd name="T53" fmla="*/ 52 h 57"/>
                <a:gd name="T54" fmla="*/ 50 w 55"/>
                <a:gd name="T55" fmla="*/ 5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5" h="57">
                  <a:moveTo>
                    <a:pt x="50" y="52"/>
                  </a:moveTo>
                  <a:lnTo>
                    <a:pt x="50" y="52"/>
                  </a:lnTo>
                  <a:lnTo>
                    <a:pt x="45" y="56"/>
                  </a:lnTo>
                  <a:lnTo>
                    <a:pt x="39" y="57"/>
                  </a:lnTo>
                  <a:lnTo>
                    <a:pt x="32" y="56"/>
                  </a:lnTo>
                  <a:lnTo>
                    <a:pt x="27" y="52"/>
                  </a:lnTo>
                  <a:lnTo>
                    <a:pt x="5" y="30"/>
                  </a:lnTo>
                  <a:lnTo>
                    <a:pt x="5" y="30"/>
                  </a:lnTo>
                  <a:lnTo>
                    <a:pt x="1" y="24"/>
                  </a:lnTo>
                  <a:lnTo>
                    <a:pt x="0" y="18"/>
                  </a:lnTo>
                  <a:lnTo>
                    <a:pt x="1" y="12"/>
                  </a:lnTo>
                  <a:lnTo>
                    <a:pt x="5" y="5"/>
                  </a:lnTo>
                  <a:lnTo>
                    <a:pt x="5" y="5"/>
                  </a:lnTo>
                  <a:lnTo>
                    <a:pt x="5" y="5"/>
                  </a:lnTo>
                  <a:lnTo>
                    <a:pt x="5" y="5"/>
                  </a:lnTo>
                  <a:lnTo>
                    <a:pt x="11" y="2"/>
                  </a:lnTo>
                  <a:lnTo>
                    <a:pt x="17" y="0"/>
                  </a:lnTo>
                  <a:lnTo>
                    <a:pt x="23" y="2"/>
                  </a:lnTo>
                  <a:lnTo>
                    <a:pt x="29" y="5"/>
                  </a:lnTo>
                  <a:lnTo>
                    <a:pt x="50" y="28"/>
                  </a:lnTo>
                  <a:lnTo>
                    <a:pt x="50" y="28"/>
                  </a:lnTo>
                  <a:lnTo>
                    <a:pt x="54" y="34"/>
                  </a:lnTo>
                  <a:lnTo>
                    <a:pt x="55" y="40"/>
                  </a:lnTo>
                  <a:lnTo>
                    <a:pt x="54" y="46"/>
                  </a:lnTo>
                  <a:lnTo>
                    <a:pt x="50" y="52"/>
                  </a:lnTo>
                  <a:lnTo>
                    <a:pt x="50" y="52"/>
                  </a:lnTo>
                  <a:lnTo>
                    <a:pt x="50" y="52"/>
                  </a:lnTo>
                  <a:lnTo>
                    <a:pt x="50" y="52"/>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5" name="Freeform 214">
              <a:extLst>
                <a:ext uri="{FF2B5EF4-FFF2-40B4-BE49-F238E27FC236}">
                  <a16:creationId xmlns:a16="http://schemas.microsoft.com/office/drawing/2014/main" id="{27A25A91-4727-78B3-1C08-8509F4645865}"/>
                </a:ext>
              </a:extLst>
            </p:cNvPr>
            <p:cNvSpPr>
              <a:spLocks/>
            </p:cNvSpPr>
            <p:nvPr/>
          </p:nvSpPr>
          <p:spPr bwMode="auto">
            <a:xfrm>
              <a:off x="3603625" y="258763"/>
              <a:ext cx="201613" cy="401638"/>
            </a:xfrm>
            <a:custGeom>
              <a:avLst/>
              <a:gdLst>
                <a:gd name="T0" fmla="*/ 1 w 127"/>
                <a:gd name="T1" fmla="*/ 0 h 253"/>
                <a:gd name="T2" fmla="*/ 27 w 127"/>
                <a:gd name="T3" fmla="*/ 2 h 253"/>
                <a:gd name="T4" fmla="*/ 51 w 127"/>
                <a:gd name="T5" fmla="*/ 10 h 253"/>
                <a:gd name="T6" fmla="*/ 71 w 127"/>
                <a:gd name="T7" fmla="*/ 21 h 253"/>
                <a:gd name="T8" fmla="*/ 90 w 127"/>
                <a:gd name="T9" fmla="*/ 37 h 253"/>
                <a:gd name="T10" fmla="*/ 106 w 127"/>
                <a:gd name="T11" fmla="*/ 55 h 253"/>
                <a:gd name="T12" fmla="*/ 117 w 127"/>
                <a:gd name="T13" fmla="*/ 78 h 253"/>
                <a:gd name="T14" fmla="*/ 125 w 127"/>
                <a:gd name="T15" fmla="*/ 101 h 253"/>
                <a:gd name="T16" fmla="*/ 127 w 127"/>
                <a:gd name="T17" fmla="*/ 126 h 253"/>
                <a:gd name="T18" fmla="*/ 127 w 127"/>
                <a:gd name="T19" fmla="*/ 139 h 253"/>
                <a:gd name="T20" fmla="*/ 122 w 127"/>
                <a:gd name="T21" fmla="*/ 163 h 253"/>
                <a:gd name="T22" fmla="*/ 112 w 127"/>
                <a:gd name="T23" fmla="*/ 186 h 253"/>
                <a:gd name="T24" fmla="*/ 99 w 127"/>
                <a:gd name="T25" fmla="*/ 206 h 253"/>
                <a:gd name="T26" fmla="*/ 90 w 127"/>
                <a:gd name="T27" fmla="*/ 216 h 253"/>
                <a:gd name="T28" fmla="*/ 71 w 127"/>
                <a:gd name="T29" fmla="*/ 232 h 253"/>
                <a:gd name="T30" fmla="*/ 49 w 127"/>
                <a:gd name="T31" fmla="*/ 243 h 253"/>
                <a:gd name="T32" fmla="*/ 26 w 127"/>
                <a:gd name="T33" fmla="*/ 250 h 253"/>
                <a:gd name="T34" fmla="*/ 1 w 127"/>
                <a:gd name="T35" fmla="*/ 253 h 253"/>
                <a:gd name="T36" fmla="*/ 0 w 127"/>
                <a:gd name="T37" fmla="*/ 253 h 253"/>
                <a:gd name="T38" fmla="*/ 1 w 127"/>
                <a:gd name="T39" fmla="*/ 235 h 253"/>
                <a:gd name="T40" fmla="*/ 1 w 127"/>
                <a:gd name="T41" fmla="*/ 235 h 253"/>
                <a:gd name="T42" fmla="*/ 22 w 127"/>
                <a:gd name="T43" fmla="*/ 234 h 253"/>
                <a:gd name="T44" fmla="*/ 43 w 127"/>
                <a:gd name="T45" fmla="*/ 228 h 253"/>
                <a:gd name="T46" fmla="*/ 62 w 127"/>
                <a:gd name="T47" fmla="*/ 217 h 253"/>
                <a:gd name="T48" fmla="*/ 79 w 127"/>
                <a:gd name="T49" fmla="*/ 203 h 253"/>
                <a:gd name="T50" fmla="*/ 86 w 127"/>
                <a:gd name="T51" fmla="*/ 196 h 253"/>
                <a:gd name="T52" fmla="*/ 97 w 127"/>
                <a:gd name="T53" fmla="*/ 177 h 253"/>
                <a:gd name="T54" fmla="*/ 106 w 127"/>
                <a:gd name="T55" fmla="*/ 158 h 253"/>
                <a:gd name="T56" fmla="*/ 110 w 127"/>
                <a:gd name="T57" fmla="*/ 137 h 253"/>
                <a:gd name="T58" fmla="*/ 111 w 127"/>
                <a:gd name="T59" fmla="*/ 126 h 253"/>
                <a:gd name="T60" fmla="*/ 108 w 127"/>
                <a:gd name="T61" fmla="*/ 105 h 253"/>
                <a:gd name="T62" fmla="*/ 102 w 127"/>
                <a:gd name="T63" fmla="*/ 84 h 253"/>
                <a:gd name="T64" fmla="*/ 92 w 127"/>
                <a:gd name="T65" fmla="*/ 65 h 253"/>
                <a:gd name="T66" fmla="*/ 79 w 127"/>
                <a:gd name="T67" fmla="*/ 49 h 253"/>
                <a:gd name="T68" fmla="*/ 63 w 127"/>
                <a:gd name="T69" fmla="*/ 36 h 253"/>
                <a:gd name="T70" fmla="*/ 43 w 127"/>
                <a:gd name="T71" fmla="*/ 25 h 253"/>
                <a:gd name="T72" fmla="*/ 23 w 127"/>
                <a:gd name="T73" fmla="*/ 18 h 253"/>
                <a:gd name="T74" fmla="*/ 1 w 127"/>
                <a:gd name="T75" fmla="*/ 16 h 253"/>
                <a:gd name="T76" fmla="*/ 1 w 127"/>
                <a:gd name="T77"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7" h="253">
                  <a:moveTo>
                    <a:pt x="1" y="0"/>
                  </a:moveTo>
                  <a:lnTo>
                    <a:pt x="1" y="0"/>
                  </a:lnTo>
                  <a:lnTo>
                    <a:pt x="14" y="0"/>
                  </a:lnTo>
                  <a:lnTo>
                    <a:pt x="27" y="2"/>
                  </a:lnTo>
                  <a:lnTo>
                    <a:pt x="38" y="5"/>
                  </a:lnTo>
                  <a:lnTo>
                    <a:pt x="51" y="10"/>
                  </a:lnTo>
                  <a:lnTo>
                    <a:pt x="62" y="15"/>
                  </a:lnTo>
                  <a:lnTo>
                    <a:pt x="71" y="21"/>
                  </a:lnTo>
                  <a:lnTo>
                    <a:pt x="81" y="28"/>
                  </a:lnTo>
                  <a:lnTo>
                    <a:pt x="90" y="37"/>
                  </a:lnTo>
                  <a:lnTo>
                    <a:pt x="99" y="45"/>
                  </a:lnTo>
                  <a:lnTo>
                    <a:pt x="106" y="55"/>
                  </a:lnTo>
                  <a:lnTo>
                    <a:pt x="112" y="66"/>
                  </a:lnTo>
                  <a:lnTo>
                    <a:pt x="117" y="78"/>
                  </a:lnTo>
                  <a:lnTo>
                    <a:pt x="122" y="89"/>
                  </a:lnTo>
                  <a:lnTo>
                    <a:pt x="125" y="101"/>
                  </a:lnTo>
                  <a:lnTo>
                    <a:pt x="127" y="113"/>
                  </a:lnTo>
                  <a:lnTo>
                    <a:pt x="127" y="126"/>
                  </a:lnTo>
                  <a:lnTo>
                    <a:pt x="127" y="126"/>
                  </a:lnTo>
                  <a:lnTo>
                    <a:pt x="127" y="139"/>
                  </a:lnTo>
                  <a:lnTo>
                    <a:pt x="125" y="152"/>
                  </a:lnTo>
                  <a:lnTo>
                    <a:pt x="122" y="163"/>
                  </a:lnTo>
                  <a:lnTo>
                    <a:pt x="118" y="175"/>
                  </a:lnTo>
                  <a:lnTo>
                    <a:pt x="112" y="186"/>
                  </a:lnTo>
                  <a:lnTo>
                    <a:pt x="106" y="196"/>
                  </a:lnTo>
                  <a:lnTo>
                    <a:pt x="99" y="206"/>
                  </a:lnTo>
                  <a:lnTo>
                    <a:pt x="90" y="216"/>
                  </a:lnTo>
                  <a:lnTo>
                    <a:pt x="90" y="216"/>
                  </a:lnTo>
                  <a:lnTo>
                    <a:pt x="81" y="224"/>
                  </a:lnTo>
                  <a:lnTo>
                    <a:pt x="71" y="232"/>
                  </a:lnTo>
                  <a:lnTo>
                    <a:pt x="60" y="238"/>
                  </a:lnTo>
                  <a:lnTo>
                    <a:pt x="49" y="243"/>
                  </a:lnTo>
                  <a:lnTo>
                    <a:pt x="38" y="248"/>
                  </a:lnTo>
                  <a:lnTo>
                    <a:pt x="26" y="250"/>
                  </a:lnTo>
                  <a:lnTo>
                    <a:pt x="14" y="253"/>
                  </a:lnTo>
                  <a:lnTo>
                    <a:pt x="1" y="253"/>
                  </a:lnTo>
                  <a:lnTo>
                    <a:pt x="1" y="253"/>
                  </a:lnTo>
                  <a:lnTo>
                    <a:pt x="0" y="253"/>
                  </a:lnTo>
                  <a:lnTo>
                    <a:pt x="1" y="235"/>
                  </a:lnTo>
                  <a:lnTo>
                    <a:pt x="1" y="235"/>
                  </a:lnTo>
                  <a:lnTo>
                    <a:pt x="1" y="235"/>
                  </a:lnTo>
                  <a:lnTo>
                    <a:pt x="1" y="235"/>
                  </a:lnTo>
                  <a:lnTo>
                    <a:pt x="12" y="235"/>
                  </a:lnTo>
                  <a:lnTo>
                    <a:pt x="22" y="234"/>
                  </a:lnTo>
                  <a:lnTo>
                    <a:pt x="33" y="232"/>
                  </a:lnTo>
                  <a:lnTo>
                    <a:pt x="43" y="228"/>
                  </a:lnTo>
                  <a:lnTo>
                    <a:pt x="53" y="223"/>
                  </a:lnTo>
                  <a:lnTo>
                    <a:pt x="62" y="217"/>
                  </a:lnTo>
                  <a:lnTo>
                    <a:pt x="70" y="211"/>
                  </a:lnTo>
                  <a:lnTo>
                    <a:pt x="79" y="203"/>
                  </a:lnTo>
                  <a:lnTo>
                    <a:pt x="79" y="203"/>
                  </a:lnTo>
                  <a:lnTo>
                    <a:pt x="86" y="196"/>
                  </a:lnTo>
                  <a:lnTo>
                    <a:pt x="92" y="187"/>
                  </a:lnTo>
                  <a:lnTo>
                    <a:pt x="97" y="177"/>
                  </a:lnTo>
                  <a:lnTo>
                    <a:pt x="102" y="168"/>
                  </a:lnTo>
                  <a:lnTo>
                    <a:pt x="106" y="158"/>
                  </a:lnTo>
                  <a:lnTo>
                    <a:pt x="108" y="148"/>
                  </a:lnTo>
                  <a:lnTo>
                    <a:pt x="110" y="137"/>
                  </a:lnTo>
                  <a:lnTo>
                    <a:pt x="111" y="126"/>
                  </a:lnTo>
                  <a:lnTo>
                    <a:pt x="111" y="126"/>
                  </a:lnTo>
                  <a:lnTo>
                    <a:pt x="110" y="115"/>
                  </a:lnTo>
                  <a:lnTo>
                    <a:pt x="108" y="105"/>
                  </a:lnTo>
                  <a:lnTo>
                    <a:pt x="106" y="94"/>
                  </a:lnTo>
                  <a:lnTo>
                    <a:pt x="102" y="84"/>
                  </a:lnTo>
                  <a:lnTo>
                    <a:pt x="97" y="74"/>
                  </a:lnTo>
                  <a:lnTo>
                    <a:pt x="92" y="65"/>
                  </a:lnTo>
                  <a:lnTo>
                    <a:pt x="85" y="57"/>
                  </a:lnTo>
                  <a:lnTo>
                    <a:pt x="79" y="49"/>
                  </a:lnTo>
                  <a:lnTo>
                    <a:pt x="70" y="42"/>
                  </a:lnTo>
                  <a:lnTo>
                    <a:pt x="63" y="36"/>
                  </a:lnTo>
                  <a:lnTo>
                    <a:pt x="53" y="29"/>
                  </a:lnTo>
                  <a:lnTo>
                    <a:pt x="43" y="25"/>
                  </a:lnTo>
                  <a:lnTo>
                    <a:pt x="33" y="21"/>
                  </a:lnTo>
                  <a:lnTo>
                    <a:pt x="23" y="18"/>
                  </a:lnTo>
                  <a:lnTo>
                    <a:pt x="12" y="17"/>
                  </a:lnTo>
                  <a:lnTo>
                    <a:pt x="1" y="16"/>
                  </a:lnTo>
                  <a:lnTo>
                    <a:pt x="1" y="0"/>
                  </a:lnTo>
                  <a:lnTo>
                    <a:pt x="1" y="0"/>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6" name="Freeform 215">
              <a:extLst>
                <a:ext uri="{FF2B5EF4-FFF2-40B4-BE49-F238E27FC236}">
                  <a16:creationId xmlns:a16="http://schemas.microsoft.com/office/drawing/2014/main" id="{CBA73D9D-1DA8-F060-F403-753444A8A4F6}"/>
                </a:ext>
              </a:extLst>
            </p:cNvPr>
            <p:cNvSpPr>
              <a:spLocks/>
            </p:cNvSpPr>
            <p:nvPr/>
          </p:nvSpPr>
          <p:spPr bwMode="auto">
            <a:xfrm>
              <a:off x="3471863" y="323850"/>
              <a:ext cx="290513" cy="293688"/>
            </a:xfrm>
            <a:custGeom>
              <a:avLst/>
              <a:gdLst>
                <a:gd name="T0" fmla="*/ 72 w 183"/>
                <a:gd name="T1" fmla="*/ 162 h 185"/>
                <a:gd name="T2" fmla="*/ 74 w 183"/>
                <a:gd name="T3" fmla="*/ 144 h 185"/>
                <a:gd name="T4" fmla="*/ 79 w 183"/>
                <a:gd name="T5" fmla="*/ 128 h 185"/>
                <a:gd name="T6" fmla="*/ 88 w 183"/>
                <a:gd name="T7" fmla="*/ 113 h 185"/>
                <a:gd name="T8" fmla="*/ 98 w 183"/>
                <a:gd name="T9" fmla="*/ 99 h 185"/>
                <a:gd name="T10" fmla="*/ 111 w 183"/>
                <a:gd name="T11" fmla="*/ 88 h 185"/>
                <a:gd name="T12" fmla="*/ 126 w 183"/>
                <a:gd name="T13" fmla="*/ 81 h 185"/>
                <a:gd name="T14" fmla="*/ 143 w 183"/>
                <a:gd name="T15" fmla="*/ 75 h 185"/>
                <a:gd name="T16" fmla="*/ 161 w 183"/>
                <a:gd name="T17" fmla="*/ 74 h 185"/>
                <a:gd name="T18" fmla="*/ 172 w 183"/>
                <a:gd name="T19" fmla="*/ 75 h 185"/>
                <a:gd name="T20" fmla="*/ 183 w 183"/>
                <a:gd name="T21" fmla="*/ 76 h 185"/>
                <a:gd name="T22" fmla="*/ 180 w 183"/>
                <a:gd name="T23" fmla="*/ 59 h 185"/>
                <a:gd name="T24" fmla="*/ 174 w 183"/>
                <a:gd name="T25" fmla="*/ 43 h 185"/>
                <a:gd name="T26" fmla="*/ 166 w 183"/>
                <a:gd name="T27" fmla="*/ 28 h 185"/>
                <a:gd name="T28" fmla="*/ 154 w 183"/>
                <a:gd name="T29" fmla="*/ 14 h 185"/>
                <a:gd name="T30" fmla="*/ 145 w 183"/>
                <a:gd name="T31" fmla="*/ 7 h 185"/>
                <a:gd name="T32" fmla="*/ 135 w 183"/>
                <a:gd name="T33" fmla="*/ 0 h 185"/>
                <a:gd name="T34" fmla="*/ 134 w 183"/>
                <a:gd name="T35" fmla="*/ 4 h 185"/>
                <a:gd name="T36" fmla="*/ 134 w 183"/>
                <a:gd name="T37" fmla="*/ 25 h 185"/>
                <a:gd name="T38" fmla="*/ 113 w 183"/>
                <a:gd name="T39" fmla="*/ 30 h 185"/>
                <a:gd name="T40" fmla="*/ 103 w 183"/>
                <a:gd name="T41" fmla="*/ 14 h 185"/>
                <a:gd name="T42" fmla="*/ 98 w 183"/>
                <a:gd name="T43" fmla="*/ 9 h 185"/>
                <a:gd name="T44" fmla="*/ 90 w 183"/>
                <a:gd name="T45" fmla="*/ 11 h 185"/>
                <a:gd name="T46" fmla="*/ 61 w 183"/>
                <a:gd name="T47" fmla="*/ 28 h 185"/>
                <a:gd name="T48" fmla="*/ 57 w 183"/>
                <a:gd name="T49" fmla="*/ 33 h 185"/>
                <a:gd name="T50" fmla="*/ 58 w 183"/>
                <a:gd name="T51" fmla="*/ 39 h 185"/>
                <a:gd name="T52" fmla="*/ 68 w 183"/>
                <a:gd name="T53" fmla="*/ 58 h 185"/>
                <a:gd name="T54" fmla="*/ 53 w 183"/>
                <a:gd name="T55" fmla="*/ 72 h 185"/>
                <a:gd name="T56" fmla="*/ 36 w 183"/>
                <a:gd name="T57" fmla="*/ 62 h 185"/>
                <a:gd name="T58" fmla="*/ 30 w 183"/>
                <a:gd name="T59" fmla="*/ 62 h 185"/>
                <a:gd name="T60" fmla="*/ 25 w 183"/>
                <a:gd name="T61" fmla="*/ 66 h 185"/>
                <a:gd name="T62" fmla="*/ 8 w 183"/>
                <a:gd name="T63" fmla="*/ 96 h 185"/>
                <a:gd name="T64" fmla="*/ 6 w 183"/>
                <a:gd name="T65" fmla="*/ 102 h 185"/>
                <a:gd name="T66" fmla="*/ 10 w 183"/>
                <a:gd name="T67" fmla="*/ 107 h 185"/>
                <a:gd name="T68" fmla="*/ 29 w 183"/>
                <a:gd name="T69" fmla="*/ 118 h 185"/>
                <a:gd name="T70" fmla="*/ 23 w 183"/>
                <a:gd name="T71" fmla="*/ 139 h 185"/>
                <a:gd name="T72" fmla="*/ 3 w 183"/>
                <a:gd name="T73" fmla="*/ 139 h 185"/>
                <a:gd name="T74" fmla="*/ 0 w 183"/>
                <a:gd name="T75" fmla="*/ 139 h 185"/>
                <a:gd name="T76" fmla="*/ 14 w 183"/>
                <a:gd name="T77" fmla="*/ 156 h 185"/>
                <a:gd name="T78" fmla="*/ 32 w 183"/>
                <a:gd name="T79" fmla="*/ 170 h 185"/>
                <a:gd name="T80" fmla="*/ 52 w 183"/>
                <a:gd name="T81" fmla="*/ 180 h 185"/>
                <a:gd name="T82" fmla="*/ 76 w 183"/>
                <a:gd name="T83" fmla="*/ 185 h 185"/>
                <a:gd name="T84" fmla="*/ 73 w 183"/>
                <a:gd name="T85" fmla="*/ 173 h 185"/>
                <a:gd name="T86" fmla="*/ 72 w 183"/>
                <a:gd name="T87" fmla="*/ 16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3" h="185">
                  <a:moveTo>
                    <a:pt x="72" y="162"/>
                  </a:moveTo>
                  <a:lnTo>
                    <a:pt x="72" y="162"/>
                  </a:lnTo>
                  <a:lnTo>
                    <a:pt x="73" y="154"/>
                  </a:lnTo>
                  <a:lnTo>
                    <a:pt x="74" y="144"/>
                  </a:lnTo>
                  <a:lnTo>
                    <a:pt x="77" y="136"/>
                  </a:lnTo>
                  <a:lnTo>
                    <a:pt x="79" y="128"/>
                  </a:lnTo>
                  <a:lnTo>
                    <a:pt x="83" y="120"/>
                  </a:lnTo>
                  <a:lnTo>
                    <a:pt x="88" y="113"/>
                  </a:lnTo>
                  <a:lnTo>
                    <a:pt x="93" y="106"/>
                  </a:lnTo>
                  <a:lnTo>
                    <a:pt x="98" y="99"/>
                  </a:lnTo>
                  <a:lnTo>
                    <a:pt x="104" y="93"/>
                  </a:lnTo>
                  <a:lnTo>
                    <a:pt x="111" y="88"/>
                  </a:lnTo>
                  <a:lnTo>
                    <a:pt x="119" y="85"/>
                  </a:lnTo>
                  <a:lnTo>
                    <a:pt x="126" y="81"/>
                  </a:lnTo>
                  <a:lnTo>
                    <a:pt x="135" y="77"/>
                  </a:lnTo>
                  <a:lnTo>
                    <a:pt x="143" y="75"/>
                  </a:lnTo>
                  <a:lnTo>
                    <a:pt x="152" y="74"/>
                  </a:lnTo>
                  <a:lnTo>
                    <a:pt x="161" y="74"/>
                  </a:lnTo>
                  <a:lnTo>
                    <a:pt x="161" y="74"/>
                  </a:lnTo>
                  <a:lnTo>
                    <a:pt x="172" y="75"/>
                  </a:lnTo>
                  <a:lnTo>
                    <a:pt x="183" y="76"/>
                  </a:lnTo>
                  <a:lnTo>
                    <a:pt x="183" y="76"/>
                  </a:lnTo>
                  <a:lnTo>
                    <a:pt x="182" y="67"/>
                  </a:lnTo>
                  <a:lnTo>
                    <a:pt x="180" y="59"/>
                  </a:lnTo>
                  <a:lnTo>
                    <a:pt x="178" y="51"/>
                  </a:lnTo>
                  <a:lnTo>
                    <a:pt x="174" y="43"/>
                  </a:lnTo>
                  <a:lnTo>
                    <a:pt x="171" y="35"/>
                  </a:lnTo>
                  <a:lnTo>
                    <a:pt x="166" y="28"/>
                  </a:lnTo>
                  <a:lnTo>
                    <a:pt x="161" y="21"/>
                  </a:lnTo>
                  <a:lnTo>
                    <a:pt x="154" y="14"/>
                  </a:lnTo>
                  <a:lnTo>
                    <a:pt x="154" y="14"/>
                  </a:lnTo>
                  <a:lnTo>
                    <a:pt x="145" y="7"/>
                  </a:lnTo>
                  <a:lnTo>
                    <a:pt x="135" y="0"/>
                  </a:lnTo>
                  <a:lnTo>
                    <a:pt x="135" y="0"/>
                  </a:lnTo>
                  <a:lnTo>
                    <a:pt x="134" y="2"/>
                  </a:lnTo>
                  <a:lnTo>
                    <a:pt x="134" y="4"/>
                  </a:lnTo>
                  <a:lnTo>
                    <a:pt x="134" y="25"/>
                  </a:lnTo>
                  <a:lnTo>
                    <a:pt x="134" y="25"/>
                  </a:lnTo>
                  <a:lnTo>
                    <a:pt x="122" y="28"/>
                  </a:lnTo>
                  <a:lnTo>
                    <a:pt x="113" y="30"/>
                  </a:lnTo>
                  <a:lnTo>
                    <a:pt x="103" y="14"/>
                  </a:lnTo>
                  <a:lnTo>
                    <a:pt x="103" y="14"/>
                  </a:lnTo>
                  <a:lnTo>
                    <a:pt x="100" y="11"/>
                  </a:lnTo>
                  <a:lnTo>
                    <a:pt x="98" y="9"/>
                  </a:lnTo>
                  <a:lnTo>
                    <a:pt x="94" y="9"/>
                  </a:lnTo>
                  <a:lnTo>
                    <a:pt x="90" y="11"/>
                  </a:lnTo>
                  <a:lnTo>
                    <a:pt x="61" y="28"/>
                  </a:lnTo>
                  <a:lnTo>
                    <a:pt x="61" y="28"/>
                  </a:lnTo>
                  <a:lnTo>
                    <a:pt x="58" y="30"/>
                  </a:lnTo>
                  <a:lnTo>
                    <a:pt x="57" y="33"/>
                  </a:lnTo>
                  <a:lnTo>
                    <a:pt x="57" y="37"/>
                  </a:lnTo>
                  <a:lnTo>
                    <a:pt x="58" y="39"/>
                  </a:lnTo>
                  <a:lnTo>
                    <a:pt x="68" y="58"/>
                  </a:lnTo>
                  <a:lnTo>
                    <a:pt x="68" y="58"/>
                  </a:lnTo>
                  <a:lnTo>
                    <a:pt x="61" y="65"/>
                  </a:lnTo>
                  <a:lnTo>
                    <a:pt x="53" y="72"/>
                  </a:lnTo>
                  <a:lnTo>
                    <a:pt x="36" y="62"/>
                  </a:lnTo>
                  <a:lnTo>
                    <a:pt x="36" y="62"/>
                  </a:lnTo>
                  <a:lnTo>
                    <a:pt x="34" y="61"/>
                  </a:lnTo>
                  <a:lnTo>
                    <a:pt x="30" y="62"/>
                  </a:lnTo>
                  <a:lnTo>
                    <a:pt x="26" y="64"/>
                  </a:lnTo>
                  <a:lnTo>
                    <a:pt x="25" y="66"/>
                  </a:lnTo>
                  <a:lnTo>
                    <a:pt x="8" y="96"/>
                  </a:lnTo>
                  <a:lnTo>
                    <a:pt x="8" y="96"/>
                  </a:lnTo>
                  <a:lnTo>
                    <a:pt x="6" y="98"/>
                  </a:lnTo>
                  <a:lnTo>
                    <a:pt x="6" y="102"/>
                  </a:lnTo>
                  <a:lnTo>
                    <a:pt x="8" y="104"/>
                  </a:lnTo>
                  <a:lnTo>
                    <a:pt x="10" y="107"/>
                  </a:lnTo>
                  <a:lnTo>
                    <a:pt x="29" y="118"/>
                  </a:lnTo>
                  <a:lnTo>
                    <a:pt x="29" y="118"/>
                  </a:lnTo>
                  <a:lnTo>
                    <a:pt x="25" y="128"/>
                  </a:lnTo>
                  <a:lnTo>
                    <a:pt x="23" y="139"/>
                  </a:lnTo>
                  <a:lnTo>
                    <a:pt x="3" y="139"/>
                  </a:lnTo>
                  <a:lnTo>
                    <a:pt x="3" y="139"/>
                  </a:lnTo>
                  <a:lnTo>
                    <a:pt x="0" y="139"/>
                  </a:lnTo>
                  <a:lnTo>
                    <a:pt x="0" y="139"/>
                  </a:lnTo>
                  <a:lnTo>
                    <a:pt x="6" y="149"/>
                  </a:lnTo>
                  <a:lnTo>
                    <a:pt x="14" y="156"/>
                  </a:lnTo>
                  <a:lnTo>
                    <a:pt x="23" y="164"/>
                  </a:lnTo>
                  <a:lnTo>
                    <a:pt x="32" y="170"/>
                  </a:lnTo>
                  <a:lnTo>
                    <a:pt x="42" y="176"/>
                  </a:lnTo>
                  <a:lnTo>
                    <a:pt x="52" y="180"/>
                  </a:lnTo>
                  <a:lnTo>
                    <a:pt x="63" y="183"/>
                  </a:lnTo>
                  <a:lnTo>
                    <a:pt x="76" y="185"/>
                  </a:lnTo>
                  <a:lnTo>
                    <a:pt x="76" y="185"/>
                  </a:lnTo>
                  <a:lnTo>
                    <a:pt x="73" y="173"/>
                  </a:lnTo>
                  <a:lnTo>
                    <a:pt x="72" y="162"/>
                  </a:lnTo>
                  <a:lnTo>
                    <a:pt x="72" y="162"/>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47" name="Freeform 216">
              <a:extLst>
                <a:ext uri="{FF2B5EF4-FFF2-40B4-BE49-F238E27FC236}">
                  <a16:creationId xmlns:a16="http://schemas.microsoft.com/office/drawing/2014/main" id="{A77F205A-BC3F-BECE-CC24-B3DDF1AAB0B2}"/>
                </a:ext>
              </a:extLst>
            </p:cNvPr>
            <p:cNvSpPr>
              <a:spLocks/>
            </p:cNvSpPr>
            <p:nvPr/>
          </p:nvSpPr>
          <p:spPr bwMode="auto">
            <a:xfrm>
              <a:off x="3471863" y="544513"/>
              <a:ext cx="120650" cy="73025"/>
            </a:xfrm>
            <a:custGeom>
              <a:avLst/>
              <a:gdLst>
                <a:gd name="T0" fmla="*/ 23 w 76"/>
                <a:gd name="T1" fmla="*/ 0 h 46"/>
                <a:gd name="T2" fmla="*/ 23 w 76"/>
                <a:gd name="T3" fmla="*/ 0 h 46"/>
                <a:gd name="T4" fmla="*/ 23 w 76"/>
                <a:gd name="T5" fmla="*/ 0 h 46"/>
                <a:gd name="T6" fmla="*/ 3 w 76"/>
                <a:gd name="T7" fmla="*/ 0 h 46"/>
                <a:gd name="T8" fmla="*/ 3 w 76"/>
                <a:gd name="T9" fmla="*/ 0 h 46"/>
                <a:gd name="T10" fmla="*/ 0 w 76"/>
                <a:gd name="T11" fmla="*/ 0 h 46"/>
                <a:gd name="T12" fmla="*/ 0 w 76"/>
                <a:gd name="T13" fmla="*/ 0 h 46"/>
                <a:gd name="T14" fmla="*/ 3 w 76"/>
                <a:gd name="T15" fmla="*/ 4 h 46"/>
                <a:gd name="T16" fmla="*/ 3 w 76"/>
                <a:gd name="T17" fmla="*/ 4 h 46"/>
                <a:gd name="T18" fmla="*/ 4 w 76"/>
                <a:gd name="T19" fmla="*/ 6 h 46"/>
                <a:gd name="T20" fmla="*/ 4 w 76"/>
                <a:gd name="T21" fmla="*/ 6 h 46"/>
                <a:gd name="T22" fmla="*/ 9 w 76"/>
                <a:gd name="T23" fmla="*/ 12 h 46"/>
                <a:gd name="T24" fmla="*/ 9 w 76"/>
                <a:gd name="T25" fmla="*/ 12 h 46"/>
                <a:gd name="T26" fmla="*/ 11 w 76"/>
                <a:gd name="T27" fmla="*/ 15 h 46"/>
                <a:gd name="T28" fmla="*/ 11 w 76"/>
                <a:gd name="T29" fmla="*/ 15 h 46"/>
                <a:gd name="T30" fmla="*/ 15 w 76"/>
                <a:gd name="T31" fmla="*/ 18 h 46"/>
                <a:gd name="T32" fmla="*/ 15 w 76"/>
                <a:gd name="T33" fmla="*/ 18 h 46"/>
                <a:gd name="T34" fmla="*/ 19 w 76"/>
                <a:gd name="T35" fmla="*/ 22 h 46"/>
                <a:gd name="T36" fmla="*/ 19 w 76"/>
                <a:gd name="T37" fmla="*/ 22 h 46"/>
                <a:gd name="T38" fmla="*/ 23 w 76"/>
                <a:gd name="T39" fmla="*/ 25 h 46"/>
                <a:gd name="T40" fmla="*/ 23 w 76"/>
                <a:gd name="T41" fmla="*/ 25 h 46"/>
                <a:gd name="T42" fmla="*/ 25 w 76"/>
                <a:gd name="T43" fmla="*/ 27 h 46"/>
                <a:gd name="T44" fmla="*/ 25 w 76"/>
                <a:gd name="T45" fmla="*/ 27 h 46"/>
                <a:gd name="T46" fmla="*/ 30 w 76"/>
                <a:gd name="T47" fmla="*/ 31 h 46"/>
                <a:gd name="T48" fmla="*/ 30 w 76"/>
                <a:gd name="T49" fmla="*/ 31 h 46"/>
                <a:gd name="T50" fmla="*/ 34 w 76"/>
                <a:gd name="T51" fmla="*/ 32 h 46"/>
                <a:gd name="T52" fmla="*/ 34 w 76"/>
                <a:gd name="T53" fmla="*/ 32 h 46"/>
                <a:gd name="T54" fmla="*/ 40 w 76"/>
                <a:gd name="T55" fmla="*/ 36 h 46"/>
                <a:gd name="T56" fmla="*/ 40 w 76"/>
                <a:gd name="T57" fmla="*/ 36 h 46"/>
                <a:gd name="T58" fmla="*/ 42 w 76"/>
                <a:gd name="T59" fmla="*/ 37 h 46"/>
                <a:gd name="T60" fmla="*/ 42 w 76"/>
                <a:gd name="T61" fmla="*/ 37 h 46"/>
                <a:gd name="T62" fmla="*/ 47 w 76"/>
                <a:gd name="T63" fmla="*/ 39 h 46"/>
                <a:gd name="T64" fmla="*/ 47 w 76"/>
                <a:gd name="T65" fmla="*/ 39 h 46"/>
                <a:gd name="T66" fmla="*/ 51 w 76"/>
                <a:gd name="T67" fmla="*/ 41 h 46"/>
                <a:gd name="T68" fmla="*/ 51 w 76"/>
                <a:gd name="T69" fmla="*/ 41 h 46"/>
                <a:gd name="T70" fmla="*/ 57 w 76"/>
                <a:gd name="T71" fmla="*/ 42 h 46"/>
                <a:gd name="T72" fmla="*/ 57 w 76"/>
                <a:gd name="T73" fmla="*/ 42 h 46"/>
                <a:gd name="T74" fmla="*/ 60 w 76"/>
                <a:gd name="T75" fmla="*/ 43 h 46"/>
                <a:gd name="T76" fmla="*/ 60 w 76"/>
                <a:gd name="T77" fmla="*/ 43 h 46"/>
                <a:gd name="T78" fmla="*/ 67 w 76"/>
                <a:gd name="T79" fmla="*/ 44 h 46"/>
                <a:gd name="T80" fmla="*/ 67 w 76"/>
                <a:gd name="T81" fmla="*/ 44 h 46"/>
                <a:gd name="T82" fmla="*/ 71 w 76"/>
                <a:gd name="T83" fmla="*/ 46 h 46"/>
                <a:gd name="T84" fmla="*/ 71 w 76"/>
                <a:gd name="T85" fmla="*/ 46 h 46"/>
                <a:gd name="T86" fmla="*/ 76 w 76"/>
                <a:gd name="T87" fmla="*/ 46 h 46"/>
                <a:gd name="T88" fmla="*/ 76 w 76"/>
                <a:gd name="T89" fmla="*/ 46 h 46"/>
                <a:gd name="T90" fmla="*/ 73 w 76"/>
                <a:gd name="T91" fmla="*/ 34 h 46"/>
                <a:gd name="T92" fmla="*/ 73 w 76"/>
                <a:gd name="T93" fmla="*/ 34 h 46"/>
                <a:gd name="T94" fmla="*/ 58 w 76"/>
                <a:gd name="T95" fmla="*/ 30 h 46"/>
                <a:gd name="T96" fmla="*/ 45 w 76"/>
                <a:gd name="T97" fmla="*/ 21 h 46"/>
                <a:gd name="T98" fmla="*/ 34 w 76"/>
                <a:gd name="T99" fmla="*/ 11 h 46"/>
                <a:gd name="T100" fmla="*/ 23 w 76"/>
                <a:gd name="T101" fmla="*/ 0 h 46"/>
                <a:gd name="T102" fmla="*/ 23 w 76"/>
                <a:gd name="T10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 h="46">
                  <a:moveTo>
                    <a:pt x="23" y="0"/>
                  </a:moveTo>
                  <a:lnTo>
                    <a:pt x="23" y="0"/>
                  </a:lnTo>
                  <a:lnTo>
                    <a:pt x="23" y="0"/>
                  </a:lnTo>
                  <a:lnTo>
                    <a:pt x="3" y="0"/>
                  </a:lnTo>
                  <a:lnTo>
                    <a:pt x="3" y="0"/>
                  </a:lnTo>
                  <a:lnTo>
                    <a:pt x="0" y="0"/>
                  </a:lnTo>
                  <a:lnTo>
                    <a:pt x="0" y="0"/>
                  </a:lnTo>
                  <a:lnTo>
                    <a:pt x="3" y="4"/>
                  </a:lnTo>
                  <a:lnTo>
                    <a:pt x="3" y="4"/>
                  </a:lnTo>
                  <a:lnTo>
                    <a:pt x="4" y="6"/>
                  </a:lnTo>
                  <a:lnTo>
                    <a:pt x="4" y="6"/>
                  </a:lnTo>
                  <a:lnTo>
                    <a:pt x="9" y="12"/>
                  </a:lnTo>
                  <a:lnTo>
                    <a:pt x="9" y="12"/>
                  </a:lnTo>
                  <a:lnTo>
                    <a:pt x="11" y="15"/>
                  </a:lnTo>
                  <a:lnTo>
                    <a:pt x="11" y="15"/>
                  </a:lnTo>
                  <a:lnTo>
                    <a:pt x="15" y="18"/>
                  </a:lnTo>
                  <a:lnTo>
                    <a:pt x="15" y="18"/>
                  </a:lnTo>
                  <a:lnTo>
                    <a:pt x="19" y="22"/>
                  </a:lnTo>
                  <a:lnTo>
                    <a:pt x="19" y="22"/>
                  </a:lnTo>
                  <a:lnTo>
                    <a:pt x="23" y="25"/>
                  </a:lnTo>
                  <a:lnTo>
                    <a:pt x="23" y="25"/>
                  </a:lnTo>
                  <a:lnTo>
                    <a:pt x="25" y="27"/>
                  </a:lnTo>
                  <a:lnTo>
                    <a:pt x="25" y="27"/>
                  </a:lnTo>
                  <a:lnTo>
                    <a:pt x="30" y="31"/>
                  </a:lnTo>
                  <a:lnTo>
                    <a:pt x="30" y="31"/>
                  </a:lnTo>
                  <a:lnTo>
                    <a:pt x="34" y="32"/>
                  </a:lnTo>
                  <a:lnTo>
                    <a:pt x="34" y="32"/>
                  </a:lnTo>
                  <a:lnTo>
                    <a:pt x="40" y="36"/>
                  </a:lnTo>
                  <a:lnTo>
                    <a:pt x="40" y="36"/>
                  </a:lnTo>
                  <a:lnTo>
                    <a:pt x="42" y="37"/>
                  </a:lnTo>
                  <a:lnTo>
                    <a:pt x="42" y="37"/>
                  </a:lnTo>
                  <a:lnTo>
                    <a:pt x="47" y="39"/>
                  </a:lnTo>
                  <a:lnTo>
                    <a:pt x="47" y="39"/>
                  </a:lnTo>
                  <a:lnTo>
                    <a:pt x="51" y="41"/>
                  </a:lnTo>
                  <a:lnTo>
                    <a:pt x="51" y="41"/>
                  </a:lnTo>
                  <a:lnTo>
                    <a:pt x="57" y="42"/>
                  </a:lnTo>
                  <a:lnTo>
                    <a:pt x="57" y="42"/>
                  </a:lnTo>
                  <a:lnTo>
                    <a:pt x="60" y="43"/>
                  </a:lnTo>
                  <a:lnTo>
                    <a:pt x="60" y="43"/>
                  </a:lnTo>
                  <a:lnTo>
                    <a:pt x="67" y="44"/>
                  </a:lnTo>
                  <a:lnTo>
                    <a:pt x="67" y="44"/>
                  </a:lnTo>
                  <a:lnTo>
                    <a:pt x="71" y="46"/>
                  </a:lnTo>
                  <a:lnTo>
                    <a:pt x="71" y="46"/>
                  </a:lnTo>
                  <a:lnTo>
                    <a:pt x="76" y="46"/>
                  </a:lnTo>
                  <a:lnTo>
                    <a:pt x="76" y="46"/>
                  </a:lnTo>
                  <a:lnTo>
                    <a:pt x="73" y="34"/>
                  </a:lnTo>
                  <a:lnTo>
                    <a:pt x="73" y="34"/>
                  </a:lnTo>
                  <a:lnTo>
                    <a:pt x="58" y="30"/>
                  </a:lnTo>
                  <a:lnTo>
                    <a:pt x="45" y="21"/>
                  </a:lnTo>
                  <a:lnTo>
                    <a:pt x="34" y="11"/>
                  </a:lnTo>
                  <a:lnTo>
                    <a:pt x="23" y="0"/>
                  </a:lnTo>
                  <a:lnTo>
                    <a:pt x="23"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20327124"/>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46E2FDE-BF7B-883C-1214-B89AF8AC25EC}"/>
              </a:ext>
            </a:extLst>
          </p:cNvPr>
          <p:cNvSpPr txBox="1">
            <a:spLocks/>
          </p:cNvSpPr>
          <p:nvPr/>
        </p:nvSpPr>
        <p:spPr>
          <a:xfrm>
            <a:off x="228600" y="176586"/>
            <a:ext cx="11124959" cy="6596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200" b="1" dirty="0">
                <a:latin typeface="Open Sans"/>
                <a:ea typeface="Open Sans"/>
                <a:cs typeface="Open Sans"/>
              </a:rPr>
              <a:t>Principali richieste di chiarimento delle Scuole (6/9)</a:t>
            </a:r>
            <a:endParaRPr lang="it-IT" sz="2000" b="1" i="1" dirty="0"/>
          </a:p>
        </p:txBody>
      </p:sp>
      <p:graphicFrame>
        <p:nvGraphicFramePr>
          <p:cNvPr id="13" name="Tabella 5">
            <a:extLst>
              <a:ext uri="{FF2B5EF4-FFF2-40B4-BE49-F238E27FC236}">
                <a16:creationId xmlns:a16="http://schemas.microsoft.com/office/drawing/2014/main" id="{90253E84-DB4C-BB10-F5D4-40A68722033A}"/>
              </a:ext>
            </a:extLst>
          </p:cNvPr>
          <p:cNvGraphicFramePr>
            <a:graphicFrameLocks noGrp="1"/>
          </p:cNvGraphicFramePr>
          <p:nvPr>
            <p:extLst>
              <p:ext uri="{D42A27DB-BD31-4B8C-83A1-F6EECF244321}">
                <p14:modId xmlns:p14="http://schemas.microsoft.com/office/powerpoint/2010/main" val="170182831"/>
              </p:ext>
            </p:extLst>
          </p:nvPr>
        </p:nvGraphicFramePr>
        <p:xfrm>
          <a:off x="6624000" y="3436117"/>
          <a:ext cx="4467600" cy="2461011"/>
        </p:xfrm>
        <a:graphic>
          <a:graphicData uri="http://schemas.openxmlformats.org/drawingml/2006/table">
            <a:tbl>
              <a:tblPr firstRow="1" bandRow="1" bandCol="1">
                <a:noFill/>
                <a:effectLst>
                  <a:outerShdw blurRad="50800" dist="38100" dir="2700000" algn="tl" rotWithShape="0">
                    <a:prstClr val="black">
                      <a:alpha val="40000"/>
                    </a:prstClr>
                  </a:outerShdw>
                </a:effectLst>
                <a:tableStyleId>{8799B23B-EC83-4686-B30A-512413B5E67A}</a:tableStyleId>
              </a:tblPr>
              <a:tblGrid>
                <a:gridCol w="1489200">
                  <a:extLst>
                    <a:ext uri="{9D8B030D-6E8A-4147-A177-3AD203B41FA5}">
                      <a16:colId xmlns:a16="http://schemas.microsoft.com/office/drawing/2014/main" val="2628908692"/>
                    </a:ext>
                  </a:extLst>
                </a:gridCol>
                <a:gridCol w="1489200">
                  <a:extLst>
                    <a:ext uri="{9D8B030D-6E8A-4147-A177-3AD203B41FA5}">
                      <a16:colId xmlns:a16="http://schemas.microsoft.com/office/drawing/2014/main" val="2415578691"/>
                    </a:ext>
                  </a:extLst>
                </a:gridCol>
                <a:gridCol w="1489200">
                  <a:extLst>
                    <a:ext uri="{9D8B030D-6E8A-4147-A177-3AD203B41FA5}">
                      <a16:colId xmlns:a16="http://schemas.microsoft.com/office/drawing/2014/main" val="266982091"/>
                    </a:ext>
                  </a:extLst>
                </a:gridCol>
              </a:tblGrid>
              <a:tr h="1142854">
                <a:tc>
                  <a:txBody>
                    <a:bodyPr/>
                    <a:lstStyle/>
                    <a:p>
                      <a:pPr algn="ctr"/>
                      <a:endParaRPr lang="it-IT"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txBody>
                  <a:tcPr anchor="ctr">
                    <a:lnL w="12700" cap="flat" cmpd="sng" algn="ctr">
                      <a:noFill/>
                      <a:prstDash val="solid"/>
                      <a:round/>
                      <a:headEnd type="none" w="med" len="med"/>
                      <a:tailEnd type="none" w="med" len="med"/>
                    </a:lnL>
                    <a:lnR w="12700" cap="flat" cmpd="sng" algn="ctr">
                      <a:solidFill>
                        <a:srgbClr val="DAF0F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AF0F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it-IT"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ompenso minimo (lordo Stato)</a:t>
                      </a:r>
                    </a:p>
                  </a:txBody>
                  <a:tcPr anchor="ctr">
                    <a:lnL w="12700" cap="flat" cmpd="sng" algn="ctr">
                      <a:solidFill>
                        <a:srgbClr val="DAF0F6"/>
                      </a:solidFill>
                      <a:prstDash val="solid"/>
                      <a:round/>
                      <a:headEnd type="none" w="med" len="med"/>
                      <a:tailEnd type="none" w="med" len="med"/>
                    </a:lnL>
                    <a:lnR w="12700" cap="flat" cmpd="sng" algn="ctr">
                      <a:solidFill>
                        <a:srgbClr val="DAF0F6"/>
                      </a:solid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AF0F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it-IT"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ompenso massimo (lordo Stato)</a:t>
                      </a:r>
                    </a:p>
                  </a:txBody>
                  <a:tcPr anchor="ctr">
                    <a:lnL w="12700" cap="flat" cmpd="sng" algn="ctr">
                      <a:solidFill>
                        <a:srgbClr val="DAF0F6"/>
                      </a:solidFill>
                      <a:prstDash val="solid"/>
                      <a:round/>
                      <a:headEnd type="none" w="med" len="med"/>
                      <a:tailEnd type="none" w="med" len="med"/>
                    </a:lnL>
                    <a:lnR w="12700" cap="flat" cmpd="sng" algn="ctr">
                      <a:noFill/>
                      <a:prstDash val="solid"/>
                      <a:round/>
                      <a:headEnd type="none" w="med" len="med"/>
                      <a:tailEnd type="none" w="med" len="med"/>
                    </a:lnR>
                    <a:lnT w="12700" cap="flat" cmpd="sng" algn="ctr">
                      <a:noFill/>
                      <a:prstDash val="solid"/>
                      <a:round/>
                      <a:headEnd type="none" w="med" len="med"/>
                      <a:tailEnd type="none" w="med" len="med"/>
                    </a:lnT>
                    <a:lnB w="12700" cap="flat" cmpd="sng" algn="ctr">
                      <a:solidFill>
                        <a:srgbClr val="DAF0F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181000480"/>
                  </a:ext>
                </a:extLst>
              </a:tr>
              <a:tr h="461136">
                <a:tc>
                  <a:txBody>
                    <a:bodyPr/>
                    <a:lstStyle/>
                    <a:p>
                      <a:pPr algn="ctr"/>
                      <a:r>
                        <a:rPr lang="it-IT" sz="1400" b="0" i="1"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ocente orientatore</a:t>
                      </a:r>
                    </a:p>
                  </a:txBody>
                  <a:tcPr anchor="ctr">
                    <a:lnL w="12700" cap="flat" cmpd="sng" algn="ctr">
                      <a:noFill/>
                      <a:prstDash val="solid"/>
                      <a:round/>
                      <a:headEnd type="none" w="med" len="med"/>
                      <a:tailEnd type="none" w="med" len="med"/>
                    </a:lnL>
                    <a:lnR w="12700" cap="flat" cmpd="sng" algn="ctr">
                      <a:solidFill>
                        <a:srgbClr val="DAF0F6"/>
                      </a:solidFill>
                      <a:prstDash val="solid"/>
                      <a:round/>
                      <a:headEnd type="none" w="med" len="med"/>
                      <a:tailEnd type="none" w="med" len="med"/>
                    </a:lnR>
                    <a:lnT w="12700" cap="flat" cmpd="sng" algn="ctr">
                      <a:solidFill>
                        <a:srgbClr val="DAF0F6"/>
                      </a:solidFill>
                      <a:prstDash val="solid"/>
                      <a:round/>
                      <a:headEnd type="none" w="med" len="med"/>
                      <a:tailEnd type="none" w="med" len="med"/>
                    </a:lnT>
                    <a:lnB w="12700" cap="flat" cmpd="sng" algn="ctr">
                      <a:solidFill>
                        <a:srgbClr val="DAF0F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it-IT"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1.500 euro</a:t>
                      </a:r>
                    </a:p>
                  </a:txBody>
                  <a:tcPr anchor="ctr">
                    <a:lnL w="12700" cap="flat" cmpd="sng" algn="ctr">
                      <a:solidFill>
                        <a:srgbClr val="DAF0F6"/>
                      </a:solidFill>
                      <a:prstDash val="solid"/>
                      <a:round/>
                      <a:headEnd type="none" w="med" len="med"/>
                      <a:tailEnd type="none" w="med" len="med"/>
                    </a:lnL>
                    <a:lnR w="12700" cap="flat" cmpd="sng" algn="ctr">
                      <a:solidFill>
                        <a:srgbClr val="DAF0F6"/>
                      </a:solidFill>
                      <a:prstDash val="solid"/>
                      <a:round/>
                      <a:headEnd type="none" w="med" len="med"/>
                      <a:tailEnd type="none" w="med" len="med"/>
                    </a:lnR>
                    <a:lnT w="12700" cap="flat" cmpd="sng" algn="ctr">
                      <a:solidFill>
                        <a:srgbClr val="DAF0F6"/>
                      </a:solidFill>
                      <a:prstDash val="solid"/>
                      <a:round/>
                      <a:headEnd type="none" w="med" len="med"/>
                      <a:tailEnd type="none" w="med" len="med"/>
                    </a:lnT>
                    <a:lnB w="12700" cap="flat" cmpd="sng" algn="ctr">
                      <a:solidFill>
                        <a:srgbClr val="DAF0F6"/>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it-IT"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2.000 euro</a:t>
                      </a:r>
                    </a:p>
                  </a:txBody>
                  <a:tcPr anchor="ctr">
                    <a:lnL w="12700" cap="flat" cmpd="sng" algn="ctr">
                      <a:solidFill>
                        <a:srgbClr val="DAF0F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AF0F6"/>
                      </a:solidFill>
                      <a:prstDash val="solid"/>
                      <a:round/>
                      <a:headEnd type="none" w="med" len="med"/>
                      <a:tailEnd type="none" w="med" len="med"/>
                    </a:lnT>
                    <a:lnB w="12700" cap="flat" cmpd="sng" algn="ctr">
                      <a:solidFill>
                        <a:srgbClr val="DAF0F6"/>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443660938"/>
                  </a:ext>
                </a:extLst>
              </a:tr>
              <a:tr h="799997">
                <a:tc>
                  <a:txBody>
                    <a:bodyPr/>
                    <a:lstStyle/>
                    <a:p>
                      <a:pPr algn="ctr"/>
                      <a:r>
                        <a:rPr lang="it-IT" sz="1400" b="0" i="1"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ocente tutor</a:t>
                      </a:r>
                    </a:p>
                  </a:txBody>
                  <a:tcPr anchor="ctr">
                    <a:lnL w="12700" cap="flat" cmpd="sng" algn="ctr">
                      <a:noFill/>
                      <a:prstDash val="solid"/>
                      <a:round/>
                      <a:headEnd type="none" w="med" len="med"/>
                      <a:tailEnd type="none" w="med" len="med"/>
                    </a:lnL>
                    <a:lnR w="12700" cap="flat" cmpd="sng" algn="ctr">
                      <a:solidFill>
                        <a:srgbClr val="DAF0F6"/>
                      </a:solidFill>
                      <a:prstDash val="solid"/>
                      <a:round/>
                      <a:headEnd type="none" w="med" len="med"/>
                      <a:tailEnd type="none" w="med" len="med"/>
                    </a:lnR>
                    <a:lnT w="12700" cap="flat" cmpd="sng" algn="ctr">
                      <a:solidFill>
                        <a:srgbClr val="DAF0F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it-IT"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2.850 euro</a:t>
                      </a:r>
                    </a:p>
                  </a:txBody>
                  <a:tcPr anchor="ctr">
                    <a:lnL w="12700" cap="flat" cmpd="sng" algn="ctr">
                      <a:solidFill>
                        <a:srgbClr val="DAF0F6"/>
                      </a:solidFill>
                      <a:prstDash val="solid"/>
                      <a:round/>
                      <a:headEnd type="none" w="med" len="med"/>
                      <a:tailEnd type="none" w="med" len="med"/>
                    </a:lnL>
                    <a:lnR w="12700" cap="flat" cmpd="sng" algn="ctr">
                      <a:solidFill>
                        <a:srgbClr val="DAF0F6"/>
                      </a:solidFill>
                      <a:prstDash val="solid"/>
                      <a:round/>
                      <a:headEnd type="none" w="med" len="med"/>
                      <a:tailEnd type="none" w="med" len="med"/>
                    </a:lnR>
                    <a:lnT w="12700" cap="flat" cmpd="sng" algn="ctr">
                      <a:solidFill>
                        <a:srgbClr val="DAF0F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pPr algn="ctr"/>
                      <a:r>
                        <a:rPr lang="it-IT" sz="1400" kern="12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4.750 euro</a:t>
                      </a:r>
                    </a:p>
                  </a:txBody>
                  <a:tcPr anchor="ctr">
                    <a:lnL w="12700" cap="flat" cmpd="sng" algn="ctr">
                      <a:solidFill>
                        <a:srgbClr val="DAF0F6"/>
                      </a:solid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rgbClr val="DAF0F6"/>
                      </a:solidFill>
                      <a:prstDash val="solid"/>
                      <a:round/>
                      <a:headEnd type="none" w="med" len="med"/>
                      <a:tailEnd type="none" w="med" len="med"/>
                    </a:lnT>
                    <a:lnB w="12700" cap="flat" cmpd="sng" algn="ctr">
                      <a:no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2094738185"/>
                  </a:ext>
                </a:extLst>
              </a:tr>
            </a:tbl>
          </a:graphicData>
        </a:graphic>
      </p:graphicFrame>
      <p:pic>
        <p:nvPicPr>
          <p:cNvPr id="47" name="Picture 20">
            <a:extLst>
              <a:ext uri="{FF2B5EF4-FFF2-40B4-BE49-F238E27FC236}">
                <a16:creationId xmlns:a16="http://schemas.microsoft.com/office/drawing/2014/main" id="{09938EFC-C9B8-BC5C-2E32-463DD6E32C8F}"/>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6941047" y="3616055"/>
            <a:ext cx="842400" cy="842400"/>
          </a:xfrm>
          <a:prstGeom prst="rect">
            <a:avLst/>
          </a:prstGeom>
        </p:spPr>
      </p:pic>
      <p:sp>
        <p:nvSpPr>
          <p:cNvPr id="8" name="Rectangle 27">
            <a:extLst>
              <a:ext uri="{FF2B5EF4-FFF2-40B4-BE49-F238E27FC236}">
                <a16:creationId xmlns:a16="http://schemas.microsoft.com/office/drawing/2014/main" id="{65DC9145-62AA-05FE-F1A0-CA73FF8A3E0B}"/>
              </a:ext>
            </a:extLst>
          </p:cNvPr>
          <p:cNvSpPr/>
          <p:nvPr/>
        </p:nvSpPr>
        <p:spPr>
          <a:xfrm>
            <a:off x="1317229" y="3079875"/>
            <a:ext cx="4935207" cy="3173497"/>
          </a:xfrm>
          <a:prstGeom prst="rect">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lIns="216000" tIns="108000" rIns="216000" bIns="108000" rtlCol="0" anchor="ctr"/>
          <a:lstStyle/>
          <a:p>
            <a:pPr marL="0" marR="0" lvl="0" indent="0" algn="just" defTabSz="914400" rtl="0" eaLnBrk="1" fontAlgn="auto" latinLnBrk="0" hangingPunct="1">
              <a:lnSpc>
                <a:spcPct val="120000"/>
              </a:lnSpc>
              <a:spcBef>
                <a:spcPts val="300"/>
              </a:spcBef>
              <a:spcAft>
                <a:spcPts val="30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l </a:t>
            </a:r>
            <a:r>
              <a:rPr kumimoji="0" lang="it-IT" sz="1400"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mpenso </a:t>
            </a:r>
            <a:r>
              <a:rPr kumimoji="0" lang="it-IT"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er la valorizzazione del ruolo dei docenti tutor e del docente </a:t>
            </a:r>
            <a:r>
              <a:rPr lang="it-IT"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orientatore è </a:t>
            </a:r>
            <a:r>
              <a:rPr lang="it-IT" sz="1400" b="1"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forfettario </a:t>
            </a:r>
            <a:r>
              <a:rPr lang="it-IT"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e </a:t>
            </a:r>
            <a:r>
              <a:rPr kumimoji="0" lang="it-IT"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viene </a:t>
            </a:r>
            <a:r>
              <a:rPr kumimoji="0" lang="it-IT" sz="140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finito  da ciascuna istituzione scolastica</a:t>
            </a:r>
            <a:r>
              <a:rPr lang="it-IT"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a:t>
            </a:r>
            <a:r>
              <a:rPr kumimoji="0" lang="it-IT"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ediante la </a:t>
            </a:r>
            <a:r>
              <a:rPr kumimoji="0" lang="it-IT" sz="1400"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trattazione integrativa</a:t>
            </a:r>
            <a:r>
              <a:rPr kumimoji="0" lang="it-IT"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tenendo conto:</a:t>
            </a:r>
          </a:p>
          <a:p>
            <a:pPr marL="285750" marR="0" lvl="0" indent="-285750" algn="just" defTabSz="914400" rtl="0" eaLnBrk="1" fontAlgn="auto" latinLnBrk="0" hangingPunct="1">
              <a:lnSpc>
                <a:spcPct val="120000"/>
              </a:lnSpc>
              <a:spcBef>
                <a:spcPts val="300"/>
              </a:spcBef>
              <a:spcAft>
                <a:spcPts val="300"/>
              </a:spcAft>
              <a:buClrTx/>
              <a:buSzTx/>
              <a:buFont typeface="Wingdings" panose="05000000000000000000" pitchFamily="2" charset="2"/>
              <a:buChar char="q"/>
              <a:tabLst/>
              <a:defRPr/>
            </a:pPr>
            <a:r>
              <a:rPr kumimoji="0" lang="it-IT"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lle </a:t>
            </a:r>
            <a:r>
              <a:rPr kumimoji="0" lang="it-IT" sz="1400"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isorse finanziarie</a:t>
            </a:r>
            <a:r>
              <a:rPr kumimoji="0" lang="it-IT"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messe a disposizione;</a:t>
            </a:r>
          </a:p>
          <a:p>
            <a:pPr marL="285750" marR="0" lvl="0" indent="-285750" algn="just" defTabSz="914400" rtl="0" eaLnBrk="1" fontAlgn="auto" latinLnBrk="0" hangingPunct="1">
              <a:lnSpc>
                <a:spcPct val="120000"/>
              </a:lnSpc>
              <a:spcBef>
                <a:spcPts val="300"/>
              </a:spcBef>
              <a:spcAft>
                <a:spcPts val="300"/>
              </a:spcAft>
              <a:buClrTx/>
              <a:buSzTx/>
              <a:buFont typeface="Wingdings" panose="05000000000000000000" pitchFamily="2" charset="2"/>
              <a:buChar char="q"/>
              <a:tabLst/>
              <a:defRPr/>
            </a:pPr>
            <a:r>
              <a:rPr lang="it-IT"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Delle </a:t>
            </a:r>
            <a:r>
              <a:rPr kumimoji="0" lang="it-IT" sz="1400"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eculiarità organizzative </a:t>
            </a:r>
            <a:r>
              <a:rPr kumimoji="0" lang="it-IT"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 dello </a:t>
            </a:r>
            <a:r>
              <a:rPr kumimoji="0" lang="it-IT" sz="1400"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pecifico contesto </a:t>
            </a:r>
            <a:r>
              <a:rPr kumimoji="0" lang="it-IT"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i riferimento;</a:t>
            </a:r>
          </a:p>
          <a:p>
            <a:pPr marL="285750" marR="0" lvl="0" indent="-285750" algn="just" defTabSz="914400" rtl="0" eaLnBrk="1" fontAlgn="auto" latinLnBrk="0" hangingPunct="1">
              <a:lnSpc>
                <a:spcPct val="120000"/>
              </a:lnSpc>
              <a:spcBef>
                <a:spcPts val="300"/>
              </a:spcBef>
              <a:spcAft>
                <a:spcPts val="300"/>
              </a:spcAft>
              <a:buClrTx/>
              <a:buSzTx/>
              <a:buFont typeface="Wingdings" panose="05000000000000000000" pitchFamily="2" charset="2"/>
              <a:buChar char="q"/>
              <a:tabLst/>
              <a:defRPr/>
            </a:pPr>
            <a:r>
              <a:rPr lang="it-IT"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Dei </a:t>
            </a:r>
            <a:r>
              <a:rPr lang="it-IT" sz="1400" b="1"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limiti massimi e minimi</a:t>
            </a:r>
            <a:r>
              <a:rPr lang="it-IT"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individuati dal DM n. 63 del 5 aprile 2023, che sono </a:t>
            </a:r>
            <a:r>
              <a:rPr lang="it-IT" sz="1400" b="1"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nderogabili.</a:t>
            </a:r>
            <a:endParaRPr kumimoji="0" lang="it-IT" sz="1400"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48" name="Group 37">
            <a:extLst>
              <a:ext uri="{FF2B5EF4-FFF2-40B4-BE49-F238E27FC236}">
                <a16:creationId xmlns:a16="http://schemas.microsoft.com/office/drawing/2014/main" id="{10456462-B8D0-2C92-5F41-B5B0F498F963}"/>
              </a:ext>
            </a:extLst>
          </p:cNvPr>
          <p:cNvGrpSpPr>
            <a:grpSpLocks noChangeAspect="1"/>
          </p:cNvGrpSpPr>
          <p:nvPr/>
        </p:nvGrpSpPr>
        <p:grpSpPr bwMode="auto">
          <a:xfrm>
            <a:off x="964007" y="2831254"/>
            <a:ext cx="684000" cy="684001"/>
            <a:chOff x="2805" y="100"/>
            <a:chExt cx="701" cy="701"/>
          </a:xfrm>
        </p:grpSpPr>
        <p:sp>
          <p:nvSpPr>
            <p:cNvPr id="49" name="AutoShape 36">
              <a:extLst>
                <a:ext uri="{FF2B5EF4-FFF2-40B4-BE49-F238E27FC236}">
                  <a16:creationId xmlns:a16="http://schemas.microsoft.com/office/drawing/2014/main" id="{F11D0611-727A-96A1-3547-B7ED81E836DC}"/>
                </a:ext>
              </a:extLst>
            </p:cNvPr>
            <p:cNvSpPr>
              <a:spLocks noChangeAspect="1" noChangeArrowheads="1" noTextEdit="1"/>
            </p:cNvSpPr>
            <p:nvPr/>
          </p:nvSpPr>
          <p:spPr bwMode="auto">
            <a:xfrm>
              <a:off x="2805" y="100"/>
              <a:ext cx="701" cy="70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0" name="Freeform 38">
              <a:extLst>
                <a:ext uri="{FF2B5EF4-FFF2-40B4-BE49-F238E27FC236}">
                  <a16:creationId xmlns:a16="http://schemas.microsoft.com/office/drawing/2014/main" id="{09FABC32-10C0-067D-304A-EABE4C40CF3D}"/>
                </a:ext>
              </a:extLst>
            </p:cNvPr>
            <p:cNvSpPr>
              <a:spLocks/>
            </p:cNvSpPr>
            <p:nvPr/>
          </p:nvSpPr>
          <p:spPr bwMode="auto">
            <a:xfrm>
              <a:off x="2805" y="100"/>
              <a:ext cx="701" cy="701"/>
            </a:xfrm>
            <a:custGeom>
              <a:avLst/>
              <a:gdLst>
                <a:gd name="T0" fmla="*/ 351 w 701"/>
                <a:gd name="T1" fmla="*/ 0 h 701"/>
                <a:gd name="T2" fmla="*/ 422 w 701"/>
                <a:gd name="T3" fmla="*/ 7 h 701"/>
                <a:gd name="T4" fmla="*/ 487 w 701"/>
                <a:gd name="T5" fmla="*/ 27 h 701"/>
                <a:gd name="T6" fmla="*/ 546 w 701"/>
                <a:gd name="T7" fmla="*/ 60 h 701"/>
                <a:gd name="T8" fmla="*/ 599 w 701"/>
                <a:gd name="T9" fmla="*/ 104 h 701"/>
                <a:gd name="T10" fmla="*/ 641 w 701"/>
                <a:gd name="T11" fmla="*/ 155 h 701"/>
                <a:gd name="T12" fmla="*/ 674 w 701"/>
                <a:gd name="T13" fmla="*/ 215 h 701"/>
                <a:gd name="T14" fmla="*/ 694 w 701"/>
                <a:gd name="T15" fmla="*/ 281 h 701"/>
                <a:gd name="T16" fmla="*/ 701 w 701"/>
                <a:gd name="T17" fmla="*/ 351 h 701"/>
                <a:gd name="T18" fmla="*/ 699 w 701"/>
                <a:gd name="T19" fmla="*/ 387 h 701"/>
                <a:gd name="T20" fmla="*/ 685 w 701"/>
                <a:gd name="T21" fmla="*/ 455 h 701"/>
                <a:gd name="T22" fmla="*/ 659 w 701"/>
                <a:gd name="T23" fmla="*/ 518 h 701"/>
                <a:gd name="T24" fmla="*/ 621 w 701"/>
                <a:gd name="T25" fmla="*/ 573 h 701"/>
                <a:gd name="T26" fmla="*/ 573 w 701"/>
                <a:gd name="T27" fmla="*/ 621 h 701"/>
                <a:gd name="T28" fmla="*/ 517 w 701"/>
                <a:gd name="T29" fmla="*/ 659 h 701"/>
                <a:gd name="T30" fmla="*/ 455 w 701"/>
                <a:gd name="T31" fmla="*/ 685 h 701"/>
                <a:gd name="T32" fmla="*/ 387 w 701"/>
                <a:gd name="T33" fmla="*/ 699 h 701"/>
                <a:gd name="T34" fmla="*/ 351 w 701"/>
                <a:gd name="T35" fmla="*/ 701 h 701"/>
                <a:gd name="T36" fmla="*/ 279 w 701"/>
                <a:gd name="T37" fmla="*/ 694 h 701"/>
                <a:gd name="T38" fmla="*/ 214 w 701"/>
                <a:gd name="T39" fmla="*/ 674 h 701"/>
                <a:gd name="T40" fmla="*/ 155 w 701"/>
                <a:gd name="T41" fmla="*/ 641 h 701"/>
                <a:gd name="T42" fmla="*/ 102 w 701"/>
                <a:gd name="T43" fmla="*/ 599 h 701"/>
                <a:gd name="T44" fmla="*/ 60 w 701"/>
                <a:gd name="T45" fmla="*/ 546 h 701"/>
                <a:gd name="T46" fmla="*/ 27 w 701"/>
                <a:gd name="T47" fmla="*/ 487 h 701"/>
                <a:gd name="T48" fmla="*/ 7 w 701"/>
                <a:gd name="T49" fmla="*/ 422 h 701"/>
                <a:gd name="T50" fmla="*/ 0 w 701"/>
                <a:gd name="T51" fmla="*/ 351 h 701"/>
                <a:gd name="T52" fmla="*/ 2 w 701"/>
                <a:gd name="T53" fmla="*/ 316 h 701"/>
                <a:gd name="T54" fmla="*/ 16 w 701"/>
                <a:gd name="T55" fmla="*/ 246 h 701"/>
                <a:gd name="T56" fmla="*/ 42 w 701"/>
                <a:gd name="T57" fmla="*/ 184 h 701"/>
                <a:gd name="T58" fmla="*/ 80 w 701"/>
                <a:gd name="T59" fmla="*/ 128 h 701"/>
                <a:gd name="T60" fmla="*/ 128 w 701"/>
                <a:gd name="T61" fmla="*/ 80 h 701"/>
                <a:gd name="T62" fmla="*/ 184 w 701"/>
                <a:gd name="T63" fmla="*/ 42 h 701"/>
                <a:gd name="T64" fmla="*/ 246 w 701"/>
                <a:gd name="T65" fmla="*/ 16 h 701"/>
                <a:gd name="T66" fmla="*/ 314 w 701"/>
                <a:gd name="T67" fmla="*/ 2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1" h="701">
                  <a:moveTo>
                    <a:pt x="351" y="0"/>
                  </a:moveTo>
                  <a:lnTo>
                    <a:pt x="351" y="0"/>
                  </a:lnTo>
                  <a:lnTo>
                    <a:pt x="387" y="2"/>
                  </a:lnTo>
                  <a:lnTo>
                    <a:pt x="422" y="7"/>
                  </a:lnTo>
                  <a:lnTo>
                    <a:pt x="455" y="16"/>
                  </a:lnTo>
                  <a:lnTo>
                    <a:pt x="487" y="27"/>
                  </a:lnTo>
                  <a:lnTo>
                    <a:pt x="517" y="42"/>
                  </a:lnTo>
                  <a:lnTo>
                    <a:pt x="546" y="60"/>
                  </a:lnTo>
                  <a:lnTo>
                    <a:pt x="573" y="80"/>
                  </a:lnTo>
                  <a:lnTo>
                    <a:pt x="599" y="104"/>
                  </a:lnTo>
                  <a:lnTo>
                    <a:pt x="621" y="128"/>
                  </a:lnTo>
                  <a:lnTo>
                    <a:pt x="641" y="155"/>
                  </a:lnTo>
                  <a:lnTo>
                    <a:pt x="659" y="184"/>
                  </a:lnTo>
                  <a:lnTo>
                    <a:pt x="674" y="215"/>
                  </a:lnTo>
                  <a:lnTo>
                    <a:pt x="685" y="246"/>
                  </a:lnTo>
                  <a:lnTo>
                    <a:pt x="694" y="281"/>
                  </a:lnTo>
                  <a:lnTo>
                    <a:pt x="699" y="316"/>
                  </a:lnTo>
                  <a:lnTo>
                    <a:pt x="701" y="351"/>
                  </a:lnTo>
                  <a:lnTo>
                    <a:pt x="701" y="351"/>
                  </a:lnTo>
                  <a:lnTo>
                    <a:pt x="699" y="387"/>
                  </a:lnTo>
                  <a:lnTo>
                    <a:pt x="694" y="422"/>
                  </a:lnTo>
                  <a:lnTo>
                    <a:pt x="685" y="455"/>
                  </a:lnTo>
                  <a:lnTo>
                    <a:pt x="674" y="487"/>
                  </a:lnTo>
                  <a:lnTo>
                    <a:pt x="659" y="518"/>
                  </a:lnTo>
                  <a:lnTo>
                    <a:pt x="641" y="546"/>
                  </a:lnTo>
                  <a:lnTo>
                    <a:pt x="621" y="573"/>
                  </a:lnTo>
                  <a:lnTo>
                    <a:pt x="599" y="599"/>
                  </a:lnTo>
                  <a:lnTo>
                    <a:pt x="573" y="621"/>
                  </a:lnTo>
                  <a:lnTo>
                    <a:pt x="546" y="641"/>
                  </a:lnTo>
                  <a:lnTo>
                    <a:pt x="517" y="659"/>
                  </a:lnTo>
                  <a:lnTo>
                    <a:pt x="487" y="674"/>
                  </a:lnTo>
                  <a:lnTo>
                    <a:pt x="455" y="685"/>
                  </a:lnTo>
                  <a:lnTo>
                    <a:pt x="422" y="694"/>
                  </a:lnTo>
                  <a:lnTo>
                    <a:pt x="387" y="699"/>
                  </a:lnTo>
                  <a:lnTo>
                    <a:pt x="351" y="701"/>
                  </a:lnTo>
                  <a:lnTo>
                    <a:pt x="351" y="701"/>
                  </a:lnTo>
                  <a:lnTo>
                    <a:pt x="314" y="699"/>
                  </a:lnTo>
                  <a:lnTo>
                    <a:pt x="279" y="694"/>
                  </a:lnTo>
                  <a:lnTo>
                    <a:pt x="246" y="685"/>
                  </a:lnTo>
                  <a:lnTo>
                    <a:pt x="214" y="674"/>
                  </a:lnTo>
                  <a:lnTo>
                    <a:pt x="184" y="659"/>
                  </a:lnTo>
                  <a:lnTo>
                    <a:pt x="155" y="641"/>
                  </a:lnTo>
                  <a:lnTo>
                    <a:pt x="128" y="621"/>
                  </a:lnTo>
                  <a:lnTo>
                    <a:pt x="102" y="599"/>
                  </a:lnTo>
                  <a:lnTo>
                    <a:pt x="80" y="573"/>
                  </a:lnTo>
                  <a:lnTo>
                    <a:pt x="60" y="546"/>
                  </a:lnTo>
                  <a:lnTo>
                    <a:pt x="42" y="518"/>
                  </a:lnTo>
                  <a:lnTo>
                    <a:pt x="27" y="487"/>
                  </a:lnTo>
                  <a:lnTo>
                    <a:pt x="16" y="455"/>
                  </a:lnTo>
                  <a:lnTo>
                    <a:pt x="7" y="422"/>
                  </a:lnTo>
                  <a:lnTo>
                    <a:pt x="2" y="387"/>
                  </a:lnTo>
                  <a:lnTo>
                    <a:pt x="0" y="351"/>
                  </a:lnTo>
                  <a:lnTo>
                    <a:pt x="0" y="351"/>
                  </a:lnTo>
                  <a:lnTo>
                    <a:pt x="2" y="316"/>
                  </a:lnTo>
                  <a:lnTo>
                    <a:pt x="7" y="281"/>
                  </a:lnTo>
                  <a:lnTo>
                    <a:pt x="16" y="246"/>
                  </a:lnTo>
                  <a:lnTo>
                    <a:pt x="27" y="215"/>
                  </a:lnTo>
                  <a:lnTo>
                    <a:pt x="42" y="184"/>
                  </a:lnTo>
                  <a:lnTo>
                    <a:pt x="60" y="155"/>
                  </a:lnTo>
                  <a:lnTo>
                    <a:pt x="80" y="128"/>
                  </a:lnTo>
                  <a:lnTo>
                    <a:pt x="102" y="104"/>
                  </a:lnTo>
                  <a:lnTo>
                    <a:pt x="128" y="80"/>
                  </a:lnTo>
                  <a:lnTo>
                    <a:pt x="155" y="60"/>
                  </a:lnTo>
                  <a:lnTo>
                    <a:pt x="184" y="42"/>
                  </a:lnTo>
                  <a:lnTo>
                    <a:pt x="214" y="27"/>
                  </a:lnTo>
                  <a:lnTo>
                    <a:pt x="246" y="16"/>
                  </a:lnTo>
                  <a:lnTo>
                    <a:pt x="279" y="7"/>
                  </a:lnTo>
                  <a:lnTo>
                    <a:pt x="314" y="2"/>
                  </a:lnTo>
                  <a:lnTo>
                    <a:pt x="351" y="0"/>
                  </a:lnTo>
                  <a:close/>
                </a:path>
              </a:pathLst>
            </a:custGeom>
            <a:solidFill>
              <a:srgbClr val="109C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1" name="Freeform 39">
              <a:extLst>
                <a:ext uri="{FF2B5EF4-FFF2-40B4-BE49-F238E27FC236}">
                  <a16:creationId xmlns:a16="http://schemas.microsoft.com/office/drawing/2014/main" id="{651C2882-7CC4-40EE-6BAF-8030076D44C4}"/>
                </a:ext>
              </a:extLst>
            </p:cNvPr>
            <p:cNvSpPr>
              <a:spLocks/>
            </p:cNvSpPr>
            <p:nvPr/>
          </p:nvSpPr>
          <p:spPr bwMode="auto">
            <a:xfrm>
              <a:off x="2805" y="100"/>
              <a:ext cx="701" cy="701"/>
            </a:xfrm>
            <a:custGeom>
              <a:avLst/>
              <a:gdLst>
                <a:gd name="T0" fmla="*/ 351 w 701"/>
                <a:gd name="T1" fmla="*/ 0 h 701"/>
                <a:gd name="T2" fmla="*/ 422 w 701"/>
                <a:gd name="T3" fmla="*/ 7 h 701"/>
                <a:gd name="T4" fmla="*/ 487 w 701"/>
                <a:gd name="T5" fmla="*/ 27 h 701"/>
                <a:gd name="T6" fmla="*/ 546 w 701"/>
                <a:gd name="T7" fmla="*/ 60 h 701"/>
                <a:gd name="T8" fmla="*/ 599 w 701"/>
                <a:gd name="T9" fmla="*/ 104 h 701"/>
                <a:gd name="T10" fmla="*/ 641 w 701"/>
                <a:gd name="T11" fmla="*/ 155 h 701"/>
                <a:gd name="T12" fmla="*/ 674 w 701"/>
                <a:gd name="T13" fmla="*/ 215 h 701"/>
                <a:gd name="T14" fmla="*/ 694 w 701"/>
                <a:gd name="T15" fmla="*/ 281 h 701"/>
                <a:gd name="T16" fmla="*/ 701 w 701"/>
                <a:gd name="T17" fmla="*/ 351 h 701"/>
                <a:gd name="T18" fmla="*/ 699 w 701"/>
                <a:gd name="T19" fmla="*/ 387 h 701"/>
                <a:gd name="T20" fmla="*/ 685 w 701"/>
                <a:gd name="T21" fmla="*/ 455 h 701"/>
                <a:gd name="T22" fmla="*/ 659 w 701"/>
                <a:gd name="T23" fmla="*/ 518 h 701"/>
                <a:gd name="T24" fmla="*/ 621 w 701"/>
                <a:gd name="T25" fmla="*/ 573 h 701"/>
                <a:gd name="T26" fmla="*/ 573 w 701"/>
                <a:gd name="T27" fmla="*/ 621 h 701"/>
                <a:gd name="T28" fmla="*/ 517 w 701"/>
                <a:gd name="T29" fmla="*/ 659 h 701"/>
                <a:gd name="T30" fmla="*/ 455 w 701"/>
                <a:gd name="T31" fmla="*/ 685 h 701"/>
                <a:gd name="T32" fmla="*/ 387 w 701"/>
                <a:gd name="T33" fmla="*/ 699 h 701"/>
                <a:gd name="T34" fmla="*/ 351 w 701"/>
                <a:gd name="T35" fmla="*/ 701 h 701"/>
                <a:gd name="T36" fmla="*/ 279 w 701"/>
                <a:gd name="T37" fmla="*/ 694 h 701"/>
                <a:gd name="T38" fmla="*/ 214 w 701"/>
                <a:gd name="T39" fmla="*/ 674 h 701"/>
                <a:gd name="T40" fmla="*/ 155 w 701"/>
                <a:gd name="T41" fmla="*/ 641 h 701"/>
                <a:gd name="T42" fmla="*/ 102 w 701"/>
                <a:gd name="T43" fmla="*/ 599 h 701"/>
                <a:gd name="T44" fmla="*/ 60 w 701"/>
                <a:gd name="T45" fmla="*/ 546 h 701"/>
                <a:gd name="T46" fmla="*/ 27 w 701"/>
                <a:gd name="T47" fmla="*/ 487 h 701"/>
                <a:gd name="T48" fmla="*/ 7 w 701"/>
                <a:gd name="T49" fmla="*/ 422 h 701"/>
                <a:gd name="T50" fmla="*/ 0 w 701"/>
                <a:gd name="T51" fmla="*/ 351 h 701"/>
                <a:gd name="T52" fmla="*/ 2 w 701"/>
                <a:gd name="T53" fmla="*/ 316 h 701"/>
                <a:gd name="T54" fmla="*/ 16 w 701"/>
                <a:gd name="T55" fmla="*/ 246 h 701"/>
                <a:gd name="T56" fmla="*/ 42 w 701"/>
                <a:gd name="T57" fmla="*/ 184 h 701"/>
                <a:gd name="T58" fmla="*/ 80 w 701"/>
                <a:gd name="T59" fmla="*/ 128 h 701"/>
                <a:gd name="T60" fmla="*/ 128 w 701"/>
                <a:gd name="T61" fmla="*/ 80 h 701"/>
                <a:gd name="T62" fmla="*/ 184 w 701"/>
                <a:gd name="T63" fmla="*/ 42 h 701"/>
                <a:gd name="T64" fmla="*/ 246 w 701"/>
                <a:gd name="T65" fmla="*/ 16 h 701"/>
                <a:gd name="T66" fmla="*/ 314 w 701"/>
                <a:gd name="T67" fmla="*/ 2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701" h="701">
                  <a:moveTo>
                    <a:pt x="351" y="0"/>
                  </a:moveTo>
                  <a:lnTo>
                    <a:pt x="351" y="0"/>
                  </a:lnTo>
                  <a:lnTo>
                    <a:pt x="387" y="2"/>
                  </a:lnTo>
                  <a:lnTo>
                    <a:pt x="422" y="7"/>
                  </a:lnTo>
                  <a:lnTo>
                    <a:pt x="455" y="16"/>
                  </a:lnTo>
                  <a:lnTo>
                    <a:pt x="487" y="27"/>
                  </a:lnTo>
                  <a:lnTo>
                    <a:pt x="517" y="42"/>
                  </a:lnTo>
                  <a:lnTo>
                    <a:pt x="546" y="60"/>
                  </a:lnTo>
                  <a:lnTo>
                    <a:pt x="573" y="80"/>
                  </a:lnTo>
                  <a:lnTo>
                    <a:pt x="599" y="104"/>
                  </a:lnTo>
                  <a:lnTo>
                    <a:pt x="621" y="128"/>
                  </a:lnTo>
                  <a:lnTo>
                    <a:pt x="641" y="155"/>
                  </a:lnTo>
                  <a:lnTo>
                    <a:pt x="659" y="184"/>
                  </a:lnTo>
                  <a:lnTo>
                    <a:pt x="674" y="215"/>
                  </a:lnTo>
                  <a:lnTo>
                    <a:pt x="685" y="246"/>
                  </a:lnTo>
                  <a:lnTo>
                    <a:pt x="694" y="281"/>
                  </a:lnTo>
                  <a:lnTo>
                    <a:pt x="699" y="316"/>
                  </a:lnTo>
                  <a:lnTo>
                    <a:pt x="701" y="351"/>
                  </a:lnTo>
                  <a:lnTo>
                    <a:pt x="701" y="351"/>
                  </a:lnTo>
                  <a:lnTo>
                    <a:pt x="699" y="387"/>
                  </a:lnTo>
                  <a:lnTo>
                    <a:pt x="694" y="422"/>
                  </a:lnTo>
                  <a:lnTo>
                    <a:pt x="685" y="455"/>
                  </a:lnTo>
                  <a:lnTo>
                    <a:pt x="674" y="487"/>
                  </a:lnTo>
                  <a:lnTo>
                    <a:pt x="659" y="518"/>
                  </a:lnTo>
                  <a:lnTo>
                    <a:pt x="641" y="546"/>
                  </a:lnTo>
                  <a:lnTo>
                    <a:pt x="621" y="573"/>
                  </a:lnTo>
                  <a:lnTo>
                    <a:pt x="599" y="599"/>
                  </a:lnTo>
                  <a:lnTo>
                    <a:pt x="573" y="621"/>
                  </a:lnTo>
                  <a:lnTo>
                    <a:pt x="546" y="641"/>
                  </a:lnTo>
                  <a:lnTo>
                    <a:pt x="517" y="659"/>
                  </a:lnTo>
                  <a:lnTo>
                    <a:pt x="487" y="674"/>
                  </a:lnTo>
                  <a:lnTo>
                    <a:pt x="455" y="685"/>
                  </a:lnTo>
                  <a:lnTo>
                    <a:pt x="422" y="694"/>
                  </a:lnTo>
                  <a:lnTo>
                    <a:pt x="387" y="699"/>
                  </a:lnTo>
                  <a:lnTo>
                    <a:pt x="351" y="701"/>
                  </a:lnTo>
                  <a:lnTo>
                    <a:pt x="351" y="701"/>
                  </a:lnTo>
                  <a:lnTo>
                    <a:pt x="314" y="699"/>
                  </a:lnTo>
                  <a:lnTo>
                    <a:pt x="279" y="694"/>
                  </a:lnTo>
                  <a:lnTo>
                    <a:pt x="246" y="685"/>
                  </a:lnTo>
                  <a:lnTo>
                    <a:pt x="214" y="674"/>
                  </a:lnTo>
                  <a:lnTo>
                    <a:pt x="184" y="659"/>
                  </a:lnTo>
                  <a:lnTo>
                    <a:pt x="155" y="641"/>
                  </a:lnTo>
                  <a:lnTo>
                    <a:pt x="128" y="621"/>
                  </a:lnTo>
                  <a:lnTo>
                    <a:pt x="102" y="599"/>
                  </a:lnTo>
                  <a:lnTo>
                    <a:pt x="80" y="573"/>
                  </a:lnTo>
                  <a:lnTo>
                    <a:pt x="60" y="546"/>
                  </a:lnTo>
                  <a:lnTo>
                    <a:pt x="42" y="518"/>
                  </a:lnTo>
                  <a:lnTo>
                    <a:pt x="27" y="487"/>
                  </a:lnTo>
                  <a:lnTo>
                    <a:pt x="16" y="455"/>
                  </a:lnTo>
                  <a:lnTo>
                    <a:pt x="7" y="422"/>
                  </a:lnTo>
                  <a:lnTo>
                    <a:pt x="2" y="387"/>
                  </a:lnTo>
                  <a:lnTo>
                    <a:pt x="0" y="351"/>
                  </a:lnTo>
                  <a:lnTo>
                    <a:pt x="0" y="351"/>
                  </a:lnTo>
                  <a:lnTo>
                    <a:pt x="2" y="316"/>
                  </a:lnTo>
                  <a:lnTo>
                    <a:pt x="7" y="281"/>
                  </a:lnTo>
                  <a:lnTo>
                    <a:pt x="16" y="246"/>
                  </a:lnTo>
                  <a:lnTo>
                    <a:pt x="27" y="215"/>
                  </a:lnTo>
                  <a:lnTo>
                    <a:pt x="42" y="184"/>
                  </a:lnTo>
                  <a:lnTo>
                    <a:pt x="60" y="155"/>
                  </a:lnTo>
                  <a:lnTo>
                    <a:pt x="80" y="128"/>
                  </a:lnTo>
                  <a:lnTo>
                    <a:pt x="102" y="104"/>
                  </a:lnTo>
                  <a:lnTo>
                    <a:pt x="128" y="80"/>
                  </a:lnTo>
                  <a:lnTo>
                    <a:pt x="155" y="60"/>
                  </a:lnTo>
                  <a:lnTo>
                    <a:pt x="184" y="42"/>
                  </a:lnTo>
                  <a:lnTo>
                    <a:pt x="214" y="27"/>
                  </a:lnTo>
                  <a:lnTo>
                    <a:pt x="246" y="16"/>
                  </a:lnTo>
                  <a:lnTo>
                    <a:pt x="279" y="7"/>
                  </a:lnTo>
                  <a:lnTo>
                    <a:pt x="314" y="2"/>
                  </a:lnTo>
                  <a:lnTo>
                    <a:pt x="35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2" name="Freeform 40">
              <a:extLst>
                <a:ext uri="{FF2B5EF4-FFF2-40B4-BE49-F238E27FC236}">
                  <a16:creationId xmlns:a16="http://schemas.microsoft.com/office/drawing/2014/main" id="{6357D247-ADB8-FF4D-CB34-90186C997D8A}"/>
                </a:ext>
              </a:extLst>
            </p:cNvPr>
            <p:cNvSpPr>
              <a:spLocks/>
            </p:cNvSpPr>
            <p:nvPr/>
          </p:nvSpPr>
          <p:spPr bwMode="auto">
            <a:xfrm>
              <a:off x="2999" y="303"/>
              <a:ext cx="505" cy="493"/>
            </a:xfrm>
            <a:custGeom>
              <a:avLst/>
              <a:gdLst>
                <a:gd name="T0" fmla="*/ 321 w 505"/>
                <a:gd name="T1" fmla="*/ 0 h 493"/>
                <a:gd name="T2" fmla="*/ 0 w 505"/>
                <a:gd name="T3" fmla="*/ 18 h 493"/>
                <a:gd name="T4" fmla="*/ 29 w 505"/>
                <a:gd name="T5" fmla="*/ 47 h 493"/>
                <a:gd name="T6" fmla="*/ 29 w 505"/>
                <a:gd name="T7" fmla="*/ 219 h 493"/>
                <a:gd name="T8" fmla="*/ 0 w 505"/>
                <a:gd name="T9" fmla="*/ 231 h 493"/>
                <a:gd name="T10" fmla="*/ 96 w 505"/>
                <a:gd name="T11" fmla="*/ 326 h 493"/>
                <a:gd name="T12" fmla="*/ 73 w 505"/>
                <a:gd name="T13" fmla="*/ 341 h 493"/>
                <a:gd name="T14" fmla="*/ 222 w 505"/>
                <a:gd name="T15" fmla="*/ 493 h 493"/>
                <a:gd name="T16" fmla="*/ 222 w 505"/>
                <a:gd name="T17" fmla="*/ 493 h 493"/>
                <a:gd name="T18" fmla="*/ 251 w 505"/>
                <a:gd name="T19" fmla="*/ 485 h 493"/>
                <a:gd name="T20" fmla="*/ 277 w 505"/>
                <a:gd name="T21" fmla="*/ 476 h 493"/>
                <a:gd name="T22" fmla="*/ 303 w 505"/>
                <a:gd name="T23" fmla="*/ 465 h 493"/>
                <a:gd name="T24" fmla="*/ 328 w 505"/>
                <a:gd name="T25" fmla="*/ 452 h 493"/>
                <a:gd name="T26" fmla="*/ 352 w 505"/>
                <a:gd name="T27" fmla="*/ 438 h 493"/>
                <a:gd name="T28" fmla="*/ 374 w 505"/>
                <a:gd name="T29" fmla="*/ 423 h 493"/>
                <a:gd name="T30" fmla="*/ 396 w 505"/>
                <a:gd name="T31" fmla="*/ 405 h 493"/>
                <a:gd name="T32" fmla="*/ 414 w 505"/>
                <a:gd name="T33" fmla="*/ 385 h 493"/>
                <a:gd name="T34" fmla="*/ 432 w 505"/>
                <a:gd name="T35" fmla="*/ 365 h 493"/>
                <a:gd name="T36" fmla="*/ 449 w 505"/>
                <a:gd name="T37" fmla="*/ 341 h 493"/>
                <a:gd name="T38" fmla="*/ 463 w 505"/>
                <a:gd name="T39" fmla="*/ 317 h 493"/>
                <a:gd name="T40" fmla="*/ 476 w 505"/>
                <a:gd name="T41" fmla="*/ 294 h 493"/>
                <a:gd name="T42" fmla="*/ 485 w 505"/>
                <a:gd name="T43" fmla="*/ 268 h 493"/>
                <a:gd name="T44" fmla="*/ 494 w 505"/>
                <a:gd name="T45" fmla="*/ 241 h 493"/>
                <a:gd name="T46" fmla="*/ 502 w 505"/>
                <a:gd name="T47" fmla="*/ 213 h 493"/>
                <a:gd name="T48" fmla="*/ 505 w 505"/>
                <a:gd name="T49" fmla="*/ 184 h 493"/>
                <a:gd name="T50" fmla="*/ 321 w 505"/>
                <a:gd name="T51"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5" h="493">
                  <a:moveTo>
                    <a:pt x="321" y="0"/>
                  </a:moveTo>
                  <a:lnTo>
                    <a:pt x="0" y="18"/>
                  </a:lnTo>
                  <a:lnTo>
                    <a:pt x="29" y="47"/>
                  </a:lnTo>
                  <a:lnTo>
                    <a:pt x="29" y="219"/>
                  </a:lnTo>
                  <a:lnTo>
                    <a:pt x="0" y="231"/>
                  </a:lnTo>
                  <a:lnTo>
                    <a:pt x="96" y="326"/>
                  </a:lnTo>
                  <a:lnTo>
                    <a:pt x="73" y="341"/>
                  </a:lnTo>
                  <a:lnTo>
                    <a:pt x="222" y="493"/>
                  </a:lnTo>
                  <a:lnTo>
                    <a:pt x="222" y="493"/>
                  </a:lnTo>
                  <a:lnTo>
                    <a:pt x="251" y="485"/>
                  </a:lnTo>
                  <a:lnTo>
                    <a:pt x="277" y="476"/>
                  </a:lnTo>
                  <a:lnTo>
                    <a:pt x="303" y="465"/>
                  </a:lnTo>
                  <a:lnTo>
                    <a:pt x="328" y="452"/>
                  </a:lnTo>
                  <a:lnTo>
                    <a:pt x="352" y="438"/>
                  </a:lnTo>
                  <a:lnTo>
                    <a:pt x="374" y="423"/>
                  </a:lnTo>
                  <a:lnTo>
                    <a:pt x="396" y="405"/>
                  </a:lnTo>
                  <a:lnTo>
                    <a:pt x="414" y="385"/>
                  </a:lnTo>
                  <a:lnTo>
                    <a:pt x="432" y="365"/>
                  </a:lnTo>
                  <a:lnTo>
                    <a:pt x="449" y="341"/>
                  </a:lnTo>
                  <a:lnTo>
                    <a:pt x="463" y="317"/>
                  </a:lnTo>
                  <a:lnTo>
                    <a:pt x="476" y="294"/>
                  </a:lnTo>
                  <a:lnTo>
                    <a:pt x="485" y="268"/>
                  </a:lnTo>
                  <a:lnTo>
                    <a:pt x="494" y="241"/>
                  </a:lnTo>
                  <a:lnTo>
                    <a:pt x="502" y="213"/>
                  </a:lnTo>
                  <a:lnTo>
                    <a:pt x="505" y="184"/>
                  </a:lnTo>
                  <a:lnTo>
                    <a:pt x="321" y="0"/>
                  </a:lnTo>
                  <a:close/>
                </a:path>
              </a:pathLst>
            </a:custGeom>
            <a:solidFill>
              <a:srgbClr val="117F7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3" name="Freeform 41">
              <a:extLst>
                <a:ext uri="{FF2B5EF4-FFF2-40B4-BE49-F238E27FC236}">
                  <a16:creationId xmlns:a16="http://schemas.microsoft.com/office/drawing/2014/main" id="{1B059E1D-3165-DB54-AF4B-989CDF715783}"/>
                </a:ext>
              </a:extLst>
            </p:cNvPr>
            <p:cNvSpPr>
              <a:spLocks/>
            </p:cNvSpPr>
            <p:nvPr/>
          </p:nvSpPr>
          <p:spPr bwMode="auto">
            <a:xfrm>
              <a:off x="2999" y="303"/>
              <a:ext cx="505" cy="493"/>
            </a:xfrm>
            <a:custGeom>
              <a:avLst/>
              <a:gdLst>
                <a:gd name="T0" fmla="*/ 321 w 505"/>
                <a:gd name="T1" fmla="*/ 0 h 493"/>
                <a:gd name="T2" fmla="*/ 0 w 505"/>
                <a:gd name="T3" fmla="*/ 18 h 493"/>
                <a:gd name="T4" fmla="*/ 29 w 505"/>
                <a:gd name="T5" fmla="*/ 47 h 493"/>
                <a:gd name="T6" fmla="*/ 29 w 505"/>
                <a:gd name="T7" fmla="*/ 219 h 493"/>
                <a:gd name="T8" fmla="*/ 0 w 505"/>
                <a:gd name="T9" fmla="*/ 231 h 493"/>
                <a:gd name="T10" fmla="*/ 96 w 505"/>
                <a:gd name="T11" fmla="*/ 326 h 493"/>
                <a:gd name="T12" fmla="*/ 73 w 505"/>
                <a:gd name="T13" fmla="*/ 341 h 493"/>
                <a:gd name="T14" fmla="*/ 222 w 505"/>
                <a:gd name="T15" fmla="*/ 493 h 493"/>
                <a:gd name="T16" fmla="*/ 222 w 505"/>
                <a:gd name="T17" fmla="*/ 493 h 493"/>
                <a:gd name="T18" fmla="*/ 251 w 505"/>
                <a:gd name="T19" fmla="*/ 485 h 493"/>
                <a:gd name="T20" fmla="*/ 277 w 505"/>
                <a:gd name="T21" fmla="*/ 476 h 493"/>
                <a:gd name="T22" fmla="*/ 303 w 505"/>
                <a:gd name="T23" fmla="*/ 465 h 493"/>
                <a:gd name="T24" fmla="*/ 328 w 505"/>
                <a:gd name="T25" fmla="*/ 452 h 493"/>
                <a:gd name="T26" fmla="*/ 352 w 505"/>
                <a:gd name="T27" fmla="*/ 438 h 493"/>
                <a:gd name="T28" fmla="*/ 374 w 505"/>
                <a:gd name="T29" fmla="*/ 423 h 493"/>
                <a:gd name="T30" fmla="*/ 396 w 505"/>
                <a:gd name="T31" fmla="*/ 405 h 493"/>
                <a:gd name="T32" fmla="*/ 414 w 505"/>
                <a:gd name="T33" fmla="*/ 385 h 493"/>
                <a:gd name="T34" fmla="*/ 432 w 505"/>
                <a:gd name="T35" fmla="*/ 365 h 493"/>
                <a:gd name="T36" fmla="*/ 449 w 505"/>
                <a:gd name="T37" fmla="*/ 341 h 493"/>
                <a:gd name="T38" fmla="*/ 463 w 505"/>
                <a:gd name="T39" fmla="*/ 317 h 493"/>
                <a:gd name="T40" fmla="*/ 476 w 505"/>
                <a:gd name="T41" fmla="*/ 294 h 493"/>
                <a:gd name="T42" fmla="*/ 485 w 505"/>
                <a:gd name="T43" fmla="*/ 268 h 493"/>
                <a:gd name="T44" fmla="*/ 494 w 505"/>
                <a:gd name="T45" fmla="*/ 241 h 493"/>
                <a:gd name="T46" fmla="*/ 502 w 505"/>
                <a:gd name="T47" fmla="*/ 213 h 493"/>
                <a:gd name="T48" fmla="*/ 505 w 505"/>
                <a:gd name="T49" fmla="*/ 184 h 493"/>
                <a:gd name="T50" fmla="*/ 321 w 505"/>
                <a:gd name="T51" fmla="*/ 0 h 4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505" h="493">
                  <a:moveTo>
                    <a:pt x="321" y="0"/>
                  </a:moveTo>
                  <a:lnTo>
                    <a:pt x="0" y="18"/>
                  </a:lnTo>
                  <a:lnTo>
                    <a:pt x="29" y="47"/>
                  </a:lnTo>
                  <a:lnTo>
                    <a:pt x="29" y="219"/>
                  </a:lnTo>
                  <a:lnTo>
                    <a:pt x="0" y="231"/>
                  </a:lnTo>
                  <a:lnTo>
                    <a:pt x="96" y="326"/>
                  </a:lnTo>
                  <a:lnTo>
                    <a:pt x="73" y="341"/>
                  </a:lnTo>
                  <a:lnTo>
                    <a:pt x="222" y="493"/>
                  </a:lnTo>
                  <a:lnTo>
                    <a:pt x="222" y="493"/>
                  </a:lnTo>
                  <a:lnTo>
                    <a:pt x="251" y="485"/>
                  </a:lnTo>
                  <a:lnTo>
                    <a:pt x="277" y="476"/>
                  </a:lnTo>
                  <a:lnTo>
                    <a:pt x="303" y="465"/>
                  </a:lnTo>
                  <a:lnTo>
                    <a:pt x="328" y="452"/>
                  </a:lnTo>
                  <a:lnTo>
                    <a:pt x="352" y="438"/>
                  </a:lnTo>
                  <a:lnTo>
                    <a:pt x="374" y="423"/>
                  </a:lnTo>
                  <a:lnTo>
                    <a:pt x="396" y="405"/>
                  </a:lnTo>
                  <a:lnTo>
                    <a:pt x="414" y="385"/>
                  </a:lnTo>
                  <a:lnTo>
                    <a:pt x="432" y="365"/>
                  </a:lnTo>
                  <a:lnTo>
                    <a:pt x="449" y="341"/>
                  </a:lnTo>
                  <a:lnTo>
                    <a:pt x="463" y="317"/>
                  </a:lnTo>
                  <a:lnTo>
                    <a:pt x="476" y="294"/>
                  </a:lnTo>
                  <a:lnTo>
                    <a:pt x="485" y="268"/>
                  </a:lnTo>
                  <a:lnTo>
                    <a:pt x="494" y="241"/>
                  </a:lnTo>
                  <a:lnTo>
                    <a:pt x="502" y="213"/>
                  </a:lnTo>
                  <a:lnTo>
                    <a:pt x="505" y="184"/>
                  </a:lnTo>
                  <a:lnTo>
                    <a:pt x="32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Rectangle 42">
              <a:extLst>
                <a:ext uri="{FF2B5EF4-FFF2-40B4-BE49-F238E27FC236}">
                  <a16:creationId xmlns:a16="http://schemas.microsoft.com/office/drawing/2014/main" id="{FB641B72-62E4-415C-B2F4-6333AE87A78F}"/>
                </a:ext>
              </a:extLst>
            </p:cNvPr>
            <p:cNvSpPr>
              <a:spLocks noChangeArrowheads="1"/>
            </p:cNvSpPr>
            <p:nvPr/>
          </p:nvSpPr>
          <p:spPr bwMode="auto">
            <a:xfrm>
              <a:off x="3152" y="211"/>
              <a:ext cx="16" cy="389"/>
            </a:xfrm>
            <a:prstGeom prst="rect">
              <a:avLst/>
            </a:prstGeom>
            <a:solidFill>
              <a:srgbClr val="DFA148"/>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43">
              <a:extLst>
                <a:ext uri="{FF2B5EF4-FFF2-40B4-BE49-F238E27FC236}">
                  <a16:creationId xmlns:a16="http://schemas.microsoft.com/office/drawing/2014/main" id="{EEF5C62C-DBAE-1622-8B37-1AD27B149F85}"/>
                </a:ext>
              </a:extLst>
            </p:cNvPr>
            <p:cNvSpPr>
              <a:spLocks/>
            </p:cNvSpPr>
            <p:nvPr/>
          </p:nvSpPr>
          <p:spPr bwMode="auto">
            <a:xfrm>
              <a:off x="3009" y="211"/>
              <a:ext cx="302" cy="97"/>
            </a:xfrm>
            <a:custGeom>
              <a:avLst/>
              <a:gdLst>
                <a:gd name="T0" fmla="*/ 0 w 302"/>
                <a:gd name="T1" fmla="*/ 97 h 97"/>
                <a:gd name="T2" fmla="*/ 0 w 302"/>
                <a:gd name="T3" fmla="*/ 97 h 97"/>
                <a:gd name="T4" fmla="*/ 0 w 302"/>
                <a:gd name="T5" fmla="*/ 95 h 97"/>
                <a:gd name="T6" fmla="*/ 150 w 302"/>
                <a:gd name="T7" fmla="*/ 0 h 97"/>
                <a:gd name="T8" fmla="*/ 152 w 302"/>
                <a:gd name="T9" fmla="*/ 0 h 97"/>
                <a:gd name="T10" fmla="*/ 302 w 302"/>
                <a:gd name="T11" fmla="*/ 95 h 97"/>
                <a:gd name="T12" fmla="*/ 302 w 302"/>
                <a:gd name="T13" fmla="*/ 97 h 97"/>
                <a:gd name="T14" fmla="*/ 302 w 302"/>
                <a:gd name="T15" fmla="*/ 97 h 97"/>
                <a:gd name="T16" fmla="*/ 300 w 302"/>
                <a:gd name="T17" fmla="*/ 97 h 97"/>
                <a:gd name="T18" fmla="*/ 150 w 302"/>
                <a:gd name="T19" fmla="*/ 4 h 97"/>
                <a:gd name="T20" fmla="*/ 2 w 302"/>
                <a:gd name="T21" fmla="*/ 97 h 97"/>
                <a:gd name="T22" fmla="*/ 0 w 302"/>
                <a:gd name="T23" fmla="*/ 97 h 97"/>
                <a:gd name="T24" fmla="*/ 0 w 302"/>
                <a:gd name="T25" fmla="*/ 97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302" h="97">
                  <a:moveTo>
                    <a:pt x="0" y="97"/>
                  </a:moveTo>
                  <a:lnTo>
                    <a:pt x="0" y="97"/>
                  </a:lnTo>
                  <a:lnTo>
                    <a:pt x="0" y="95"/>
                  </a:lnTo>
                  <a:lnTo>
                    <a:pt x="150" y="0"/>
                  </a:lnTo>
                  <a:lnTo>
                    <a:pt x="152" y="0"/>
                  </a:lnTo>
                  <a:lnTo>
                    <a:pt x="302" y="95"/>
                  </a:lnTo>
                  <a:lnTo>
                    <a:pt x="302" y="97"/>
                  </a:lnTo>
                  <a:lnTo>
                    <a:pt x="302" y="97"/>
                  </a:lnTo>
                  <a:lnTo>
                    <a:pt x="300" y="97"/>
                  </a:lnTo>
                  <a:lnTo>
                    <a:pt x="150" y="4"/>
                  </a:lnTo>
                  <a:lnTo>
                    <a:pt x="2" y="97"/>
                  </a:lnTo>
                  <a:lnTo>
                    <a:pt x="0" y="97"/>
                  </a:lnTo>
                  <a:lnTo>
                    <a:pt x="0" y="97"/>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44">
              <a:extLst>
                <a:ext uri="{FF2B5EF4-FFF2-40B4-BE49-F238E27FC236}">
                  <a16:creationId xmlns:a16="http://schemas.microsoft.com/office/drawing/2014/main" id="{7AFC3D88-4939-2A45-D264-FEC56D8327FA}"/>
                </a:ext>
              </a:extLst>
            </p:cNvPr>
            <p:cNvSpPr>
              <a:spLocks/>
            </p:cNvSpPr>
            <p:nvPr/>
          </p:nvSpPr>
          <p:spPr bwMode="auto">
            <a:xfrm>
              <a:off x="3072" y="600"/>
              <a:ext cx="175" cy="48"/>
            </a:xfrm>
            <a:custGeom>
              <a:avLst/>
              <a:gdLst>
                <a:gd name="T0" fmla="*/ 87 w 175"/>
                <a:gd name="T1" fmla="*/ 48 h 48"/>
                <a:gd name="T2" fmla="*/ 87 w 175"/>
                <a:gd name="T3" fmla="*/ 48 h 48"/>
                <a:gd name="T4" fmla="*/ 133 w 175"/>
                <a:gd name="T5" fmla="*/ 48 h 48"/>
                <a:gd name="T6" fmla="*/ 175 w 175"/>
                <a:gd name="T7" fmla="*/ 44 h 48"/>
                <a:gd name="T8" fmla="*/ 175 w 175"/>
                <a:gd name="T9" fmla="*/ 44 h 48"/>
                <a:gd name="T10" fmla="*/ 171 w 175"/>
                <a:gd name="T11" fmla="*/ 37 h 48"/>
                <a:gd name="T12" fmla="*/ 166 w 175"/>
                <a:gd name="T13" fmla="*/ 28 h 48"/>
                <a:gd name="T14" fmla="*/ 157 w 175"/>
                <a:gd name="T15" fmla="*/ 20 h 48"/>
                <a:gd name="T16" fmla="*/ 146 w 175"/>
                <a:gd name="T17" fmla="*/ 13 h 48"/>
                <a:gd name="T18" fmla="*/ 133 w 175"/>
                <a:gd name="T19" fmla="*/ 7 h 48"/>
                <a:gd name="T20" fmla="*/ 120 w 175"/>
                <a:gd name="T21" fmla="*/ 4 h 48"/>
                <a:gd name="T22" fmla="*/ 104 w 175"/>
                <a:gd name="T23" fmla="*/ 2 h 48"/>
                <a:gd name="T24" fmla="*/ 87 w 175"/>
                <a:gd name="T25" fmla="*/ 0 h 48"/>
                <a:gd name="T26" fmla="*/ 87 w 175"/>
                <a:gd name="T27" fmla="*/ 0 h 48"/>
                <a:gd name="T28" fmla="*/ 71 w 175"/>
                <a:gd name="T29" fmla="*/ 2 h 48"/>
                <a:gd name="T30" fmla="*/ 56 w 175"/>
                <a:gd name="T31" fmla="*/ 4 h 48"/>
                <a:gd name="T32" fmla="*/ 42 w 175"/>
                <a:gd name="T33" fmla="*/ 7 h 48"/>
                <a:gd name="T34" fmla="*/ 31 w 175"/>
                <a:gd name="T35" fmla="*/ 13 h 48"/>
                <a:gd name="T36" fmla="*/ 20 w 175"/>
                <a:gd name="T37" fmla="*/ 20 h 48"/>
                <a:gd name="T38" fmla="*/ 10 w 175"/>
                <a:gd name="T39" fmla="*/ 28 h 48"/>
                <a:gd name="T40" fmla="*/ 3 w 175"/>
                <a:gd name="T41" fmla="*/ 37 h 48"/>
                <a:gd name="T42" fmla="*/ 0 w 175"/>
                <a:gd name="T43" fmla="*/ 44 h 48"/>
                <a:gd name="T44" fmla="*/ 0 w 175"/>
                <a:gd name="T45" fmla="*/ 44 h 48"/>
                <a:gd name="T46" fmla="*/ 43 w 175"/>
                <a:gd name="T47" fmla="*/ 48 h 48"/>
                <a:gd name="T48" fmla="*/ 87 w 175"/>
                <a:gd name="T49" fmla="*/ 48 h 48"/>
                <a:gd name="T50" fmla="*/ 87 w 175"/>
                <a:gd name="T51" fmla="*/ 48 h 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175" h="48">
                  <a:moveTo>
                    <a:pt x="87" y="48"/>
                  </a:moveTo>
                  <a:lnTo>
                    <a:pt x="87" y="48"/>
                  </a:lnTo>
                  <a:lnTo>
                    <a:pt x="133" y="48"/>
                  </a:lnTo>
                  <a:lnTo>
                    <a:pt x="175" y="44"/>
                  </a:lnTo>
                  <a:lnTo>
                    <a:pt x="175" y="44"/>
                  </a:lnTo>
                  <a:lnTo>
                    <a:pt x="171" y="37"/>
                  </a:lnTo>
                  <a:lnTo>
                    <a:pt x="166" y="28"/>
                  </a:lnTo>
                  <a:lnTo>
                    <a:pt x="157" y="20"/>
                  </a:lnTo>
                  <a:lnTo>
                    <a:pt x="146" y="13"/>
                  </a:lnTo>
                  <a:lnTo>
                    <a:pt x="133" y="7"/>
                  </a:lnTo>
                  <a:lnTo>
                    <a:pt x="120" y="4"/>
                  </a:lnTo>
                  <a:lnTo>
                    <a:pt x="104" y="2"/>
                  </a:lnTo>
                  <a:lnTo>
                    <a:pt x="87" y="0"/>
                  </a:lnTo>
                  <a:lnTo>
                    <a:pt x="87" y="0"/>
                  </a:lnTo>
                  <a:lnTo>
                    <a:pt x="71" y="2"/>
                  </a:lnTo>
                  <a:lnTo>
                    <a:pt x="56" y="4"/>
                  </a:lnTo>
                  <a:lnTo>
                    <a:pt x="42" y="7"/>
                  </a:lnTo>
                  <a:lnTo>
                    <a:pt x="31" y="13"/>
                  </a:lnTo>
                  <a:lnTo>
                    <a:pt x="20" y="20"/>
                  </a:lnTo>
                  <a:lnTo>
                    <a:pt x="10" y="28"/>
                  </a:lnTo>
                  <a:lnTo>
                    <a:pt x="3" y="37"/>
                  </a:lnTo>
                  <a:lnTo>
                    <a:pt x="0" y="44"/>
                  </a:lnTo>
                  <a:lnTo>
                    <a:pt x="0" y="44"/>
                  </a:lnTo>
                  <a:lnTo>
                    <a:pt x="43" y="48"/>
                  </a:lnTo>
                  <a:lnTo>
                    <a:pt x="87" y="48"/>
                  </a:lnTo>
                  <a:lnTo>
                    <a:pt x="87" y="48"/>
                  </a:lnTo>
                  <a:close/>
                </a:path>
              </a:pathLst>
            </a:custGeom>
            <a:solidFill>
              <a:srgbClr val="DFA1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Rectangle 45">
              <a:extLst>
                <a:ext uri="{FF2B5EF4-FFF2-40B4-BE49-F238E27FC236}">
                  <a16:creationId xmlns:a16="http://schemas.microsoft.com/office/drawing/2014/main" id="{887E170A-360B-29D3-37DD-AB4FA975BC6F}"/>
                </a:ext>
              </a:extLst>
            </p:cNvPr>
            <p:cNvSpPr>
              <a:spLocks noChangeArrowheads="1"/>
            </p:cNvSpPr>
            <p:nvPr/>
          </p:nvSpPr>
          <p:spPr bwMode="auto">
            <a:xfrm>
              <a:off x="2999" y="303"/>
              <a:ext cx="321" cy="18"/>
            </a:xfrm>
            <a:prstGeom prst="rect">
              <a:avLst/>
            </a:prstGeom>
            <a:solidFill>
              <a:srgbClr val="EDBA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Rectangle 46">
              <a:extLst>
                <a:ext uri="{FF2B5EF4-FFF2-40B4-BE49-F238E27FC236}">
                  <a16:creationId xmlns:a16="http://schemas.microsoft.com/office/drawing/2014/main" id="{B2E4FCD6-CA17-A313-BE66-D02FEC927493}"/>
                </a:ext>
              </a:extLst>
            </p:cNvPr>
            <p:cNvSpPr>
              <a:spLocks noChangeArrowheads="1"/>
            </p:cNvSpPr>
            <p:nvPr/>
          </p:nvSpPr>
          <p:spPr bwMode="auto">
            <a:xfrm>
              <a:off x="2999" y="516"/>
              <a:ext cx="321" cy="18"/>
            </a:xfrm>
            <a:prstGeom prst="rect">
              <a:avLst/>
            </a:prstGeom>
            <a:solidFill>
              <a:srgbClr val="EDBA65"/>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Rectangle 47">
              <a:extLst>
                <a:ext uri="{FF2B5EF4-FFF2-40B4-BE49-F238E27FC236}">
                  <a16:creationId xmlns:a16="http://schemas.microsoft.com/office/drawing/2014/main" id="{BCBBE63F-D0DC-60CD-A276-281ADF878ED6}"/>
                </a:ext>
              </a:extLst>
            </p:cNvPr>
            <p:cNvSpPr>
              <a:spLocks noChangeArrowheads="1"/>
            </p:cNvSpPr>
            <p:nvPr/>
          </p:nvSpPr>
          <p:spPr bwMode="auto">
            <a:xfrm>
              <a:off x="3009" y="321"/>
              <a:ext cx="302" cy="195"/>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48">
              <a:extLst>
                <a:ext uri="{FF2B5EF4-FFF2-40B4-BE49-F238E27FC236}">
                  <a16:creationId xmlns:a16="http://schemas.microsoft.com/office/drawing/2014/main" id="{F384F0E4-0BDF-815B-1B24-57A1E022EAC7}"/>
                </a:ext>
              </a:extLst>
            </p:cNvPr>
            <p:cNvSpPr>
              <a:spLocks/>
            </p:cNvSpPr>
            <p:nvPr/>
          </p:nvSpPr>
          <p:spPr bwMode="auto">
            <a:xfrm>
              <a:off x="3039" y="343"/>
              <a:ext cx="252" cy="157"/>
            </a:xfrm>
            <a:custGeom>
              <a:avLst/>
              <a:gdLst>
                <a:gd name="T0" fmla="*/ 0 w 252"/>
                <a:gd name="T1" fmla="*/ 157 h 157"/>
                <a:gd name="T2" fmla="*/ 0 w 252"/>
                <a:gd name="T3" fmla="*/ 155 h 157"/>
                <a:gd name="T4" fmla="*/ 0 w 252"/>
                <a:gd name="T5" fmla="*/ 155 h 157"/>
                <a:gd name="T6" fmla="*/ 0 w 252"/>
                <a:gd name="T7" fmla="*/ 2 h 157"/>
                <a:gd name="T8" fmla="*/ 0 w 252"/>
                <a:gd name="T9" fmla="*/ 2 h 157"/>
                <a:gd name="T10" fmla="*/ 0 w 252"/>
                <a:gd name="T11" fmla="*/ 0 h 157"/>
                <a:gd name="T12" fmla="*/ 0 w 252"/>
                <a:gd name="T13" fmla="*/ 0 h 157"/>
                <a:gd name="T14" fmla="*/ 1 w 252"/>
                <a:gd name="T15" fmla="*/ 2 h 157"/>
                <a:gd name="T16" fmla="*/ 1 w 252"/>
                <a:gd name="T17" fmla="*/ 153 h 157"/>
                <a:gd name="T18" fmla="*/ 250 w 252"/>
                <a:gd name="T19" fmla="*/ 153 h 157"/>
                <a:gd name="T20" fmla="*/ 250 w 252"/>
                <a:gd name="T21" fmla="*/ 153 h 157"/>
                <a:gd name="T22" fmla="*/ 252 w 252"/>
                <a:gd name="T23" fmla="*/ 155 h 157"/>
                <a:gd name="T24" fmla="*/ 252 w 252"/>
                <a:gd name="T25" fmla="*/ 155 h 157"/>
                <a:gd name="T26" fmla="*/ 250 w 252"/>
                <a:gd name="T27" fmla="*/ 157 h 157"/>
                <a:gd name="T28" fmla="*/ 0 w 252"/>
                <a:gd name="T29" fmla="*/ 157 h 1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252" h="157">
                  <a:moveTo>
                    <a:pt x="0" y="157"/>
                  </a:moveTo>
                  <a:lnTo>
                    <a:pt x="0" y="155"/>
                  </a:lnTo>
                  <a:lnTo>
                    <a:pt x="0" y="155"/>
                  </a:lnTo>
                  <a:lnTo>
                    <a:pt x="0" y="2"/>
                  </a:lnTo>
                  <a:lnTo>
                    <a:pt x="0" y="2"/>
                  </a:lnTo>
                  <a:lnTo>
                    <a:pt x="0" y="0"/>
                  </a:lnTo>
                  <a:lnTo>
                    <a:pt x="0" y="0"/>
                  </a:lnTo>
                  <a:lnTo>
                    <a:pt x="1" y="2"/>
                  </a:lnTo>
                  <a:lnTo>
                    <a:pt x="1" y="153"/>
                  </a:lnTo>
                  <a:lnTo>
                    <a:pt x="250" y="153"/>
                  </a:lnTo>
                  <a:lnTo>
                    <a:pt x="250" y="153"/>
                  </a:lnTo>
                  <a:lnTo>
                    <a:pt x="252" y="155"/>
                  </a:lnTo>
                  <a:lnTo>
                    <a:pt x="252" y="155"/>
                  </a:lnTo>
                  <a:lnTo>
                    <a:pt x="250" y="157"/>
                  </a:lnTo>
                  <a:lnTo>
                    <a:pt x="0" y="157"/>
                  </a:lnTo>
                  <a:close/>
                </a:path>
              </a:pathLst>
            </a:custGeom>
            <a:solidFill>
              <a:srgbClr val="DC71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Rectangle 49">
              <a:extLst>
                <a:ext uri="{FF2B5EF4-FFF2-40B4-BE49-F238E27FC236}">
                  <a16:creationId xmlns:a16="http://schemas.microsoft.com/office/drawing/2014/main" id="{1ECB9D16-E078-D640-86D7-EDF49EF04DA2}"/>
                </a:ext>
              </a:extLst>
            </p:cNvPr>
            <p:cNvSpPr>
              <a:spLocks noChangeArrowheads="1"/>
            </p:cNvSpPr>
            <p:nvPr/>
          </p:nvSpPr>
          <p:spPr bwMode="auto">
            <a:xfrm>
              <a:off x="3064" y="465"/>
              <a:ext cx="28" cy="33"/>
            </a:xfrm>
            <a:prstGeom prst="rect">
              <a:avLst/>
            </a:prstGeom>
            <a:solidFill>
              <a:srgbClr val="DC71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Rectangle 50">
              <a:extLst>
                <a:ext uri="{FF2B5EF4-FFF2-40B4-BE49-F238E27FC236}">
                  <a16:creationId xmlns:a16="http://schemas.microsoft.com/office/drawing/2014/main" id="{43711BE4-7046-295C-DECF-703C6CCBCC3C}"/>
                </a:ext>
              </a:extLst>
            </p:cNvPr>
            <p:cNvSpPr>
              <a:spLocks noChangeArrowheads="1"/>
            </p:cNvSpPr>
            <p:nvPr/>
          </p:nvSpPr>
          <p:spPr bwMode="auto">
            <a:xfrm>
              <a:off x="3108" y="441"/>
              <a:ext cx="29" cy="57"/>
            </a:xfrm>
            <a:prstGeom prst="rect">
              <a:avLst/>
            </a:prstGeom>
            <a:solidFill>
              <a:srgbClr val="DC71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3" name="Rectangle 51">
              <a:extLst>
                <a:ext uri="{FF2B5EF4-FFF2-40B4-BE49-F238E27FC236}">
                  <a16:creationId xmlns:a16="http://schemas.microsoft.com/office/drawing/2014/main" id="{1143C62B-B232-76DB-6CCF-EF3568BE1892}"/>
                </a:ext>
              </a:extLst>
            </p:cNvPr>
            <p:cNvSpPr>
              <a:spLocks noChangeArrowheads="1"/>
            </p:cNvSpPr>
            <p:nvPr/>
          </p:nvSpPr>
          <p:spPr bwMode="auto">
            <a:xfrm>
              <a:off x="3154" y="423"/>
              <a:ext cx="27" cy="75"/>
            </a:xfrm>
            <a:prstGeom prst="rect">
              <a:avLst/>
            </a:prstGeom>
            <a:solidFill>
              <a:srgbClr val="DC71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4" name="Rectangle 52">
              <a:extLst>
                <a:ext uri="{FF2B5EF4-FFF2-40B4-BE49-F238E27FC236}">
                  <a16:creationId xmlns:a16="http://schemas.microsoft.com/office/drawing/2014/main" id="{FDDF7EB0-1108-C051-A6AB-517E3510B2AF}"/>
                </a:ext>
              </a:extLst>
            </p:cNvPr>
            <p:cNvSpPr>
              <a:spLocks noChangeArrowheads="1"/>
            </p:cNvSpPr>
            <p:nvPr/>
          </p:nvSpPr>
          <p:spPr bwMode="auto">
            <a:xfrm>
              <a:off x="3197" y="379"/>
              <a:ext cx="28" cy="119"/>
            </a:xfrm>
            <a:prstGeom prst="rect">
              <a:avLst/>
            </a:prstGeom>
            <a:solidFill>
              <a:srgbClr val="DC71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5" name="Rectangle 53">
              <a:extLst>
                <a:ext uri="{FF2B5EF4-FFF2-40B4-BE49-F238E27FC236}">
                  <a16:creationId xmlns:a16="http://schemas.microsoft.com/office/drawing/2014/main" id="{932D779E-3EA6-774B-30B7-8BB9257D87DD}"/>
                </a:ext>
              </a:extLst>
            </p:cNvPr>
            <p:cNvSpPr>
              <a:spLocks noChangeArrowheads="1"/>
            </p:cNvSpPr>
            <p:nvPr/>
          </p:nvSpPr>
          <p:spPr bwMode="auto">
            <a:xfrm>
              <a:off x="3243" y="354"/>
              <a:ext cx="28" cy="144"/>
            </a:xfrm>
            <a:prstGeom prst="rect">
              <a:avLst/>
            </a:prstGeom>
            <a:solidFill>
              <a:srgbClr val="DC715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6" name="Freeform 54">
              <a:extLst>
                <a:ext uri="{FF2B5EF4-FFF2-40B4-BE49-F238E27FC236}">
                  <a16:creationId xmlns:a16="http://schemas.microsoft.com/office/drawing/2014/main" id="{534716FB-F970-85DA-3435-4F03AA3F3838}"/>
                </a:ext>
              </a:extLst>
            </p:cNvPr>
            <p:cNvSpPr>
              <a:spLocks/>
            </p:cNvSpPr>
            <p:nvPr/>
          </p:nvSpPr>
          <p:spPr bwMode="auto">
            <a:xfrm>
              <a:off x="3030" y="343"/>
              <a:ext cx="20" cy="13"/>
            </a:xfrm>
            <a:custGeom>
              <a:avLst/>
              <a:gdLst>
                <a:gd name="T0" fmla="*/ 18 w 20"/>
                <a:gd name="T1" fmla="*/ 11 h 13"/>
                <a:gd name="T2" fmla="*/ 9 w 20"/>
                <a:gd name="T3" fmla="*/ 3 h 13"/>
                <a:gd name="T4" fmla="*/ 1 w 20"/>
                <a:gd name="T5" fmla="*/ 11 h 13"/>
                <a:gd name="T6" fmla="*/ 0 w 20"/>
                <a:gd name="T7" fmla="*/ 11 h 13"/>
                <a:gd name="T8" fmla="*/ 0 w 20"/>
                <a:gd name="T9" fmla="*/ 9 h 13"/>
                <a:gd name="T10" fmla="*/ 9 w 20"/>
                <a:gd name="T11" fmla="*/ 0 h 13"/>
                <a:gd name="T12" fmla="*/ 10 w 20"/>
                <a:gd name="T13" fmla="*/ 0 h 13"/>
                <a:gd name="T14" fmla="*/ 20 w 20"/>
                <a:gd name="T15" fmla="*/ 9 h 13"/>
                <a:gd name="T16" fmla="*/ 20 w 20"/>
                <a:gd name="T17" fmla="*/ 9 h 13"/>
                <a:gd name="T18" fmla="*/ 20 w 20"/>
                <a:gd name="T19" fmla="*/ 11 h 13"/>
                <a:gd name="T20" fmla="*/ 20 w 20"/>
                <a:gd name="T21" fmla="*/ 13 h 13"/>
                <a:gd name="T22" fmla="*/ 18 w 20"/>
                <a:gd name="T23" fmla="*/ 11 h 1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20" h="13">
                  <a:moveTo>
                    <a:pt x="18" y="11"/>
                  </a:moveTo>
                  <a:lnTo>
                    <a:pt x="9" y="3"/>
                  </a:lnTo>
                  <a:lnTo>
                    <a:pt x="1" y="11"/>
                  </a:lnTo>
                  <a:lnTo>
                    <a:pt x="0" y="11"/>
                  </a:lnTo>
                  <a:lnTo>
                    <a:pt x="0" y="9"/>
                  </a:lnTo>
                  <a:lnTo>
                    <a:pt x="9" y="0"/>
                  </a:lnTo>
                  <a:lnTo>
                    <a:pt x="10" y="0"/>
                  </a:lnTo>
                  <a:lnTo>
                    <a:pt x="20" y="9"/>
                  </a:lnTo>
                  <a:lnTo>
                    <a:pt x="20" y="9"/>
                  </a:lnTo>
                  <a:lnTo>
                    <a:pt x="20" y="11"/>
                  </a:lnTo>
                  <a:lnTo>
                    <a:pt x="20" y="13"/>
                  </a:lnTo>
                  <a:lnTo>
                    <a:pt x="18" y="11"/>
                  </a:lnTo>
                  <a:close/>
                </a:path>
              </a:pathLst>
            </a:custGeom>
            <a:solidFill>
              <a:srgbClr val="DC71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7" name="Freeform 55">
              <a:extLst>
                <a:ext uri="{FF2B5EF4-FFF2-40B4-BE49-F238E27FC236}">
                  <a16:creationId xmlns:a16="http://schemas.microsoft.com/office/drawing/2014/main" id="{4E23B01D-E4FB-2E2E-EE3A-516E0B281B0E}"/>
                </a:ext>
              </a:extLst>
            </p:cNvPr>
            <p:cNvSpPr>
              <a:spLocks/>
            </p:cNvSpPr>
            <p:nvPr/>
          </p:nvSpPr>
          <p:spPr bwMode="auto">
            <a:xfrm>
              <a:off x="3280" y="487"/>
              <a:ext cx="11" cy="22"/>
            </a:xfrm>
            <a:custGeom>
              <a:avLst/>
              <a:gdLst>
                <a:gd name="T0" fmla="*/ 0 w 11"/>
                <a:gd name="T1" fmla="*/ 22 h 22"/>
                <a:gd name="T2" fmla="*/ 0 w 11"/>
                <a:gd name="T3" fmla="*/ 20 h 22"/>
                <a:gd name="T4" fmla="*/ 7 w 11"/>
                <a:gd name="T5" fmla="*/ 11 h 22"/>
                <a:gd name="T6" fmla="*/ 0 w 11"/>
                <a:gd name="T7" fmla="*/ 2 h 22"/>
                <a:gd name="T8" fmla="*/ 0 w 11"/>
                <a:gd name="T9" fmla="*/ 0 h 22"/>
                <a:gd name="T10" fmla="*/ 1 w 11"/>
                <a:gd name="T11" fmla="*/ 0 h 22"/>
                <a:gd name="T12" fmla="*/ 11 w 11"/>
                <a:gd name="T13" fmla="*/ 9 h 22"/>
                <a:gd name="T14" fmla="*/ 11 w 11"/>
                <a:gd name="T15" fmla="*/ 11 h 22"/>
                <a:gd name="T16" fmla="*/ 11 w 11"/>
                <a:gd name="T17" fmla="*/ 11 h 22"/>
                <a:gd name="T18" fmla="*/ 1 w 11"/>
                <a:gd name="T19" fmla="*/ 22 h 22"/>
                <a:gd name="T20" fmla="*/ 0 w 11"/>
                <a:gd name="T21" fmla="*/ 22 h 22"/>
                <a:gd name="T22" fmla="*/ 0 w 11"/>
                <a:gd name="T23" fmla="*/ 22 h 2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1" h="22">
                  <a:moveTo>
                    <a:pt x="0" y="22"/>
                  </a:moveTo>
                  <a:lnTo>
                    <a:pt x="0" y="20"/>
                  </a:lnTo>
                  <a:lnTo>
                    <a:pt x="7" y="11"/>
                  </a:lnTo>
                  <a:lnTo>
                    <a:pt x="0" y="2"/>
                  </a:lnTo>
                  <a:lnTo>
                    <a:pt x="0" y="0"/>
                  </a:lnTo>
                  <a:lnTo>
                    <a:pt x="1" y="0"/>
                  </a:lnTo>
                  <a:lnTo>
                    <a:pt x="11" y="9"/>
                  </a:lnTo>
                  <a:lnTo>
                    <a:pt x="11" y="11"/>
                  </a:lnTo>
                  <a:lnTo>
                    <a:pt x="11" y="11"/>
                  </a:lnTo>
                  <a:lnTo>
                    <a:pt x="1" y="22"/>
                  </a:lnTo>
                  <a:lnTo>
                    <a:pt x="0" y="22"/>
                  </a:lnTo>
                  <a:lnTo>
                    <a:pt x="0" y="22"/>
                  </a:lnTo>
                  <a:close/>
                </a:path>
              </a:pathLst>
            </a:custGeom>
            <a:solidFill>
              <a:srgbClr val="DC71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116" name="Triangolo isoscele 115">
            <a:extLst>
              <a:ext uri="{FF2B5EF4-FFF2-40B4-BE49-F238E27FC236}">
                <a16:creationId xmlns:a16="http://schemas.microsoft.com/office/drawing/2014/main" id="{50B76201-19CF-BFBF-097B-FB069D2D7C94}"/>
              </a:ext>
            </a:extLst>
          </p:cNvPr>
          <p:cNvSpPr/>
          <p:nvPr/>
        </p:nvSpPr>
        <p:spPr>
          <a:xfrm rot="10800000">
            <a:off x="5167735" y="2410723"/>
            <a:ext cx="1856531" cy="517721"/>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117" name="Rectangle 27">
            <a:extLst>
              <a:ext uri="{FF2B5EF4-FFF2-40B4-BE49-F238E27FC236}">
                <a16:creationId xmlns:a16="http://schemas.microsoft.com/office/drawing/2014/main" id="{A421CBA0-E28C-5898-EB2A-FB2D88F7DA75}"/>
              </a:ext>
            </a:extLst>
          </p:cNvPr>
          <p:cNvSpPr/>
          <p:nvPr/>
        </p:nvSpPr>
        <p:spPr>
          <a:xfrm>
            <a:off x="1234200" y="1360800"/>
            <a:ext cx="9723600" cy="896727"/>
          </a:xfrm>
          <a:prstGeom prst="rect">
            <a:avLst/>
          </a:prstGeom>
          <a:solidFill>
            <a:schemeClr val="bg1"/>
          </a:solidFill>
          <a:ln w="19050">
            <a:solidFill>
              <a:srgbClr val="A6DAE9"/>
            </a:solidFill>
          </a:ln>
        </p:spPr>
        <p:style>
          <a:lnRef idx="2">
            <a:schemeClr val="accent1">
              <a:shade val="50000"/>
            </a:schemeClr>
          </a:lnRef>
          <a:fillRef idx="1">
            <a:schemeClr val="accent1"/>
          </a:fillRef>
          <a:effectRef idx="0">
            <a:schemeClr val="accent1"/>
          </a:effectRef>
          <a:fontRef idx="minor">
            <a:schemeClr val="lt1"/>
          </a:fontRef>
        </p:style>
        <p:txBody>
          <a:bodyPr lIns="216000" tIns="108000" rIns="216000" bIns="108000" rtlCol="0" anchor="ctr"/>
          <a:lstStyle/>
          <a:p>
            <a:pPr marL="0" marR="0" lvl="0" indent="0" algn="ctr" defTabSz="914400" rtl="0" eaLnBrk="1" fontAlgn="auto" latinLnBrk="0" hangingPunct="1">
              <a:lnSpc>
                <a:spcPct val="120000"/>
              </a:lnSpc>
              <a:spcBef>
                <a:spcPts val="300"/>
              </a:spcBef>
              <a:spcAft>
                <a:spcPts val="300"/>
              </a:spcAft>
              <a:buClrTx/>
              <a:buSzTx/>
              <a:buFontTx/>
              <a:buNone/>
              <a:tabLst/>
              <a:defRPr/>
            </a:pPr>
            <a:r>
              <a:rPr kumimoji="0" lang="it-IT" sz="1600" b="1"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me viene individuato il compenso per la valorizzazione del ruolo dei docenti tutor e del docente orientatore?</a:t>
            </a:r>
          </a:p>
        </p:txBody>
      </p:sp>
      <p:sp>
        <p:nvSpPr>
          <p:cNvPr id="21" name="Segnaposto numero diapositiva 20">
            <a:extLst>
              <a:ext uri="{FF2B5EF4-FFF2-40B4-BE49-F238E27FC236}">
                <a16:creationId xmlns:a16="http://schemas.microsoft.com/office/drawing/2014/main" id="{36E5B3FC-0D26-12A9-4619-8897298CB151}"/>
              </a:ext>
            </a:extLst>
          </p:cNvPr>
          <p:cNvSpPr>
            <a:spLocks noGrp="1"/>
          </p:cNvSpPr>
          <p:nvPr>
            <p:ph type="sldNum" sz="quarter" idx="12"/>
          </p:nvPr>
        </p:nvSpPr>
        <p:spPr/>
        <p:txBody>
          <a:bodyPr/>
          <a:lstStyle/>
          <a:p>
            <a:fld id="{00F0C1FD-41C3-4D85-8E51-9C56B45C685D}" type="slidenum">
              <a:rPr lang="it-IT" smtClean="0"/>
              <a:t>14</a:t>
            </a:fld>
            <a:endParaRPr lang="it-IT"/>
          </a:p>
        </p:txBody>
      </p:sp>
      <p:grpSp>
        <p:nvGrpSpPr>
          <p:cNvPr id="22" name="Group 406">
            <a:extLst>
              <a:ext uri="{FF2B5EF4-FFF2-40B4-BE49-F238E27FC236}">
                <a16:creationId xmlns:a16="http://schemas.microsoft.com/office/drawing/2014/main" id="{A786231D-26C2-AE10-E678-175435EE4808}"/>
              </a:ext>
            </a:extLst>
          </p:cNvPr>
          <p:cNvGrpSpPr/>
          <p:nvPr/>
        </p:nvGrpSpPr>
        <p:grpSpPr>
          <a:xfrm>
            <a:off x="910387" y="1467163"/>
            <a:ext cx="684000" cy="684000"/>
            <a:chOff x="3144838" y="0"/>
            <a:chExt cx="1112838" cy="1114425"/>
          </a:xfrm>
        </p:grpSpPr>
        <p:sp>
          <p:nvSpPr>
            <p:cNvPr id="23" name="Freeform 7">
              <a:extLst>
                <a:ext uri="{FF2B5EF4-FFF2-40B4-BE49-F238E27FC236}">
                  <a16:creationId xmlns:a16="http://schemas.microsoft.com/office/drawing/2014/main" id="{07CBE4BF-67AF-1915-1352-A52E27C4D767}"/>
                </a:ext>
              </a:extLst>
            </p:cNvPr>
            <p:cNvSpPr>
              <a:spLocks/>
            </p:cNvSpPr>
            <p:nvPr/>
          </p:nvSpPr>
          <p:spPr bwMode="auto">
            <a:xfrm>
              <a:off x="3144838" y="0"/>
              <a:ext cx="1112838" cy="1114425"/>
            </a:xfrm>
            <a:custGeom>
              <a:avLst/>
              <a:gdLst>
                <a:gd name="T0" fmla="*/ 332 w 701"/>
                <a:gd name="T1" fmla="*/ 701 h 702"/>
                <a:gd name="T2" fmla="*/ 280 w 701"/>
                <a:gd name="T3" fmla="*/ 695 h 702"/>
                <a:gd name="T4" fmla="*/ 230 w 701"/>
                <a:gd name="T5" fmla="*/ 680 h 702"/>
                <a:gd name="T6" fmla="*/ 183 w 701"/>
                <a:gd name="T7" fmla="*/ 659 h 702"/>
                <a:gd name="T8" fmla="*/ 141 w 701"/>
                <a:gd name="T9" fmla="*/ 632 h 702"/>
                <a:gd name="T10" fmla="*/ 103 w 701"/>
                <a:gd name="T11" fmla="*/ 598 h 702"/>
                <a:gd name="T12" fmla="*/ 69 w 701"/>
                <a:gd name="T13" fmla="*/ 561 h 702"/>
                <a:gd name="T14" fmla="*/ 42 w 701"/>
                <a:gd name="T15" fmla="*/ 518 h 702"/>
                <a:gd name="T16" fmla="*/ 21 w 701"/>
                <a:gd name="T17" fmla="*/ 471 h 702"/>
                <a:gd name="T18" fmla="*/ 7 w 701"/>
                <a:gd name="T19" fmla="*/ 422 h 702"/>
                <a:gd name="T20" fmla="*/ 0 w 701"/>
                <a:gd name="T21" fmla="*/ 369 h 702"/>
                <a:gd name="T22" fmla="*/ 0 w 701"/>
                <a:gd name="T23" fmla="*/ 333 h 702"/>
                <a:gd name="T24" fmla="*/ 7 w 701"/>
                <a:gd name="T25" fmla="*/ 280 h 702"/>
                <a:gd name="T26" fmla="*/ 21 w 701"/>
                <a:gd name="T27" fmla="*/ 231 h 702"/>
                <a:gd name="T28" fmla="*/ 42 w 701"/>
                <a:gd name="T29" fmla="*/ 184 h 702"/>
                <a:gd name="T30" fmla="*/ 69 w 701"/>
                <a:gd name="T31" fmla="*/ 142 h 702"/>
                <a:gd name="T32" fmla="*/ 103 w 701"/>
                <a:gd name="T33" fmla="*/ 104 h 702"/>
                <a:gd name="T34" fmla="*/ 141 w 701"/>
                <a:gd name="T35" fmla="*/ 70 h 702"/>
                <a:gd name="T36" fmla="*/ 183 w 701"/>
                <a:gd name="T37" fmla="*/ 43 h 702"/>
                <a:gd name="T38" fmla="*/ 230 w 701"/>
                <a:gd name="T39" fmla="*/ 22 h 702"/>
                <a:gd name="T40" fmla="*/ 280 w 701"/>
                <a:gd name="T41" fmla="*/ 7 h 702"/>
                <a:gd name="T42" fmla="*/ 332 w 701"/>
                <a:gd name="T43" fmla="*/ 1 h 702"/>
                <a:gd name="T44" fmla="*/ 368 w 701"/>
                <a:gd name="T45" fmla="*/ 1 h 702"/>
                <a:gd name="T46" fmla="*/ 421 w 701"/>
                <a:gd name="T47" fmla="*/ 7 h 702"/>
                <a:gd name="T48" fmla="*/ 470 w 701"/>
                <a:gd name="T49" fmla="*/ 22 h 702"/>
                <a:gd name="T50" fmla="*/ 517 w 701"/>
                <a:gd name="T51" fmla="*/ 43 h 702"/>
                <a:gd name="T52" fmla="*/ 560 w 701"/>
                <a:gd name="T53" fmla="*/ 70 h 702"/>
                <a:gd name="T54" fmla="*/ 599 w 701"/>
                <a:gd name="T55" fmla="*/ 104 h 702"/>
                <a:gd name="T56" fmla="*/ 631 w 701"/>
                <a:gd name="T57" fmla="*/ 142 h 702"/>
                <a:gd name="T58" fmla="*/ 659 w 701"/>
                <a:gd name="T59" fmla="*/ 184 h 702"/>
                <a:gd name="T60" fmla="*/ 680 w 701"/>
                <a:gd name="T61" fmla="*/ 231 h 702"/>
                <a:gd name="T62" fmla="*/ 693 w 701"/>
                <a:gd name="T63" fmla="*/ 280 h 702"/>
                <a:gd name="T64" fmla="*/ 701 w 701"/>
                <a:gd name="T65" fmla="*/ 333 h 702"/>
                <a:gd name="T66" fmla="*/ 701 w 701"/>
                <a:gd name="T67" fmla="*/ 369 h 702"/>
                <a:gd name="T68" fmla="*/ 693 w 701"/>
                <a:gd name="T69" fmla="*/ 422 h 702"/>
                <a:gd name="T70" fmla="*/ 680 w 701"/>
                <a:gd name="T71" fmla="*/ 471 h 702"/>
                <a:gd name="T72" fmla="*/ 659 w 701"/>
                <a:gd name="T73" fmla="*/ 518 h 702"/>
                <a:gd name="T74" fmla="*/ 631 w 701"/>
                <a:gd name="T75" fmla="*/ 561 h 702"/>
                <a:gd name="T76" fmla="*/ 599 w 701"/>
                <a:gd name="T77" fmla="*/ 598 h 702"/>
                <a:gd name="T78" fmla="*/ 560 w 701"/>
                <a:gd name="T79" fmla="*/ 632 h 702"/>
                <a:gd name="T80" fmla="*/ 517 w 701"/>
                <a:gd name="T81" fmla="*/ 659 h 702"/>
                <a:gd name="T82" fmla="*/ 470 w 701"/>
                <a:gd name="T83" fmla="*/ 680 h 702"/>
                <a:gd name="T84" fmla="*/ 421 w 701"/>
                <a:gd name="T85" fmla="*/ 695 h 702"/>
                <a:gd name="T86" fmla="*/ 368 w 701"/>
                <a:gd name="T8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1" y="702"/>
                  </a:moveTo>
                  <a:lnTo>
                    <a:pt x="351" y="702"/>
                  </a:lnTo>
                  <a:lnTo>
                    <a:pt x="332" y="701"/>
                  </a:lnTo>
                  <a:lnTo>
                    <a:pt x="315" y="699"/>
                  </a:lnTo>
                  <a:lnTo>
                    <a:pt x="298" y="697"/>
                  </a:lnTo>
                  <a:lnTo>
                    <a:pt x="280" y="695"/>
                  </a:lnTo>
                  <a:lnTo>
                    <a:pt x="263" y="691"/>
                  </a:lnTo>
                  <a:lnTo>
                    <a:pt x="246" y="686"/>
                  </a:lnTo>
                  <a:lnTo>
                    <a:pt x="230" y="680"/>
                  </a:lnTo>
                  <a:lnTo>
                    <a:pt x="214" y="674"/>
                  </a:lnTo>
                  <a:lnTo>
                    <a:pt x="199" y="667"/>
                  </a:lnTo>
                  <a:lnTo>
                    <a:pt x="183" y="659"/>
                  </a:lnTo>
                  <a:lnTo>
                    <a:pt x="168" y="651"/>
                  </a:lnTo>
                  <a:lnTo>
                    <a:pt x="155" y="641"/>
                  </a:lnTo>
                  <a:lnTo>
                    <a:pt x="141" y="632"/>
                  </a:lnTo>
                  <a:lnTo>
                    <a:pt x="127" y="622"/>
                  </a:lnTo>
                  <a:lnTo>
                    <a:pt x="115" y="611"/>
                  </a:lnTo>
                  <a:lnTo>
                    <a:pt x="103" y="598"/>
                  </a:lnTo>
                  <a:lnTo>
                    <a:pt x="90" y="587"/>
                  </a:lnTo>
                  <a:lnTo>
                    <a:pt x="81" y="574"/>
                  </a:lnTo>
                  <a:lnTo>
                    <a:pt x="69" y="561"/>
                  </a:lnTo>
                  <a:lnTo>
                    <a:pt x="60" y="546"/>
                  </a:lnTo>
                  <a:lnTo>
                    <a:pt x="51" y="533"/>
                  </a:lnTo>
                  <a:lnTo>
                    <a:pt x="42" y="518"/>
                  </a:lnTo>
                  <a:lnTo>
                    <a:pt x="35" y="503"/>
                  </a:lnTo>
                  <a:lnTo>
                    <a:pt x="27" y="487"/>
                  </a:lnTo>
                  <a:lnTo>
                    <a:pt x="21" y="471"/>
                  </a:lnTo>
                  <a:lnTo>
                    <a:pt x="15" y="455"/>
                  </a:lnTo>
                  <a:lnTo>
                    <a:pt x="11" y="439"/>
                  </a:lnTo>
                  <a:lnTo>
                    <a:pt x="7" y="422"/>
                  </a:lnTo>
                  <a:lnTo>
                    <a:pt x="4" y="405"/>
                  </a:lnTo>
                  <a:lnTo>
                    <a:pt x="2" y="387"/>
                  </a:lnTo>
                  <a:lnTo>
                    <a:pt x="0" y="369"/>
                  </a:lnTo>
                  <a:lnTo>
                    <a:pt x="0" y="352"/>
                  </a:lnTo>
                  <a:lnTo>
                    <a:pt x="0" y="352"/>
                  </a:lnTo>
                  <a:lnTo>
                    <a:pt x="0" y="333"/>
                  </a:lnTo>
                  <a:lnTo>
                    <a:pt x="2" y="316"/>
                  </a:lnTo>
                  <a:lnTo>
                    <a:pt x="4" y="297"/>
                  </a:lnTo>
                  <a:lnTo>
                    <a:pt x="7" y="280"/>
                  </a:lnTo>
                  <a:lnTo>
                    <a:pt x="11" y="264"/>
                  </a:lnTo>
                  <a:lnTo>
                    <a:pt x="15" y="247"/>
                  </a:lnTo>
                  <a:lnTo>
                    <a:pt x="21" y="231"/>
                  </a:lnTo>
                  <a:lnTo>
                    <a:pt x="27" y="215"/>
                  </a:lnTo>
                  <a:lnTo>
                    <a:pt x="35" y="199"/>
                  </a:lnTo>
                  <a:lnTo>
                    <a:pt x="42" y="184"/>
                  </a:lnTo>
                  <a:lnTo>
                    <a:pt x="51" y="169"/>
                  </a:lnTo>
                  <a:lnTo>
                    <a:pt x="60" y="155"/>
                  </a:lnTo>
                  <a:lnTo>
                    <a:pt x="69" y="142"/>
                  </a:lnTo>
                  <a:lnTo>
                    <a:pt x="81" y="128"/>
                  </a:lnTo>
                  <a:lnTo>
                    <a:pt x="90" y="116"/>
                  </a:lnTo>
                  <a:lnTo>
                    <a:pt x="103" y="104"/>
                  </a:lnTo>
                  <a:lnTo>
                    <a:pt x="115" y="91"/>
                  </a:lnTo>
                  <a:lnTo>
                    <a:pt x="127" y="80"/>
                  </a:lnTo>
                  <a:lnTo>
                    <a:pt x="141" y="70"/>
                  </a:lnTo>
                  <a:lnTo>
                    <a:pt x="155" y="60"/>
                  </a:lnTo>
                  <a:lnTo>
                    <a:pt x="168" y="52"/>
                  </a:lnTo>
                  <a:lnTo>
                    <a:pt x="183" y="43"/>
                  </a:lnTo>
                  <a:lnTo>
                    <a:pt x="199" y="35"/>
                  </a:lnTo>
                  <a:lnTo>
                    <a:pt x="214" y="28"/>
                  </a:lnTo>
                  <a:lnTo>
                    <a:pt x="230" y="22"/>
                  </a:lnTo>
                  <a:lnTo>
                    <a:pt x="246" y="16"/>
                  </a:lnTo>
                  <a:lnTo>
                    <a:pt x="263" y="11"/>
                  </a:lnTo>
                  <a:lnTo>
                    <a:pt x="280" y="7"/>
                  </a:lnTo>
                  <a:lnTo>
                    <a:pt x="298" y="5"/>
                  </a:lnTo>
                  <a:lnTo>
                    <a:pt x="315" y="2"/>
                  </a:lnTo>
                  <a:lnTo>
                    <a:pt x="332" y="1"/>
                  </a:lnTo>
                  <a:lnTo>
                    <a:pt x="351" y="0"/>
                  </a:lnTo>
                  <a:lnTo>
                    <a:pt x="351" y="0"/>
                  </a:lnTo>
                  <a:lnTo>
                    <a:pt x="368" y="1"/>
                  </a:lnTo>
                  <a:lnTo>
                    <a:pt x="386" y="2"/>
                  </a:lnTo>
                  <a:lnTo>
                    <a:pt x="404" y="5"/>
                  </a:lnTo>
                  <a:lnTo>
                    <a:pt x="421" y="7"/>
                  </a:lnTo>
                  <a:lnTo>
                    <a:pt x="438" y="11"/>
                  </a:lnTo>
                  <a:lnTo>
                    <a:pt x="454" y="16"/>
                  </a:lnTo>
                  <a:lnTo>
                    <a:pt x="470" y="22"/>
                  </a:lnTo>
                  <a:lnTo>
                    <a:pt x="486" y="28"/>
                  </a:lnTo>
                  <a:lnTo>
                    <a:pt x="502" y="35"/>
                  </a:lnTo>
                  <a:lnTo>
                    <a:pt x="517" y="43"/>
                  </a:lnTo>
                  <a:lnTo>
                    <a:pt x="532" y="52"/>
                  </a:lnTo>
                  <a:lnTo>
                    <a:pt x="547" y="60"/>
                  </a:lnTo>
                  <a:lnTo>
                    <a:pt x="560" y="70"/>
                  </a:lnTo>
                  <a:lnTo>
                    <a:pt x="574" y="80"/>
                  </a:lnTo>
                  <a:lnTo>
                    <a:pt x="586" y="91"/>
                  </a:lnTo>
                  <a:lnTo>
                    <a:pt x="599" y="104"/>
                  </a:lnTo>
                  <a:lnTo>
                    <a:pt x="610" y="116"/>
                  </a:lnTo>
                  <a:lnTo>
                    <a:pt x="621" y="128"/>
                  </a:lnTo>
                  <a:lnTo>
                    <a:pt x="631" y="142"/>
                  </a:lnTo>
                  <a:lnTo>
                    <a:pt x="640" y="155"/>
                  </a:lnTo>
                  <a:lnTo>
                    <a:pt x="650" y="169"/>
                  </a:lnTo>
                  <a:lnTo>
                    <a:pt x="659" y="184"/>
                  </a:lnTo>
                  <a:lnTo>
                    <a:pt x="666" y="199"/>
                  </a:lnTo>
                  <a:lnTo>
                    <a:pt x="674" y="215"/>
                  </a:lnTo>
                  <a:lnTo>
                    <a:pt x="680" y="231"/>
                  </a:lnTo>
                  <a:lnTo>
                    <a:pt x="685" y="247"/>
                  </a:lnTo>
                  <a:lnTo>
                    <a:pt x="690" y="264"/>
                  </a:lnTo>
                  <a:lnTo>
                    <a:pt x="693" y="280"/>
                  </a:lnTo>
                  <a:lnTo>
                    <a:pt x="697" y="297"/>
                  </a:lnTo>
                  <a:lnTo>
                    <a:pt x="698" y="316"/>
                  </a:lnTo>
                  <a:lnTo>
                    <a:pt x="701" y="333"/>
                  </a:lnTo>
                  <a:lnTo>
                    <a:pt x="701" y="352"/>
                  </a:lnTo>
                  <a:lnTo>
                    <a:pt x="701" y="352"/>
                  </a:lnTo>
                  <a:lnTo>
                    <a:pt x="701" y="369"/>
                  </a:lnTo>
                  <a:lnTo>
                    <a:pt x="698" y="387"/>
                  </a:lnTo>
                  <a:lnTo>
                    <a:pt x="697" y="405"/>
                  </a:lnTo>
                  <a:lnTo>
                    <a:pt x="693" y="422"/>
                  </a:lnTo>
                  <a:lnTo>
                    <a:pt x="690" y="439"/>
                  </a:lnTo>
                  <a:lnTo>
                    <a:pt x="685" y="455"/>
                  </a:lnTo>
                  <a:lnTo>
                    <a:pt x="680" y="471"/>
                  </a:lnTo>
                  <a:lnTo>
                    <a:pt x="674" y="487"/>
                  </a:lnTo>
                  <a:lnTo>
                    <a:pt x="666" y="503"/>
                  </a:lnTo>
                  <a:lnTo>
                    <a:pt x="659" y="518"/>
                  </a:lnTo>
                  <a:lnTo>
                    <a:pt x="650" y="533"/>
                  </a:lnTo>
                  <a:lnTo>
                    <a:pt x="640" y="546"/>
                  </a:lnTo>
                  <a:lnTo>
                    <a:pt x="631" y="561"/>
                  </a:lnTo>
                  <a:lnTo>
                    <a:pt x="621" y="574"/>
                  </a:lnTo>
                  <a:lnTo>
                    <a:pt x="610" y="587"/>
                  </a:lnTo>
                  <a:lnTo>
                    <a:pt x="599" y="598"/>
                  </a:lnTo>
                  <a:lnTo>
                    <a:pt x="586" y="611"/>
                  </a:lnTo>
                  <a:lnTo>
                    <a:pt x="574" y="622"/>
                  </a:lnTo>
                  <a:lnTo>
                    <a:pt x="560" y="632"/>
                  </a:lnTo>
                  <a:lnTo>
                    <a:pt x="547" y="641"/>
                  </a:lnTo>
                  <a:lnTo>
                    <a:pt x="532" y="651"/>
                  </a:lnTo>
                  <a:lnTo>
                    <a:pt x="517" y="659"/>
                  </a:lnTo>
                  <a:lnTo>
                    <a:pt x="502" y="667"/>
                  </a:lnTo>
                  <a:lnTo>
                    <a:pt x="486" y="674"/>
                  </a:lnTo>
                  <a:lnTo>
                    <a:pt x="470" y="680"/>
                  </a:lnTo>
                  <a:lnTo>
                    <a:pt x="454" y="686"/>
                  </a:lnTo>
                  <a:lnTo>
                    <a:pt x="438" y="691"/>
                  </a:lnTo>
                  <a:lnTo>
                    <a:pt x="421" y="695"/>
                  </a:lnTo>
                  <a:lnTo>
                    <a:pt x="404" y="697"/>
                  </a:lnTo>
                  <a:lnTo>
                    <a:pt x="386" y="699"/>
                  </a:lnTo>
                  <a:lnTo>
                    <a:pt x="368" y="701"/>
                  </a:lnTo>
                  <a:lnTo>
                    <a:pt x="351" y="702"/>
                  </a:lnTo>
                  <a:lnTo>
                    <a:pt x="351" y="702"/>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202">
              <a:extLst>
                <a:ext uri="{FF2B5EF4-FFF2-40B4-BE49-F238E27FC236}">
                  <a16:creationId xmlns:a16="http://schemas.microsoft.com/office/drawing/2014/main" id="{8171FB9D-3370-CB7B-2654-187C1668D66B}"/>
                </a:ext>
              </a:extLst>
            </p:cNvPr>
            <p:cNvSpPr>
              <a:spLocks/>
            </p:cNvSpPr>
            <p:nvPr/>
          </p:nvSpPr>
          <p:spPr bwMode="auto">
            <a:xfrm>
              <a:off x="3392488" y="244475"/>
              <a:ext cx="841375" cy="844550"/>
            </a:xfrm>
            <a:custGeom>
              <a:avLst/>
              <a:gdLst>
                <a:gd name="T0" fmla="*/ 343 w 530"/>
                <a:gd name="T1" fmla="*/ 110 h 532"/>
                <a:gd name="T2" fmla="*/ 340 w 530"/>
                <a:gd name="T3" fmla="*/ 109 h 532"/>
                <a:gd name="T4" fmla="*/ 311 w 530"/>
                <a:gd name="T5" fmla="*/ 79 h 532"/>
                <a:gd name="T6" fmla="*/ 277 w 530"/>
                <a:gd name="T7" fmla="*/ 58 h 532"/>
                <a:gd name="T8" fmla="*/ 275 w 530"/>
                <a:gd name="T9" fmla="*/ 58 h 532"/>
                <a:gd name="T10" fmla="*/ 269 w 530"/>
                <a:gd name="T11" fmla="*/ 59 h 532"/>
                <a:gd name="T12" fmla="*/ 260 w 530"/>
                <a:gd name="T13" fmla="*/ 72 h 532"/>
                <a:gd name="T14" fmla="*/ 234 w 530"/>
                <a:gd name="T15" fmla="*/ 46 h 532"/>
                <a:gd name="T16" fmla="*/ 229 w 530"/>
                <a:gd name="T17" fmla="*/ 40 h 532"/>
                <a:gd name="T18" fmla="*/ 208 w 530"/>
                <a:gd name="T19" fmla="*/ 24 h 532"/>
                <a:gd name="T20" fmla="*/ 185 w 530"/>
                <a:gd name="T21" fmla="*/ 11 h 532"/>
                <a:gd name="T22" fmla="*/ 160 w 530"/>
                <a:gd name="T23" fmla="*/ 4 h 532"/>
                <a:gd name="T24" fmla="*/ 134 w 530"/>
                <a:gd name="T25" fmla="*/ 0 h 532"/>
                <a:gd name="T26" fmla="*/ 121 w 530"/>
                <a:gd name="T27" fmla="*/ 1 h 532"/>
                <a:gd name="T28" fmla="*/ 95 w 530"/>
                <a:gd name="T29" fmla="*/ 6 h 532"/>
                <a:gd name="T30" fmla="*/ 70 w 530"/>
                <a:gd name="T31" fmla="*/ 16 h 532"/>
                <a:gd name="T32" fmla="*/ 49 w 530"/>
                <a:gd name="T33" fmla="*/ 31 h 532"/>
                <a:gd name="T34" fmla="*/ 39 w 530"/>
                <a:gd name="T35" fmla="*/ 40 h 532"/>
                <a:gd name="T36" fmla="*/ 22 w 530"/>
                <a:gd name="T37" fmla="*/ 61 h 532"/>
                <a:gd name="T38" fmla="*/ 10 w 530"/>
                <a:gd name="T39" fmla="*/ 84 h 532"/>
                <a:gd name="T40" fmla="*/ 2 w 530"/>
                <a:gd name="T41" fmla="*/ 109 h 532"/>
                <a:gd name="T42" fmla="*/ 0 w 530"/>
                <a:gd name="T43" fmla="*/ 135 h 532"/>
                <a:gd name="T44" fmla="*/ 0 w 530"/>
                <a:gd name="T45" fmla="*/ 149 h 532"/>
                <a:gd name="T46" fmla="*/ 6 w 530"/>
                <a:gd name="T47" fmla="*/ 177 h 532"/>
                <a:gd name="T48" fmla="*/ 17 w 530"/>
                <a:gd name="T49" fmla="*/ 201 h 532"/>
                <a:gd name="T50" fmla="*/ 33 w 530"/>
                <a:gd name="T51" fmla="*/ 223 h 532"/>
                <a:gd name="T52" fmla="*/ 74 w 530"/>
                <a:gd name="T53" fmla="*/ 264 h 532"/>
                <a:gd name="T54" fmla="*/ 63 w 530"/>
                <a:gd name="T55" fmla="*/ 270 h 532"/>
                <a:gd name="T56" fmla="*/ 59 w 530"/>
                <a:gd name="T57" fmla="*/ 275 h 532"/>
                <a:gd name="T58" fmla="*/ 59 w 530"/>
                <a:gd name="T59" fmla="*/ 283 h 532"/>
                <a:gd name="T60" fmla="*/ 76 w 530"/>
                <a:gd name="T61" fmla="*/ 312 h 532"/>
                <a:gd name="T62" fmla="*/ 79 w 530"/>
                <a:gd name="T63" fmla="*/ 315 h 532"/>
                <a:gd name="T64" fmla="*/ 296 w 530"/>
                <a:gd name="T65" fmla="*/ 532 h 532"/>
                <a:gd name="T66" fmla="*/ 336 w 530"/>
                <a:gd name="T67" fmla="*/ 517 h 532"/>
                <a:gd name="T68" fmla="*/ 375 w 530"/>
                <a:gd name="T69" fmla="*/ 496 h 532"/>
                <a:gd name="T70" fmla="*/ 410 w 530"/>
                <a:gd name="T71" fmla="*/ 473 h 532"/>
                <a:gd name="T72" fmla="*/ 443 w 530"/>
                <a:gd name="T73" fmla="*/ 443 h 532"/>
                <a:gd name="T74" fmla="*/ 471 w 530"/>
                <a:gd name="T75" fmla="*/ 411 h 532"/>
                <a:gd name="T76" fmla="*/ 494 w 530"/>
                <a:gd name="T77" fmla="*/ 375 h 532"/>
                <a:gd name="T78" fmla="*/ 514 w 530"/>
                <a:gd name="T79" fmla="*/ 337 h 532"/>
                <a:gd name="T80" fmla="*/ 530 w 530"/>
                <a:gd name="T81" fmla="*/ 296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0" h="532">
                  <a:moveTo>
                    <a:pt x="343" y="110"/>
                  </a:moveTo>
                  <a:lnTo>
                    <a:pt x="343" y="110"/>
                  </a:lnTo>
                  <a:lnTo>
                    <a:pt x="343" y="110"/>
                  </a:lnTo>
                  <a:lnTo>
                    <a:pt x="340" y="109"/>
                  </a:lnTo>
                  <a:lnTo>
                    <a:pt x="311" y="79"/>
                  </a:lnTo>
                  <a:lnTo>
                    <a:pt x="311" y="79"/>
                  </a:lnTo>
                  <a:lnTo>
                    <a:pt x="307" y="75"/>
                  </a:lnTo>
                  <a:lnTo>
                    <a:pt x="277" y="58"/>
                  </a:lnTo>
                  <a:lnTo>
                    <a:pt x="277" y="58"/>
                  </a:lnTo>
                  <a:lnTo>
                    <a:pt x="275" y="58"/>
                  </a:lnTo>
                  <a:lnTo>
                    <a:pt x="271" y="58"/>
                  </a:lnTo>
                  <a:lnTo>
                    <a:pt x="269" y="59"/>
                  </a:lnTo>
                  <a:lnTo>
                    <a:pt x="266" y="62"/>
                  </a:lnTo>
                  <a:lnTo>
                    <a:pt x="260" y="72"/>
                  </a:lnTo>
                  <a:lnTo>
                    <a:pt x="234" y="46"/>
                  </a:lnTo>
                  <a:lnTo>
                    <a:pt x="234" y="46"/>
                  </a:lnTo>
                  <a:lnTo>
                    <a:pt x="229" y="40"/>
                  </a:lnTo>
                  <a:lnTo>
                    <a:pt x="229" y="40"/>
                  </a:lnTo>
                  <a:lnTo>
                    <a:pt x="219" y="31"/>
                  </a:lnTo>
                  <a:lnTo>
                    <a:pt x="208" y="24"/>
                  </a:lnTo>
                  <a:lnTo>
                    <a:pt x="197" y="16"/>
                  </a:lnTo>
                  <a:lnTo>
                    <a:pt x="185" y="11"/>
                  </a:lnTo>
                  <a:lnTo>
                    <a:pt x="174" y="6"/>
                  </a:lnTo>
                  <a:lnTo>
                    <a:pt x="160" y="4"/>
                  </a:lnTo>
                  <a:lnTo>
                    <a:pt x="148" y="1"/>
                  </a:lnTo>
                  <a:lnTo>
                    <a:pt x="134" y="0"/>
                  </a:lnTo>
                  <a:lnTo>
                    <a:pt x="134" y="0"/>
                  </a:lnTo>
                  <a:lnTo>
                    <a:pt x="121" y="1"/>
                  </a:lnTo>
                  <a:lnTo>
                    <a:pt x="107" y="4"/>
                  </a:lnTo>
                  <a:lnTo>
                    <a:pt x="95" y="6"/>
                  </a:lnTo>
                  <a:lnTo>
                    <a:pt x="82" y="11"/>
                  </a:lnTo>
                  <a:lnTo>
                    <a:pt x="70" y="16"/>
                  </a:lnTo>
                  <a:lnTo>
                    <a:pt x="59" y="24"/>
                  </a:lnTo>
                  <a:lnTo>
                    <a:pt x="49" y="31"/>
                  </a:lnTo>
                  <a:lnTo>
                    <a:pt x="39" y="40"/>
                  </a:lnTo>
                  <a:lnTo>
                    <a:pt x="39" y="40"/>
                  </a:lnTo>
                  <a:lnTo>
                    <a:pt x="29" y="50"/>
                  </a:lnTo>
                  <a:lnTo>
                    <a:pt x="22" y="61"/>
                  </a:lnTo>
                  <a:lnTo>
                    <a:pt x="16" y="72"/>
                  </a:lnTo>
                  <a:lnTo>
                    <a:pt x="10" y="84"/>
                  </a:lnTo>
                  <a:lnTo>
                    <a:pt x="5" y="96"/>
                  </a:lnTo>
                  <a:lnTo>
                    <a:pt x="2" y="109"/>
                  </a:lnTo>
                  <a:lnTo>
                    <a:pt x="0" y="121"/>
                  </a:lnTo>
                  <a:lnTo>
                    <a:pt x="0" y="135"/>
                  </a:lnTo>
                  <a:lnTo>
                    <a:pt x="0" y="135"/>
                  </a:lnTo>
                  <a:lnTo>
                    <a:pt x="0" y="149"/>
                  </a:lnTo>
                  <a:lnTo>
                    <a:pt x="2" y="163"/>
                  </a:lnTo>
                  <a:lnTo>
                    <a:pt x="6" y="177"/>
                  </a:lnTo>
                  <a:lnTo>
                    <a:pt x="11" y="190"/>
                  </a:lnTo>
                  <a:lnTo>
                    <a:pt x="17" y="201"/>
                  </a:lnTo>
                  <a:lnTo>
                    <a:pt x="24" y="214"/>
                  </a:lnTo>
                  <a:lnTo>
                    <a:pt x="33" y="223"/>
                  </a:lnTo>
                  <a:lnTo>
                    <a:pt x="43" y="233"/>
                  </a:lnTo>
                  <a:lnTo>
                    <a:pt x="74" y="264"/>
                  </a:lnTo>
                  <a:lnTo>
                    <a:pt x="63" y="270"/>
                  </a:lnTo>
                  <a:lnTo>
                    <a:pt x="63" y="270"/>
                  </a:lnTo>
                  <a:lnTo>
                    <a:pt x="60" y="273"/>
                  </a:lnTo>
                  <a:lnTo>
                    <a:pt x="59" y="275"/>
                  </a:lnTo>
                  <a:lnTo>
                    <a:pt x="58" y="279"/>
                  </a:lnTo>
                  <a:lnTo>
                    <a:pt x="59" y="283"/>
                  </a:lnTo>
                  <a:lnTo>
                    <a:pt x="76" y="312"/>
                  </a:lnTo>
                  <a:lnTo>
                    <a:pt x="76" y="312"/>
                  </a:lnTo>
                  <a:lnTo>
                    <a:pt x="79" y="315"/>
                  </a:lnTo>
                  <a:lnTo>
                    <a:pt x="79" y="315"/>
                  </a:lnTo>
                  <a:lnTo>
                    <a:pt x="296" y="532"/>
                  </a:lnTo>
                  <a:lnTo>
                    <a:pt x="296" y="532"/>
                  </a:lnTo>
                  <a:lnTo>
                    <a:pt x="317" y="526"/>
                  </a:lnTo>
                  <a:lnTo>
                    <a:pt x="336" y="517"/>
                  </a:lnTo>
                  <a:lnTo>
                    <a:pt x="356" y="507"/>
                  </a:lnTo>
                  <a:lnTo>
                    <a:pt x="375" y="496"/>
                  </a:lnTo>
                  <a:lnTo>
                    <a:pt x="393" y="485"/>
                  </a:lnTo>
                  <a:lnTo>
                    <a:pt x="410" y="473"/>
                  </a:lnTo>
                  <a:lnTo>
                    <a:pt x="426" y="458"/>
                  </a:lnTo>
                  <a:lnTo>
                    <a:pt x="443" y="443"/>
                  </a:lnTo>
                  <a:lnTo>
                    <a:pt x="457" y="428"/>
                  </a:lnTo>
                  <a:lnTo>
                    <a:pt x="471" y="411"/>
                  </a:lnTo>
                  <a:lnTo>
                    <a:pt x="483" y="394"/>
                  </a:lnTo>
                  <a:lnTo>
                    <a:pt x="494" y="375"/>
                  </a:lnTo>
                  <a:lnTo>
                    <a:pt x="505" y="357"/>
                  </a:lnTo>
                  <a:lnTo>
                    <a:pt x="514" y="337"/>
                  </a:lnTo>
                  <a:lnTo>
                    <a:pt x="523" y="317"/>
                  </a:lnTo>
                  <a:lnTo>
                    <a:pt x="530" y="296"/>
                  </a:lnTo>
                  <a:lnTo>
                    <a:pt x="343" y="11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203">
              <a:extLst>
                <a:ext uri="{FF2B5EF4-FFF2-40B4-BE49-F238E27FC236}">
                  <a16:creationId xmlns:a16="http://schemas.microsoft.com/office/drawing/2014/main" id="{BD463DC7-1120-7071-D2A5-01D2C1CC4EA5}"/>
                </a:ext>
              </a:extLst>
            </p:cNvPr>
            <p:cNvSpPr>
              <a:spLocks noEditPoints="1"/>
            </p:cNvSpPr>
            <p:nvPr/>
          </p:nvSpPr>
          <p:spPr bwMode="auto">
            <a:xfrm>
              <a:off x="3462338" y="317500"/>
              <a:ext cx="528638" cy="528638"/>
            </a:xfrm>
            <a:custGeom>
              <a:avLst/>
              <a:gdLst>
                <a:gd name="T0" fmla="*/ 299 w 333"/>
                <a:gd name="T1" fmla="*/ 118 h 333"/>
                <a:gd name="T2" fmla="*/ 320 w 333"/>
                <a:gd name="T3" fmla="*/ 100 h 333"/>
                <a:gd name="T4" fmla="*/ 296 w 333"/>
                <a:gd name="T5" fmla="*/ 63 h 333"/>
                <a:gd name="T6" fmla="*/ 264 w 333"/>
                <a:gd name="T7" fmla="*/ 66 h 333"/>
                <a:gd name="T8" fmla="*/ 268 w 333"/>
                <a:gd name="T9" fmla="*/ 36 h 333"/>
                <a:gd name="T10" fmla="*/ 231 w 333"/>
                <a:gd name="T11" fmla="*/ 12 h 333"/>
                <a:gd name="T12" fmla="*/ 212 w 333"/>
                <a:gd name="T13" fmla="*/ 33 h 333"/>
                <a:gd name="T14" fmla="*/ 190 w 333"/>
                <a:gd name="T15" fmla="*/ 5 h 333"/>
                <a:gd name="T16" fmla="*/ 148 w 333"/>
                <a:gd name="T17" fmla="*/ 0 h 333"/>
                <a:gd name="T18" fmla="*/ 140 w 333"/>
                <a:gd name="T19" fmla="*/ 29 h 333"/>
                <a:gd name="T20" fmla="*/ 109 w 333"/>
                <a:gd name="T21" fmla="*/ 18 h 333"/>
                <a:gd name="T22" fmla="*/ 67 w 333"/>
                <a:gd name="T23" fmla="*/ 32 h 333"/>
                <a:gd name="T24" fmla="*/ 64 w 333"/>
                <a:gd name="T25" fmla="*/ 43 h 333"/>
                <a:gd name="T26" fmla="*/ 42 w 333"/>
                <a:gd name="T27" fmla="*/ 66 h 333"/>
                <a:gd name="T28" fmla="*/ 31 w 333"/>
                <a:gd name="T29" fmla="*/ 70 h 333"/>
                <a:gd name="T30" fmla="*/ 14 w 333"/>
                <a:gd name="T31" fmla="*/ 108 h 333"/>
                <a:gd name="T32" fmla="*/ 29 w 333"/>
                <a:gd name="T33" fmla="*/ 143 h 333"/>
                <a:gd name="T34" fmla="*/ 1 w 333"/>
                <a:gd name="T35" fmla="*/ 148 h 333"/>
                <a:gd name="T36" fmla="*/ 3 w 333"/>
                <a:gd name="T37" fmla="*/ 191 h 333"/>
                <a:gd name="T38" fmla="*/ 32 w 333"/>
                <a:gd name="T39" fmla="*/ 205 h 333"/>
                <a:gd name="T40" fmla="*/ 15 w 333"/>
                <a:gd name="T41" fmla="*/ 229 h 333"/>
                <a:gd name="T42" fmla="*/ 35 w 333"/>
                <a:gd name="T43" fmla="*/ 269 h 333"/>
                <a:gd name="T44" fmla="*/ 62 w 333"/>
                <a:gd name="T45" fmla="*/ 259 h 333"/>
                <a:gd name="T46" fmla="*/ 67 w 333"/>
                <a:gd name="T47" fmla="*/ 295 h 333"/>
                <a:gd name="T48" fmla="*/ 100 w 333"/>
                <a:gd name="T49" fmla="*/ 319 h 333"/>
                <a:gd name="T50" fmla="*/ 122 w 333"/>
                <a:gd name="T51" fmla="*/ 298 h 333"/>
                <a:gd name="T52" fmla="*/ 143 w 333"/>
                <a:gd name="T53" fmla="*/ 324 h 333"/>
                <a:gd name="T54" fmla="*/ 186 w 333"/>
                <a:gd name="T55" fmla="*/ 333 h 333"/>
                <a:gd name="T56" fmla="*/ 195 w 333"/>
                <a:gd name="T57" fmla="*/ 324 h 333"/>
                <a:gd name="T58" fmla="*/ 226 w 333"/>
                <a:gd name="T59" fmla="*/ 314 h 333"/>
                <a:gd name="T60" fmla="*/ 237 w 333"/>
                <a:gd name="T61" fmla="*/ 318 h 333"/>
                <a:gd name="T62" fmla="*/ 270 w 333"/>
                <a:gd name="T63" fmla="*/ 292 h 333"/>
                <a:gd name="T64" fmla="*/ 275 w 333"/>
                <a:gd name="T65" fmla="*/ 256 h 333"/>
                <a:gd name="T66" fmla="*/ 301 w 333"/>
                <a:gd name="T67" fmla="*/ 265 h 333"/>
                <a:gd name="T68" fmla="*/ 321 w 333"/>
                <a:gd name="T69" fmla="*/ 227 h 333"/>
                <a:gd name="T70" fmla="*/ 302 w 333"/>
                <a:gd name="T71" fmla="*/ 201 h 333"/>
                <a:gd name="T72" fmla="*/ 331 w 333"/>
                <a:gd name="T73" fmla="*/ 187 h 333"/>
                <a:gd name="T74" fmla="*/ 333 w 333"/>
                <a:gd name="T75" fmla="*/ 144 h 333"/>
                <a:gd name="T76" fmla="*/ 167 w 333"/>
                <a:gd name="T77" fmla="*/ 255 h 333"/>
                <a:gd name="T78" fmla="*/ 132 w 333"/>
                <a:gd name="T79" fmla="*/ 248 h 333"/>
                <a:gd name="T80" fmla="*/ 99 w 333"/>
                <a:gd name="T81" fmla="*/ 223 h 333"/>
                <a:gd name="T82" fmla="*/ 80 w 333"/>
                <a:gd name="T83" fmla="*/ 184 h 333"/>
                <a:gd name="T84" fmla="*/ 80 w 333"/>
                <a:gd name="T85" fmla="*/ 148 h 333"/>
                <a:gd name="T86" fmla="*/ 99 w 333"/>
                <a:gd name="T87" fmla="*/ 110 h 333"/>
                <a:gd name="T88" fmla="*/ 132 w 333"/>
                <a:gd name="T89" fmla="*/ 85 h 333"/>
                <a:gd name="T90" fmla="*/ 167 w 333"/>
                <a:gd name="T91" fmla="*/ 78 h 333"/>
                <a:gd name="T92" fmla="*/ 210 w 333"/>
                <a:gd name="T93" fmla="*/ 89 h 333"/>
                <a:gd name="T94" fmla="*/ 241 w 333"/>
                <a:gd name="T95" fmla="*/ 117 h 333"/>
                <a:gd name="T96" fmla="*/ 255 w 333"/>
                <a:gd name="T97" fmla="*/ 158 h 333"/>
                <a:gd name="T98" fmla="*/ 252 w 333"/>
                <a:gd name="T99" fmla="*/ 192 h 333"/>
                <a:gd name="T100" fmla="*/ 230 w 333"/>
                <a:gd name="T101" fmla="*/ 229 h 333"/>
                <a:gd name="T102" fmla="*/ 194 w 333"/>
                <a:gd name="T103" fmla="*/ 25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3" h="333">
                  <a:moveTo>
                    <a:pt x="325" y="139"/>
                  </a:moveTo>
                  <a:lnTo>
                    <a:pt x="305" y="139"/>
                  </a:lnTo>
                  <a:lnTo>
                    <a:pt x="305" y="139"/>
                  </a:lnTo>
                  <a:lnTo>
                    <a:pt x="302" y="128"/>
                  </a:lnTo>
                  <a:lnTo>
                    <a:pt x="299" y="118"/>
                  </a:lnTo>
                  <a:lnTo>
                    <a:pt x="316" y="108"/>
                  </a:lnTo>
                  <a:lnTo>
                    <a:pt x="316" y="108"/>
                  </a:lnTo>
                  <a:lnTo>
                    <a:pt x="318" y="106"/>
                  </a:lnTo>
                  <a:lnTo>
                    <a:pt x="320" y="102"/>
                  </a:lnTo>
                  <a:lnTo>
                    <a:pt x="320" y="100"/>
                  </a:lnTo>
                  <a:lnTo>
                    <a:pt x="318" y="96"/>
                  </a:lnTo>
                  <a:lnTo>
                    <a:pt x="301" y="66"/>
                  </a:lnTo>
                  <a:lnTo>
                    <a:pt x="301" y="66"/>
                  </a:lnTo>
                  <a:lnTo>
                    <a:pt x="299" y="64"/>
                  </a:lnTo>
                  <a:lnTo>
                    <a:pt x="296" y="63"/>
                  </a:lnTo>
                  <a:lnTo>
                    <a:pt x="292" y="63"/>
                  </a:lnTo>
                  <a:lnTo>
                    <a:pt x="290" y="64"/>
                  </a:lnTo>
                  <a:lnTo>
                    <a:pt x="271" y="74"/>
                  </a:lnTo>
                  <a:lnTo>
                    <a:pt x="271" y="74"/>
                  </a:lnTo>
                  <a:lnTo>
                    <a:pt x="264" y="66"/>
                  </a:lnTo>
                  <a:lnTo>
                    <a:pt x="257" y="59"/>
                  </a:lnTo>
                  <a:lnTo>
                    <a:pt x="267" y="42"/>
                  </a:lnTo>
                  <a:lnTo>
                    <a:pt x="267" y="42"/>
                  </a:lnTo>
                  <a:lnTo>
                    <a:pt x="268" y="38"/>
                  </a:lnTo>
                  <a:lnTo>
                    <a:pt x="268" y="36"/>
                  </a:lnTo>
                  <a:lnTo>
                    <a:pt x="265" y="32"/>
                  </a:lnTo>
                  <a:lnTo>
                    <a:pt x="263" y="29"/>
                  </a:lnTo>
                  <a:lnTo>
                    <a:pt x="233" y="12"/>
                  </a:lnTo>
                  <a:lnTo>
                    <a:pt x="233" y="12"/>
                  </a:lnTo>
                  <a:lnTo>
                    <a:pt x="231" y="12"/>
                  </a:lnTo>
                  <a:lnTo>
                    <a:pt x="227" y="12"/>
                  </a:lnTo>
                  <a:lnTo>
                    <a:pt x="225" y="13"/>
                  </a:lnTo>
                  <a:lnTo>
                    <a:pt x="222" y="16"/>
                  </a:lnTo>
                  <a:lnTo>
                    <a:pt x="212" y="33"/>
                  </a:lnTo>
                  <a:lnTo>
                    <a:pt x="212" y="33"/>
                  </a:lnTo>
                  <a:lnTo>
                    <a:pt x="201" y="31"/>
                  </a:lnTo>
                  <a:lnTo>
                    <a:pt x="191" y="28"/>
                  </a:lnTo>
                  <a:lnTo>
                    <a:pt x="191" y="8"/>
                  </a:lnTo>
                  <a:lnTo>
                    <a:pt x="191" y="8"/>
                  </a:lnTo>
                  <a:lnTo>
                    <a:pt x="190" y="5"/>
                  </a:lnTo>
                  <a:lnTo>
                    <a:pt x="188" y="2"/>
                  </a:lnTo>
                  <a:lnTo>
                    <a:pt x="185" y="1"/>
                  </a:lnTo>
                  <a:lnTo>
                    <a:pt x="183" y="0"/>
                  </a:lnTo>
                  <a:lnTo>
                    <a:pt x="148" y="0"/>
                  </a:lnTo>
                  <a:lnTo>
                    <a:pt x="148" y="0"/>
                  </a:lnTo>
                  <a:lnTo>
                    <a:pt x="144" y="1"/>
                  </a:lnTo>
                  <a:lnTo>
                    <a:pt x="142" y="2"/>
                  </a:lnTo>
                  <a:lnTo>
                    <a:pt x="140" y="5"/>
                  </a:lnTo>
                  <a:lnTo>
                    <a:pt x="140" y="8"/>
                  </a:lnTo>
                  <a:lnTo>
                    <a:pt x="140" y="29"/>
                  </a:lnTo>
                  <a:lnTo>
                    <a:pt x="140" y="29"/>
                  </a:lnTo>
                  <a:lnTo>
                    <a:pt x="128" y="32"/>
                  </a:lnTo>
                  <a:lnTo>
                    <a:pt x="119" y="34"/>
                  </a:lnTo>
                  <a:lnTo>
                    <a:pt x="109" y="18"/>
                  </a:lnTo>
                  <a:lnTo>
                    <a:pt x="109" y="18"/>
                  </a:lnTo>
                  <a:lnTo>
                    <a:pt x="106" y="15"/>
                  </a:lnTo>
                  <a:lnTo>
                    <a:pt x="104" y="13"/>
                  </a:lnTo>
                  <a:lnTo>
                    <a:pt x="100" y="13"/>
                  </a:lnTo>
                  <a:lnTo>
                    <a:pt x="96" y="15"/>
                  </a:lnTo>
                  <a:lnTo>
                    <a:pt x="67" y="32"/>
                  </a:lnTo>
                  <a:lnTo>
                    <a:pt x="67" y="32"/>
                  </a:lnTo>
                  <a:lnTo>
                    <a:pt x="64" y="34"/>
                  </a:lnTo>
                  <a:lnTo>
                    <a:pt x="63" y="37"/>
                  </a:lnTo>
                  <a:lnTo>
                    <a:pt x="63" y="41"/>
                  </a:lnTo>
                  <a:lnTo>
                    <a:pt x="64" y="43"/>
                  </a:lnTo>
                  <a:lnTo>
                    <a:pt x="74" y="62"/>
                  </a:lnTo>
                  <a:lnTo>
                    <a:pt x="74" y="62"/>
                  </a:lnTo>
                  <a:lnTo>
                    <a:pt x="67" y="69"/>
                  </a:lnTo>
                  <a:lnTo>
                    <a:pt x="59" y="76"/>
                  </a:lnTo>
                  <a:lnTo>
                    <a:pt x="42" y="66"/>
                  </a:lnTo>
                  <a:lnTo>
                    <a:pt x="42" y="66"/>
                  </a:lnTo>
                  <a:lnTo>
                    <a:pt x="40" y="65"/>
                  </a:lnTo>
                  <a:lnTo>
                    <a:pt x="36" y="66"/>
                  </a:lnTo>
                  <a:lnTo>
                    <a:pt x="32" y="68"/>
                  </a:lnTo>
                  <a:lnTo>
                    <a:pt x="31" y="70"/>
                  </a:lnTo>
                  <a:lnTo>
                    <a:pt x="14" y="100"/>
                  </a:lnTo>
                  <a:lnTo>
                    <a:pt x="14" y="100"/>
                  </a:lnTo>
                  <a:lnTo>
                    <a:pt x="12" y="102"/>
                  </a:lnTo>
                  <a:lnTo>
                    <a:pt x="12" y="106"/>
                  </a:lnTo>
                  <a:lnTo>
                    <a:pt x="14" y="108"/>
                  </a:lnTo>
                  <a:lnTo>
                    <a:pt x="16" y="111"/>
                  </a:lnTo>
                  <a:lnTo>
                    <a:pt x="35" y="122"/>
                  </a:lnTo>
                  <a:lnTo>
                    <a:pt x="35" y="122"/>
                  </a:lnTo>
                  <a:lnTo>
                    <a:pt x="31" y="132"/>
                  </a:lnTo>
                  <a:lnTo>
                    <a:pt x="29" y="143"/>
                  </a:lnTo>
                  <a:lnTo>
                    <a:pt x="9" y="143"/>
                  </a:lnTo>
                  <a:lnTo>
                    <a:pt x="9" y="143"/>
                  </a:lnTo>
                  <a:lnTo>
                    <a:pt x="6" y="143"/>
                  </a:lnTo>
                  <a:lnTo>
                    <a:pt x="3" y="145"/>
                  </a:lnTo>
                  <a:lnTo>
                    <a:pt x="1" y="148"/>
                  </a:lnTo>
                  <a:lnTo>
                    <a:pt x="0" y="152"/>
                  </a:lnTo>
                  <a:lnTo>
                    <a:pt x="0" y="185"/>
                  </a:lnTo>
                  <a:lnTo>
                    <a:pt x="0" y="185"/>
                  </a:lnTo>
                  <a:lnTo>
                    <a:pt x="1" y="189"/>
                  </a:lnTo>
                  <a:lnTo>
                    <a:pt x="3" y="191"/>
                  </a:lnTo>
                  <a:lnTo>
                    <a:pt x="6" y="194"/>
                  </a:lnTo>
                  <a:lnTo>
                    <a:pt x="9" y="194"/>
                  </a:lnTo>
                  <a:lnTo>
                    <a:pt x="30" y="194"/>
                  </a:lnTo>
                  <a:lnTo>
                    <a:pt x="30" y="194"/>
                  </a:lnTo>
                  <a:lnTo>
                    <a:pt x="32" y="205"/>
                  </a:lnTo>
                  <a:lnTo>
                    <a:pt x="36" y="214"/>
                  </a:lnTo>
                  <a:lnTo>
                    <a:pt x="19" y="224"/>
                  </a:lnTo>
                  <a:lnTo>
                    <a:pt x="19" y="224"/>
                  </a:lnTo>
                  <a:lnTo>
                    <a:pt x="16" y="227"/>
                  </a:lnTo>
                  <a:lnTo>
                    <a:pt x="15" y="229"/>
                  </a:lnTo>
                  <a:lnTo>
                    <a:pt x="14" y="233"/>
                  </a:lnTo>
                  <a:lnTo>
                    <a:pt x="15" y="237"/>
                  </a:lnTo>
                  <a:lnTo>
                    <a:pt x="32" y="266"/>
                  </a:lnTo>
                  <a:lnTo>
                    <a:pt x="32" y="266"/>
                  </a:lnTo>
                  <a:lnTo>
                    <a:pt x="35" y="269"/>
                  </a:lnTo>
                  <a:lnTo>
                    <a:pt x="37" y="270"/>
                  </a:lnTo>
                  <a:lnTo>
                    <a:pt x="41" y="270"/>
                  </a:lnTo>
                  <a:lnTo>
                    <a:pt x="45" y="269"/>
                  </a:lnTo>
                  <a:lnTo>
                    <a:pt x="62" y="259"/>
                  </a:lnTo>
                  <a:lnTo>
                    <a:pt x="62" y="259"/>
                  </a:lnTo>
                  <a:lnTo>
                    <a:pt x="69" y="266"/>
                  </a:lnTo>
                  <a:lnTo>
                    <a:pt x="78" y="274"/>
                  </a:lnTo>
                  <a:lnTo>
                    <a:pt x="68" y="291"/>
                  </a:lnTo>
                  <a:lnTo>
                    <a:pt x="68" y="291"/>
                  </a:lnTo>
                  <a:lnTo>
                    <a:pt x="67" y="295"/>
                  </a:lnTo>
                  <a:lnTo>
                    <a:pt x="67" y="297"/>
                  </a:lnTo>
                  <a:lnTo>
                    <a:pt x="68" y="301"/>
                  </a:lnTo>
                  <a:lnTo>
                    <a:pt x="70" y="302"/>
                  </a:lnTo>
                  <a:lnTo>
                    <a:pt x="100" y="319"/>
                  </a:lnTo>
                  <a:lnTo>
                    <a:pt x="100" y="319"/>
                  </a:lnTo>
                  <a:lnTo>
                    <a:pt x="104" y="321"/>
                  </a:lnTo>
                  <a:lnTo>
                    <a:pt x="106" y="321"/>
                  </a:lnTo>
                  <a:lnTo>
                    <a:pt x="110" y="319"/>
                  </a:lnTo>
                  <a:lnTo>
                    <a:pt x="112" y="317"/>
                  </a:lnTo>
                  <a:lnTo>
                    <a:pt x="122" y="298"/>
                  </a:lnTo>
                  <a:lnTo>
                    <a:pt x="122" y="298"/>
                  </a:lnTo>
                  <a:lnTo>
                    <a:pt x="132" y="302"/>
                  </a:lnTo>
                  <a:lnTo>
                    <a:pt x="143" y="305"/>
                  </a:lnTo>
                  <a:lnTo>
                    <a:pt x="143" y="324"/>
                  </a:lnTo>
                  <a:lnTo>
                    <a:pt x="143" y="324"/>
                  </a:lnTo>
                  <a:lnTo>
                    <a:pt x="144" y="327"/>
                  </a:lnTo>
                  <a:lnTo>
                    <a:pt x="146" y="330"/>
                  </a:lnTo>
                  <a:lnTo>
                    <a:pt x="148" y="332"/>
                  </a:lnTo>
                  <a:lnTo>
                    <a:pt x="152" y="333"/>
                  </a:lnTo>
                  <a:lnTo>
                    <a:pt x="186" y="333"/>
                  </a:lnTo>
                  <a:lnTo>
                    <a:pt x="186" y="333"/>
                  </a:lnTo>
                  <a:lnTo>
                    <a:pt x="189" y="332"/>
                  </a:lnTo>
                  <a:lnTo>
                    <a:pt x="193" y="330"/>
                  </a:lnTo>
                  <a:lnTo>
                    <a:pt x="194" y="327"/>
                  </a:lnTo>
                  <a:lnTo>
                    <a:pt x="195" y="324"/>
                  </a:lnTo>
                  <a:lnTo>
                    <a:pt x="195" y="303"/>
                  </a:lnTo>
                  <a:lnTo>
                    <a:pt x="195" y="303"/>
                  </a:lnTo>
                  <a:lnTo>
                    <a:pt x="205" y="301"/>
                  </a:lnTo>
                  <a:lnTo>
                    <a:pt x="216" y="297"/>
                  </a:lnTo>
                  <a:lnTo>
                    <a:pt x="226" y="314"/>
                  </a:lnTo>
                  <a:lnTo>
                    <a:pt x="226" y="314"/>
                  </a:lnTo>
                  <a:lnTo>
                    <a:pt x="227" y="317"/>
                  </a:lnTo>
                  <a:lnTo>
                    <a:pt x="231" y="319"/>
                  </a:lnTo>
                  <a:lnTo>
                    <a:pt x="233" y="319"/>
                  </a:lnTo>
                  <a:lnTo>
                    <a:pt x="237" y="318"/>
                  </a:lnTo>
                  <a:lnTo>
                    <a:pt x="267" y="301"/>
                  </a:lnTo>
                  <a:lnTo>
                    <a:pt x="267" y="301"/>
                  </a:lnTo>
                  <a:lnTo>
                    <a:pt x="269" y="298"/>
                  </a:lnTo>
                  <a:lnTo>
                    <a:pt x="270" y="296"/>
                  </a:lnTo>
                  <a:lnTo>
                    <a:pt x="270" y="292"/>
                  </a:lnTo>
                  <a:lnTo>
                    <a:pt x="270" y="288"/>
                  </a:lnTo>
                  <a:lnTo>
                    <a:pt x="259" y="271"/>
                  </a:lnTo>
                  <a:lnTo>
                    <a:pt x="259" y="271"/>
                  </a:lnTo>
                  <a:lnTo>
                    <a:pt x="268" y="264"/>
                  </a:lnTo>
                  <a:lnTo>
                    <a:pt x="275" y="256"/>
                  </a:lnTo>
                  <a:lnTo>
                    <a:pt x="291" y="266"/>
                  </a:lnTo>
                  <a:lnTo>
                    <a:pt x="291" y="266"/>
                  </a:lnTo>
                  <a:lnTo>
                    <a:pt x="295" y="266"/>
                  </a:lnTo>
                  <a:lnTo>
                    <a:pt x="299" y="266"/>
                  </a:lnTo>
                  <a:lnTo>
                    <a:pt x="301" y="265"/>
                  </a:lnTo>
                  <a:lnTo>
                    <a:pt x="304" y="263"/>
                  </a:lnTo>
                  <a:lnTo>
                    <a:pt x="321" y="233"/>
                  </a:lnTo>
                  <a:lnTo>
                    <a:pt x="321" y="233"/>
                  </a:lnTo>
                  <a:lnTo>
                    <a:pt x="322" y="229"/>
                  </a:lnTo>
                  <a:lnTo>
                    <a:pt x="321" y="227"/>
                  </a:lnTo>
                  <a:lnTo>
                    <a:pt x="320" y="223"/>
                  </a:lnTo>
                  <a:lnTo>
                    <a:pt x="317" y="221"/>
                  </a:lnTo>
                  <a:lnTo>
                    <a:pt x="300" y="211"/>
                  </a:lnTo>
                  <a:lnTo>
                    <a:pt x="300" y="211"/>
                  </a:lnTo>
                  <a:lnTo>
                    <a:pt x="302" y="201"/>
                  </a:lnTo>
                  <a:lnTo>
                    <a:pt x="305" y="190"/>
                  </a:lnTo>
                  <a:lnTo>
                    <a:pt x="325" y="190"/>
                  </a:lnTo>
                  <a:lnTo>
                    <a:pt x="325" y="190"/>
                  </a:lnTo>
                  <a:lnTo>
                    <a:pt x="328" y="190"/>
                  </a:lnTo>
                  <a:lnTo>
                    <a:pt x="331" y="187"/>
                  </a:lnTo>
                  <a:lnTo>
                    <a:pt x="333" y="185"/>
                  </a:lnTo>
                  <a:lnTo>
                    <a:pt x="333" y="181"/>
                  </a:lnTo>
                  <a:lnTo>
                    <a:pt x="333" y="148"/>
                  </a:lnTo>
                  <a:lnTo>
                    <a:pt x="333" y="148"/>
                  </a:lnTo>
                  <a:lnTo>
                    <a:pt x="333" y="144"/>
                  </a:lnTo>
                  <a:lnTo>
                    <a:pt x="331" y="142"/>
                  </a:lnTo>
                  <a:lnTo>
                    <a:pt x="328" y="139"/>
                  </a:lnTo>
                  <a:lnTo>
                    <a:pt x="325" y="139"/>
                  </a:lnTo>
                  <a:lnTo>
                    <a:pt x="325" y="139"/>
                  </a:lnTo>
                  <a:close/>
                  <a:moveTo>
                    <a:pt x="167" y="255"/>
                  </a:moveTo>
                  <a:lnTo>
                    <a:pt x="167" y="255"/>
                  </a:lnTo>
                  <a:lnTo>
                    <a:pt x="158" y="254"/>
                  </a:lnTo>
                  <a:lnTo>
                    <a:pt x="149" y="253"/>
                  </a:lnTo>
                  <a:lnTo>
                    <a:pt x="141" y="251"/>
                  </a:lnTo>
                  <a:lnTo>
                    <a:pt x="132" y="248"/>
                  </a:lnTo>
                  <a:lnTo>
                    <a:pt x="125" y="244"/>
                  </a:lnTo>
                  <a:lnTo>
                    <a:pt x="117" y="240"/>
                  </a:lnTo>
                  <a:lnTo>
                    <a:pt x="110" y="234"/>
                  </a:lnTo>
                  <a:lnTo>
                    <a:pt x="104" y="229"/>
                  </a:lnTo>
                  <a:lnTo>
                    <a:pt x="99" y="223"/>
                  </a:lnTo>
                  <a:lnTo>
                    <a:pt x="94" y="216"/>
                  </a:lnTo>
                  <a:lnTo>
                    <a:pt x="89" y="208"/>
                  </a:lnTo>
                  <a:lnTo>
                    <a:pt x="85" y="201"/>
                  </a:lnTo>
                  <a:lnTo>
                    <a:pt x="83" y="192"/>
                  </a:lnTo>
                  <a:lnTo>
                    <a:pt x="80" y="184"/>
                  </a:lnTo>
                  <a:lnTo>
                    <a:pt x="79" y="175"/>
                  </a:lnTo>
                  <a:lnTo>
                    <a:pt x="78" y="166"/>
                  </a:lnTo>
                  <a:lnTo>
                    <a:pt x="78" y="166"/>
                  </a:lnTo>
                  <a:lnTo>
                    <a:pt x="79" y="158"/>
                  </a:lnTo>
                  <a:lnTo>
                    <a:pt x="80" y="148"/>
                  </a:lnTo>
                  <a:lnTo>
                    <a:pt x="83" y="140"/>
                  </a:lnTo>
                  <a:lnTo>
                    <a:pt x="85" y="132"/>
                  </a:lnTo>
                  <a:lnTo>
                    <a:pt x="89" y="124"/>
                  </a:lnTo>
                  <a:lnTo>
                    <a:pt x="94" y="117"/>
                  </a:lnTo>
                  <a:lnTo>
                    <a:pt x="99" y="110"/>
                  </a:lnTo>
                  <a:lnTo>
                    <a:pt x="104" y="103"/>
                  </a:lnTo>
                  <a:lnTo>
                    <a:pt x="110" y="97"/>
                  </a:lnTo>
                  <a:lnTo>
                    <a:pt x="117" y="92"/>
                  </a:lnTo>
                  <a:lnTo>
                    <a:pt x="125" y="89"/>
                  </a:lnTo>
                  <a:lnTo>
                    <a:pt x="132" y="85"/>
                  </a:lnTo>
                  <a:lnTo>
                    <a:pt x="141" y="81"/>
                  </a:lnTo>
                  <a:lnTo>
                    <a:pt x="149" y="79"/>
                  </a:lnTo>
                  <a:lnTo>
                    <a:pt x="158" y="78"/>
                  </a:lnTo>
                  <a:lnTo>
                    <a:pt x="167" y="78"/>
                  </a:lnTo>
                  <a:lnTo>
                    <a:pt x="167" y="78"/>
                  </a:lnTo>
                  <a:lnTo>
                    <a:pt x="177" y="78"/>
                  </a:lnTo>
                  <a:lnTo>
                    <a:pt x="185" y="79"/>
                  </a:lnTo>
                  <a:lnTo>
                    <a:pt x="194" y="81"/>
                  </a:lnTo>
                  <a:lnTo>
                    <a:pt x="201" y="85"/>
                  </a:lnTo>
                  <a:lnTo>
                    <a:pt x="210" y="89"/>
                  </a:lnTo>
                  <a:lnTo>
                    <a:pt x="216" y="92"/>
                  </a:lnTo>
                  <a:lnTo>
                    <a:pt x="223" y="97"/>
                  </a:lnTo>
                  <a:lnTo>
                    <a:pt x="230" y="103"/>
                  </a:lnTo>
                  <a:lnTo>
                    <a:pt x="236" y="110"/>
                  </a:lnTo>
                  <a:lnTo>
                    <a:pt x="241" y="117"/>
                  </a:lnTo>
                  <a:lnTo>
                    <a:pt x="246" y="124"/>
                  </a:lnTo>
                  <a:lnTo>
                    <a:pt x="249" y="132"/>
                  </a:lnTo>
                  <a:lnTo>
                    <a:pt x="252" y="140"/>
                  </a:lnTo>
                  <a:lnTo>
                    <a:pt x="254" y="148"/>
                  </a:lnTo>
                  <a:lnTo>
                    <a:pt x="255" y="158"/>
                  </a:lnTo>
                  <a:lnTo>
                    <a:pt x="255" y="166"/>
                  </a:lnTo>
                  <a:lnTo>
                    <a:pt x="255" y="166"/>
                  </a:lnTo>
                  <a:lnTo>
                    <a:pt x="255" y="175"/>
                  </a:lnTo>
                  <a:lnTo>
                    <a:pt x="254" y="184"/>
                  </a:lnTo>
                  <a:lnTo>
                    <a:pt x="252" y="192"/>
                  </a:lnTo>
                  <a:lnTo>
                    <a:pt x="249" y="201"/>
                  </a:lnTo>
                  <a:lnTo>
                    <a:pt x="246" y="208"/>
                  </a:lnTo>
                  <a:lnTo>
                    <a:pt x="241" y="216"/>
                  </a:lnTo>
                  <a:lnTo>
                    <a:pt x="236" y="223"/>
                  </a:lnTo>
                  <a:lnTo>
                    <a:pt x="230" y="229"/>
                  </a:lnTo>
                  <a:lnTo>
                    <a:pt x="223" y="234"/>
                  </a:lnTo>
                  <a:lnTo>
                    <a:pt x="216" y="240"/>
                  </a:lnTo>
                  <a:lnTo>
                    <a:pt x="210" y="244"/>
                  </a:lnTo>
                  <a:lnTo>
                    <a:pt x="201" y="248"/>
                  </a:lnTo>
                  <a:lnTo>
                    <a:pt x="194" y="251"/>
                  </a:lnTo>
                  <a:lnTo>
                    <a:pt x="185" y="253"/>
                  </a:lnTo>
                  <a:lnTo>
                    <a:pt x="177" y="254"/>
                  </a:lnTo>
                  <a:lnTo>
                    <a:pt x="167" y="255"/>
                  </a:lnTo>
                  <a:lnTo>
                    <a:pt x="167" y="255"/>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04">
              <a:extLst>
                <a:ext uri="{FF2B5EF4-FFF2-40B4-BE49-F238E27FC236}">
                  <a16:creationId xmlns:a16="http://schemas.microsoft.com/office/drawing/2014/main" id="{704E8A20-A602-AB30-51AB-F20A9F729222}"/>
                </a:ext>
              </a:extLst>
            </p:cNvPr>
            <p:cNvSpPr>
              <a:spLocks/>
            </p:cNvSpPr>
            <p:nvPr/>
          </p:nvSpPr>
          <p:spPr bwMode="auto">
            <a:xfrm>
              <a:off x="3462338" y="317500"/>
              <a:ext cx="260350" cy="528638"/>
            </a:xfrm>
            <a:custGeom>
              <a:avLst/>
              <a:gdLst>
                <a:gd name="T0" fmla="*/ 156 w 164"/>
                <a:gd name="T1" fmla="*/ 254 h 333"/>
                <a:gd name="T2" fmla="*/ 131 w 164"/>
                <a:gd name="T3" fmla="*/ 247 h 333"/>
                <a:gd name="T4" fmla="*/ 110 w 164"/>
                <a:gd name="T5" fmla="*/ 234 h 333"/>
                <a:gd name="T6" fmla="*/ 93 w 164"/>
                <a:gd name="T7" fmla="*/ 214 h 333"/>
                <a:gd name="T8" fmla="*/ 82 w 164"/>
                <a:gd name="T9" fmla="*/ 192 h 333"/>
                <a:gd name="T10" fmla="*/ 78 w 164"/>
                <a:gd name="T11" fmla="*/ 166 h 333"/>
                <a:gd name="T12" fmla="*/ 80 w 164"/>
                <a:gd name="T13" fmla="*/ 149 h 333"/>
                <a:gd name="T14" fmla="*/ 89 w 164"/>
                <a:gd name="T15" fmla="*/ 124 h 333"/>
                <a:gd name="T16" fmla="*/ 104 w 164"/>
                <a:gd name="T17" fmla="*/ 105 h 333"/>
                <a:gd name="T18" fmla="*/ 123 w 164"/>
                <a:gd name="T19" fmla="*/ 89 h 333"/>
                <a:gd name="T20" fmla="*/ 147 w 164"/>
                <a:gd name="T21" fmla="*/ 80 h 333"/>
                <a:gd name="T22" fmla="*/ 164 w 164"/>
                <a:gd name="T23" fmla="*/ 0 h 333"/>
                <a:gd name="T24" fmla="*/ 144 w 164"/>
                <a:gd name="T25" fmla="*/ 1 h 333"/>
                <a:gd name="T26" fmla="*/ 140 w 164"/>
                <a:gd name="T27" fmla="*/ 8 h 333"/>
                <a:gd name="T28" fmla="*/ 128 w 164"/>
                <a:gd name="T29" fmla="*/ 32 h 333"/>
                <a:gd name="T30" fmla="*/ 109 w 164"/>
                <a:gd name="T31" fmla="*/ 18 h 333"/>
                <a:gd name="T32" fmla="*/ 100 w 164"/>
                <a:gd name="T33" fmla="*/ 13 h 333"/>
                <a:gd name="T34" fmla="*/ 67 w 164"/>
                <a:gd name="T35" fmla="*/ 32 h 333"/>
                <a:gd name="T36" fmla="*/ 63 w 164"/>
                <a:gd name="T37" fmla="*/ 41 h 333"/>
                <a:gd name="T38" fmla="*/ 74 w 164"/>
                <a:gd name="T39" fmla="*/ 62 h 333"/>
                <a:gd name="T40" fmla="*/ 42 w 164"/>
                <a:gd name="T41" fmla="*/ 66 h 333"/>
                <a:gd name="T42" fmla="*/ 36 w 164"/>
                <a:gd name="T43" fmla="*/ 66 h 333"/>
                <a:gd name="T44" fmla="*/ 14 w 164"/>
                <a:gd name="T45" fmla="*/ 100 h 333"/>
                <a:gd name="T46" fmla="*/ 12 w 164"/>
                <a:gd name="T47" fmla="*/ 106 h 333"/>
                <a:gd name="T48" fmla="*/ 35 w 164"/>
                <a:gd name="T49" fmla="*/ 122 h 333"/>
                <a:gd name="T50" fmla="*/ 29 w 164"/>
                <a:gd name="T51" fmla="*/ 143 h 333"/>
                <a:gd name="T52" fmla="*/ 6 w 164"/>
                <a:gd name="T53" fmla="*/ 143 h 333"/>
                <a:gd name="T54" fmla="*/ 0 w 164"/>
                <a:gd name="T55" fmla="*/ 152 h 333"/>
                <a:gd name="T56" fmla="*/ 1 w 164"/>
                <a:gd name="T57" fmla="*/ 189 h 333"/>
                <a:gd name="T58" fmla="*/ 9 w 164"/>
                <a:gd name="T59" fmla="*/ 194 h 333"/>
                <a:gd name="T60" fmla="*/ 32 w 164"/>
                <a:gd name="T61" fmla="*/ 205 h 333"/>
                <a:gd name="T62" fmla="*/ 19 w 164"/>
                <a:gd name="T63" fmla="*/ 224 h 333"/>
                <a:gd name="T64" fmla="*/ 14 w 164"/>
                <a:gd name="T65" fmla="*/ 233 h 333"/>
                <a:gd name="T66" fmla="*/ 32 w 164"/>
                <a:gd name="T67" fmla="*/ 266 h 333"/>
                <a:gd name="T68" fmla="*/ 41 w 164"/>
                <a:gd name="T69" fmla="*/ 270 h 333"/>
                <a:gd name="T70" fmla="*/ 62 w 164"/>
                <a:gd name="T71" fmla="*/ 259 h 333"/>
                <a:gd name="T72" fmla="*/ 68 w 164"/>
                <a:gd name="T73" fmla="*/ 291 h 333"/>
                <a:gd name="T74" fmla="*/ 67 w 164"/>
                <a:gd name="T75" fmla="*/ 297 h 333"/>
                <a:gd name="T76" fmla="*/ 100 w 164"/>
                <a:gd name="T77" fmla="*/ 319 h 333"/>
                <a:gd name="T78" fmla="*/ 106 w 164"/>
                <a:gd name="T79" fmla="*/ 321 h 333"/>
                <a:gd name="T80" fmla="*/ 122 w 164"/>
                <a:gd name="T81" fmla="*/ 298 h 333"/>
                <a:gd name="T82" fmla="*/ 143 w 164"/>
                <a:gd name="T83" fmla="*/ 305 h 333"/>
                <a:gd name="T84" fmla="*/ 144 w 164"/>
                <a:gd name="T85" fmla="*/ 327 h 333"/>
                <a:gd name="T86" fmla="*/ 152 w 164"/>
                <a:gd name="T87"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333">
                  <a:moveTo>
                    <a:pt x="164" y="255"/>
                  </a:moveTo>
                  <a:lnTo>
                    <a:pt x="164" y="255"/>
                  </a:lnTo>
                  <a:lnTo>
                    <a:pt x="156" y="254"/>
                  </a:lnTo>
                  <a:lnTo>
                    <a:pt x="147" y="253"/>
                  </a:lnTo>
                  <a:lnTo>
                    <a:pt x="138" y="250"/>
                  </a:lnTo>
                  <a:lnTo>
                    <a:pt x="131" y="247"/>
                  </a:lnTo>
                  <a:lnTo>
                    <a:pt x="123" y="243"/>
                  </a:lnTo>
                  <a:lnTo>
                    <a:pt x="116" y="239"/>
                  </a:lnTo>
                  <a:lnTo>
                    <a:pt x="110" y="234"/>
                  </a:lnTo>
                  <a:lnTo>
                    <a:pt x="104" y="228"/>
                  </a:lnTo>
                  <a:lnTo>
                    <a:pt x="98" y="222"/>
                  </a:lnTo>
                  <a:lnTo>
                    <a:pt x="93" y="214"/>
                  </a:lnTo>
                  <a:lnTo>
                    <a:pt x="89" y="208"/>
                  </a:lnTo>
                  <a:lnTo>
                    <a:pt x="85" y="200"/>
                  </a:lnTo>
                  <a:lnTo>
                    <a:pt x="82" y="192"/>
                  </a:lnTo>
                  <a:lnTo>
                    <a:pt x="80" y="184"/>
                  </a:lnTo>
                  <a:lnTo>
                    <a:pt x="79" y="175"/>
                  </a:lnTo>
                  <a:lnTo>
                    <a:pt x="78" y="166"/>
                  </a:lnTo>
                  <a:lnTo>
                    <a:pt x="78" y="166"/>
                  </a:lnTo>
                  <a:lnTo>
                    <a:pt x="79" y="158"/>
                  </a:lnTo>
                  <a:lnTo>
                    <a:pt x="80" y="149"/>
                  </a:lnTo>
                  <a:lnTo>
                    <a:pt x="82" y="140"/>
                  </a:lnTo>
                  <a:lnTo>
                    <a:pt x="85" y="132"/>
                  </a:lnTo>
                  <a:lnTo>
                    <a:pt x="89" y="124"/>
                  </a:lnTo>
                  <a:lnTo>
                    <a:pt x="93" y="117"/>
                  </a:lnTo>
                  <a:lnTo>
                    <a:pt x="98" y="111"/>
                  </a:lnTo>
                  <a:lnTo>
                    <a:pt x="104" y="105"/>
                  </a:lnTo>
                  <a:lnTo>
                    <a:pt x="110" y="99"/>
                  </a:lnTo>
                  <a:lnTo>
                    <a:pt x="116" y="94"/>
                  </a:lnTo>
                  <a:lnTo>
                    <a:pt x="123" y="89"/>
                  </a:lnTo>
                  <a:lnTo>
                    <a:pt x="131" y="85"/>
                  </a:lnTo>
                  <a:lnTo>
                    <a:pt x="138" y="82"/>
                  </a:lnTo>
                  <a:lnTo>
                    <a:pt x="147" y="80"/>
                  </a:lnTo>
                  <a:lnTo>
                    <a:pt x="156" y="79"/>
                  </a:lnTo>
                  <a:lnTo>
                    <a:pt x="164" y="78"/>
                  </a:lnTo>
                  <a:lnTo>
                    <a:pt x="164" y="0"/>
                  </a:lnTo>
                  <a:lnTo>
                    <a:pt x="148" y="0"/>
                  </a:lnTo>
                  <a:lnTo>
                    <a:pt x="148" y="0"/>
                  </a:lnTo>
                  <a:lnTo>
                    <a:pt x="144" y="1"/>
                  </a:lnTo>
                  <a:lnTo>
                    <a:pt x="142" y="2"/>
                  </a:lnTo>
                  <a:lnTo>
                    <a:pt x="140" y="5"/>
                  </a:lnTo>
                  <a:lnTo>
                    <a:pt x="140" y="8"/>
                  </a:lnTo>
                  <a:lnTo>
                    <a:pt x="140" y="29"/>
                  </a:lnTo>
                  <a:lnTo>
                    <a:pt x="140" y="29"/>
                  </a:lnTo>
                  <a:lnTo>
                    <a:pt x="128" y="32"/>
                  </a:lnTo>
                  <a:lnTo>
                    <a:pt x="119" y="34"/>
                  </a:lnTo>
                  <a:lnTo>
                    <a:pt x="109" y="18"/>
                  </a:lnTo>
                  <a:lnTo>
                    <a:pt x="109" y="18"/>
                  </a:lnTo>
                  <a:lnTo>
                    <a:pt x="106" y="15"/>
                  </a:lnTo>
                  <a:lnTo>
                    <a:pt x="104" y="13"/>
                  </a:lnTo>
                  <a:lnTo>
                    <a:pt x="100" y="13"/>
                  </a:lnTo>
                  <a:lnTo>
                    <a:pt x="96" y="15"/>
                  </a:lnTo>
                  <a:lnTo>
                    <a:pt x="67" y="32"/>
                  </a:lnTo>
                  <a:lnTo>
                    <a:pt x="67" y="32"/>
                  </a:lnTo>
                  <a:lnTo>
                    <a:pt x="64" y="34"/>
                  </a:lnTo>
                  <a:lnTo>
                    <a:pt x="63" y="37"/>
                  </a:lnTo>
                  <a:lnTo>
                    <a:pt x="63" y="41"/>
                  </a:lnTo>
                  <a:lnTo>
                    <a:pt x="64" y="43"/>
                  </a:lnTo>
                  <a:lnTo>
                    <a:pt x="74" y="62"/>
                  </a:lnTo>
                  <a:lnTo>
                    <a:pt x="74" y="62"/>
                  </a:lnTo>
                  <a:lnTo>
                    <a:pt x="67" y="69"/>
                  </a:lnTo>
                  <a:lnTo>
                    <a:pt x="59" y="76"/>
                  </a:lnTo>
                  <a:lnTo>
                    <a:pt x="42" y="66"/>
                  </a:lnTo>
                  <a:lnTo>
                    <a:pt x="42" y="66"/>
                  </a:lnTo>
                  <a:lnTo>
                    <a:pt x="40" y="65"/>
                  </a:lnTo>
                  <a:lnTo>
                    <a:pt x="36" y="66"/>
                  </a:lnTo>
                  <a:lnTo>
                    <a:pt x="32" y="68"/>
                  </a:lnTo>
                  <a:lnTo>
                    <a:pt x="31" y="70"/>
                  </a:lnTo>
                  <a:lnTo>
                    <a:pt x="14" y="100"/>
                  </a:lnTo>
                  <a:lnTo>
                    <a:pt x="14" y="100"/>
                  </a:lnTo>
                  <a:lnTo>
                    <a:pt x="12" y="102"/>
                  </a:lnTo>
                  <a:lnTo>
                    <a:pt x="12" y="106"/>
                  </a:lnTo>
                  <a:lnTo>
                    <a:pt x="14" y="108"/>
                  </a:lnTo>
                  <a:lnTo>
                    <a:pt x="16" y="111"/>
                  </a:lnTo>
                  <a:lnTo>
                    <a:pt x="35" y="122"/>
                  </a:lnTo>
                  <a:lnTo>
                    <a:pt x="35" y="122"/>
                  </a:lnTo>
                  <a:lnTo>
                    <a:pt x="31" y="132"/>
                  </a:lnTo>
                  <a:lnTo>
                    <a:pt x="29" y="143"/>
                  </a:lnTo>
                  <a:lnTo>
                    <a:pt x="9" y="143"/>
                  </a:lnTo>
                  <a:lnTo>
                    <a:pt x="9" y="143"/>
                  </a:lnTo>
                  <a:lnTo>
                    <a:pt x="6" y="143"/>
                  </a:lnTo>
                  <a:lnTo>
                    <a:pt x="3" y="145"/>
                  </a:lnTo>
                  <a:lnTo>
                    <a:pt x="1" y="148"/>
                  </a:lnTo>
                  <a:lnTo>
                    <a:pt x="0" y="152"/>
                  </a:lnTo>
                  <a:lnTo>
                    <a:pt x="0" y="185"/>
                  </a:lnTo>
                  <a:lnTo>
                    <a:pt x="0" y="185"/>
                  </a:lnTo>
                  <a:lnTo>
                    <a:pt x="1" y="189"/>
                  </a:lnTo>
                  <a:lnTo>
                    <a:pt x="3" y="191"/>
                  </a:lnTo>
                  <a:lnTo>
                    <a:pt x="6" y="194"/>
                  </a:lnTo>
                  <a:lnTo>
                    <a:pt x="9" y="194"/>
                  </a:lnTo>
                  <a:lnTo>
                    <a:pt x="30" y="194"/>
                  </a:lnTo>
                  <a:lnTo>
                    <a:pt x="30" y="194"/>
                  </a:lnTo>
                  <a:lnTo>
                    <a:pt x="32" y="205"/>
                  </a:lnTo>
                  <a:lnTo>
                    <a:pt x="36" y="214"/>
                  </a:lnTo>
                  <a:lnTo>
                    <a:pt x="19" y="224"/>
                  </a:lnTo>
                  <a:lnTo>
                    <a:pt x="19" y="224"/>
                  </a:lnTo>
                  <a:lnTo>
                    <a:pt x="16" y="227"/>
                  </a:lnTo>
                  <a:lnTo>
                    <a:pt x="15" y="229"/>
                  </a:lnTo>
                  <a:lnTo>
                    <a:pt x="14" y="233"/>
                  </a:lnTo>
                  <a:lnTo>
                    <a:pt x="15" y="237"/>
                  </a:lnTo>
                  <a:lnTo>
                    <a:pt x="32" y="266"/>
                  </a:lnTo>
                  <a:lnTo>
                    <a:pt x="32" y="266"/>
                  </a:lnTo>
                  <a:lnTo>
                    <a:pt x="35" y="269"/>
                  </a:lnTo>
                  <a:lnTo>
                    <a:pt x="37" y="270"/>
                  </a:lnTo>
                  <a:lnTo>
                    <a:pt x="41" y="270"/>
                  </a:lnTo>
                  <a:lnTo>
                    <a:pt x="45" y="269"/>
                  </a:lnTo>
                  <a:lnTo>
                    <a:pt x="62" y="259"/>
                  </a:lnTo>
                  <a:lnTo>
                    <a:pt x="62" y="259"/>
                  </a:lnTo>
                  <a:lnTo>
                    <a:pt x="69" y="266"/>
                  </a:lnTo>
                  <a:lnTo>
                    <a:pt x="78" y="274"/>
                  </a:lnTo>
                  <a:lnTo>
                    <a:pt x="68" y="291"/>
                  </a:lnTo>
                  <a:lnTo>
                    <a:pt x="68" y="291"/>
                  </a:lnTo>
                  <a:lnTo>
                    <a:pt x="67" y="295"/>
                  </a:lnTo>
                  <a:lnTo>
                    <a:pt x="67" y="297"/>
                  </a:lnTo>
                  <a:lnTo>
                    <a:pt x="68" y="301"/>
                  </a:lnTo>
                  <a:lnTo>
                    <a:pt x="70" y="302"/>
                  </a:lnTo>
                  <a:lnTo>
                    <a:pt x="100" y="319"/>
                  </a:lnTo>
                  <a:lnTo>
                    <a:pt x="100" y="319"/>
                  </a:lnTo>
                  <a:lnTo>
                    <a:pt x="104" y="321"/>
                  </a:lnTo>
                  <a:lnTo>
                    <a:pt x="106" y="321"/>
                  </a:lnTo>
                  <a:lnTo>
                    <a:pt x="110" y="319"/>
                  </a:lnTo>
                  <a:lnTo>
                    <a:pt x="112" y="317"/>
                  </a:lnTo>
                  <a:lnTo>
                    <a:pt x="122" y="298"/>
                  </a:lnTo>
                  <a:lnTo>
                    <a:pt x="122" y="298"/>
                  </a:lnTo>
                  <a:lnTo>
                    <a:pt x="132" y="302"/>
                  </a:lnTo>
                  <a:lnTo>
                    <a:pt x="143" y="305"/>
                  </a:lnTo>
                  <a:lnTo>
                    <a:pt x="143" y="324"/>
                  </a:lnTo>
                  <a:lnTo>
                    <a:pt x="143" y="324"/>
                  </a:lnTo>
                  <a:lnTo>
                    <a:pt x="144" y="327"/>
                  </a:lnTo>
                  <a:lnTo>
                    <a:pt x="146" y="330"/>
                  </a:lnTo>
                  <a:lnTo>
                    <a:pt x="148" y="332"/>
                  </a:lnTo>
                  <a:lnTo>
                    <a:pt x="152" y="333"/>
                  </a:lnTo>
                  <a:lnTo>
                    <a:pt x="164" y="333"/>
                  </a:lnTo>
                  <a:lnTo>
                    <a:pt x="164" y="255"/>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06">
              <a:extLst>
                <a:ext uri="{FF2B5EF4-FFF2-40B4-BE49-F238E27FC236}">
                  <a16:creationId xmlns:a16="http://schemas.microsoft.com/office/drawing/2014/main" id="{516E8FD1-F0D4-3B63-F4F4-A724BCAD3C1E}"/>
                </a:ext>
              </a:extLst>
            </p:cNvPr>
            <p:cNvSpPr>
              <a:spLocks noEditPoints="1"/>
            </p:cNvSpPr>
            <p:nvPr/>
          </p:nvSpPr>
          <p:spPr bwMode="auto">
            <a:xfrm>
              <a:off x="3556000" y="409575"/>
              <a:ext cx="342900" cy="344488"/>
            </a:xfrm>
            <a:custGeom>
              <a:avLst/>
              <a:gdLst>
                <a:gd name="T0" fmla="*/ 97 w 216"/>
                <a:gd name="T1" fmla="*/ 1 h 217"/>
                <a:gd name="T2" fmla="*/ 66 w 216"/>
                <a:gd name="T3" fmla="*/ 8 h 217"/>
                <a:gd name="T4" fmla="*/ 40 w 216"/>
                <a:gd name="T5" fmla="*/ 24 h 217"/>
                <a:gd name="T6" fmla="*/ 19 w 216"/>
                <a:gd name="T7" fmla="*/ 48 h 217"/>
                <a:gd name="T8" fmla="*/ 5 w 216"/>
                <a:gd name="T9" fmla="*/ 76 h 217"/>
                <a:gd name="T10" fmla="*/ 0 w 216"/>
                <a:gd name="T11" fmla="*/ 108 h 217"/>
                <a:gd name="T12" fmla="*/ 2 w 216"/>
                <a:gd name="T13" fmla="*/ 131 h 217"/>
                <a:gd name="T14" fmla="*/ 13 w 216"/>
                <a:gd name="T15" fmla="*/ 160 h 217"/>
                <a:gd name="T16" fmla="*/ 31 w 216"/>
                <a:gd name="T17" fmla="*/ 185 h 217"/>
                <a:gd name="T18" fmla="*/ 56 w 216"/>
                <a:gd name="T19" fmla="*/ 203 h 217"/>
                <a:gd name="T20" fmla="*/ 87 w 216"/>
                <a:gd name="T21" fmla="*/ 214 h 217"/>
                <a:gd name="T22" fmla="*/ 108 w 216"/>
                <a:gd name="T23" fmla="*/ 217 h 217"/>
                <a:gd name="T24" fmla="*/ 140 w 216"/>
                <a:gd name="T25" fmla="*/ 212 h 217"/>
                <a:gd name="T26" fmla="*/ 168 w 216"/>
                <a:gd name="T27" fmla="*/ 198 h 217"/>
                <a:gd name="T28" fmla="*/ 192 w 216"/>
                <a:gd name="T29" fmla="*/ 177 h 217"/>
                <a:gd name="T30" fmla="*/ 208 w 216"/>
                <a:gd name="T31" fmla="*/ 150 h 217"/>
                <a:gd name="T32" fmla="*/ 215 w 216"/>
                <a:gd name="T33" fmla="*/ 119 h 217"/>
                <a:gd name="T34" fmla="*/ 215 w 216"/>
                <a:gd name="T35" fmla="*/ 97 h 217"/>
                <a:gd name="T36" fmla="*/ 208 w 216"/>
                <a:gd name="T37" fmla="*/ 66 h 217"/>
                <a:gd name="T38" fmla="*/ 192 w 216"/>
                <a:gd name="T39" fmla="*/ 39 h 217"/>
                <a:gd name="T40" fmla="*/ 168 w 216"/>
                <a:gd name="T41" fmla="*/ 18 h 217"/>
                <a:gd name="T42" fmla="*/ 140 w 216"/>
                <a:gd name="T43" fmla="*/ 5 h 217"/>
                <a:gd name="T44" fmla="*/ 108 w 216"/>
                <a:gd name="T45" fmla="*/ 0 h 217"/>
                <a:gd name="T46" fmla="*/ 108 w 216"/>
                <a:gd name="T47" fmla="*/ 197 h 217"/>
                <a:gd name="T48" fmla="*/ 82 w 216"/>
                <a:gd name="T49" fmla="*/ 193 h 217"/>
                <a:gd name="T50" fmla="*/ 58 w 216"/>
                <a:gd name="T51" fmla="*/ 182 h 217"/>
                <a:gd name="T52" fmla="*/ 40 w 216"/>
                <a:gd name="T53" fmla="*/ 165 h 217"/>
                <a:gd name="T54" fmla="*/ 26 w 216"/>
                <a:gd name="T55" fmla="*/ 143 h 217"/>
                <a:gd name="T56" fmla="*/ 20 w 216"/>
                <a:gd name="T57" fmla="*/ 117 h 217"/>
                <a:gd name="T58" fmla="*/ 20 w 216"/>
                <a:gd name="T59" fmla="*/ 100 h 217"/>
                <a:gd name="T60" fmla="*/ 26 w 216"/>
                <a:gd name="T61" fmla="*/ 74 h 217"/>
                <a:gd name="T62" fmla="*/ 40 w 216"/>
                <a:gd name="T63" fmla="*/ 52 h 217"/>
                <a:gd name="T64" fmla="*/ 58 w 216"/>
                <a:gd name="T65" fmla="*/ 34 h 217"/>
                <a:gd name="T66" fmla="*/ 82 w 216"/>
                <a:gd name="T67" fmla="*/ 23 h 217"/>
                <a:gd name="T68" fmla="*/ 108 w 216"/>
                <a:gd name="T69" fmla="*/ 20 h 217"/>
                <a:gd name="T70" fmla="*/ 126 w 216"/>
                <a:gd name="T71" fmla="*/ 21 h 217"/>
                <a:gd name="T72" fmla="*/ 151 w 216"/>
                <a:gd name="T73" fmla="*/ 31 h 217"/>
                <a:gd name="T74" fmla="*/ 171 w 216"/>
                <a:gd name="T75" fmla="*/ 45 h 217"/>
                <a:gd name="T76" fmla="*/ 187 w 216"/>
                <a:gd name="T77" fmla="*/ 66 h 217"/>
                <a:gd name="T78" fmla="*/ 195 w 216"/>
                <a:gd name="T79" fmla="*/ 90 h 217"/>
                <a:gd name="T80" fmla="*/ 196 w 216"/>
                <a:gd name="T81" fmla="*/ 108 h 217"/>
                <a:gd name="T82" fmla="*/ 193 w 216"/>
                <a:gd name="T83" fmla="*/ 134 h 217"/>
                <a:gd name="T84" fmla="*/ 182 w 216"/>
                <a:gd name="T85" fmla="*/ 158 h 217"/>
                <a:gd name="T86" fmla="*/ 164 w 216"/>
                <a:gd name="T87" fmla="*/ 176 h 217"/>
                <a:gd name="T88" fmla="*/ 142 w 216"/>
                <a:gd name="T89" fmla="*/ 190 h 217"/>
                <a:gd name="T90" fmla="*/ 118 w 216"/>
                <a:gd name="T91" fmla="*/ 19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6" h="217">
                  <a:moveTo>
                    <a:pt x="108" y="0"/>
                  </a:moveTo>
                  <a:lnTo>
                    <a:pt x="108" y="0"/>
                  </a:lnTo>
                  <a:lnTo>
                    <a:pt x="97" y="1"/>
                  </a:lnTo>
                  <a:lnTo>
                    <a:pt x="87" y="2"/>
                  </a:lnTo>
                  <a:lnTo>
                    <a:pt x="76" y="5"/>
                  </a:lnTo>
                  <a:lnTo>
                    <a:pt x="66" y="8"/>
                  </a:lnTo>
                  <a:lnTo>
                    <a:pt x="56" y="13"/>
                  </a:lnTo>
                  <a:lnTo>
                    <a:pt x="47" y="18"/>
                  </a:lnTo>
                  <a:lnTo>
                    <a:pt x="40" y="24"/>
                  </a:lnTo>
                  <a:lnTo>
                    <a:pt x="31" y="32"/>
                  </a:lnTo>
                  <a:lnTo>
                    <a:pt x="25" y="39"/>
                  </a:lnTo>
                  <a:lnTo>
                    <a:pt x="19" y="48"/>
                  </a:lnTo>
                  <a:lnTo>
                    <a:pt x="13" y="57"/>
                  </a:lnTo>
                  <a:lnTo>
                    <a:pt x="9" y="66"/>
                  </a:lnTo>
                  <a:lnTo>
                    <a:pt x="5" y="76"/>
                  </a:lnTo>
                  <a:lnTo>
                    <a:pt x="2" y="86"/>
                  </a:lnTo>
                  <a:lnTo>
                    <a:pt x="0" y="97"/>
                  </a:lnTo>
                  <a:lnTo>
                    <a:pt x="0" y="108"/>
                  </a:lnTo>
                  <a:lnTo>
                    <a:pt x="0" y="108"/>
                  </a:lnTo>
                  <a:lnTo>
                    <a:pt x="0" y="119"/>
                  </a:lnTo>
                  <a:lnTo>
                    <a:pt x="2" y="131"/>
                  </a:lnTo>
                  <a:lnTo>
                    <a:pt x="5" y="140"/>
                  </a:lnTo>
                  <a:lnTo>
                    <a:pt x="9" y="150"/>
                  </a:lnTo>
                  <a:lnTo>
                    <a:pt x="13" y="160"/>
                  </a:lnTo>
                  <a:lnTo>
                    <a:pt x="19" y="169"/>
                  </a:lnTo>
                  <a:lnTo>
                    <a:pt x="25" y="177"/>
                  </a:lnTo>
                  <a:lnTo>
                    <a:pt x="31" y="185"/>
                  </a:lnTo>
                  <a:lnTo>
                    <a:pt x="40" y="191"/>
                  </a:lnTo>
                  <a:lnTo>
                    <a:pt x="47" y="198"/>
                  </a:lnTo>
                  <a:lnTo>
                    <a:pt x="56" y="203"/>
                  </a:lnTo>
                  <a:lnTo>
                    <a:pt x="66" y="208"/>
                  </a:lnTo>
                  <a:lnTo>
                    <a:pt x="76" y="212"/>
                  </a:lnTo>
                  <a:lnTo>
                    <a:pt x="87" y="214"/>
                  </a:lnTo>
                  <a:lnTo>
                    <a:pt x="97" y="216"/>
                  </a:lnTo>
                  <a:lnTo>
                    <a:pt x="108" y="217"/>
                  </a:lnTo>
                  <a:lnTo>
                    <a:pt x="108" y="217"/>
                  </a:lnTo>
                  <a:lnTo>
                    <a:pt x="119" y="216"/>
                  </a:lnTo>
                  <a:lnTo>
                    <a:pt x="130" y="214"/>
                  </a:lnTo>
                  <a:lnTo>
                    <a:pt x="140" y="212"/>
                  </a:lnTo>
                  <a:lnTo>
                    <a:pt x="150" y="208"/>
                  </a:lnTo>
                  <a:lnTo>
                    <a:pt x="159" y="203"/>
                  </a:lnTo>
                  <a:lnTo>
                    <a:pt x="168" y="198"/>
                  </a:lnTo>
                  <a:lnTo>
                    <a:pt x="177" y="191"/>
                  </a:lnTo>
                  <a:lnTo>
                    <a:pt x="184" y="185"/>
                  </a:lnTo>
                  <a:lnTo>
                    <a:pt x="192" y="177"/>
                  </a:lnTo>
                  <a:lnTo>
                    <a:pt x="198" y="169"/>
                  </a:lnTo>
                  <a:lnTo>
                    <a:pt x="203" y="160"/>
                  </a:lnTo>
                  <a:lnTo>
                    <a:pt x="208" y="150"/>
                  </a:lnTo>
                  <a:lnTo>
                    <a:pt x="211" y="140"/>
                  </a:lnTo>
                  <a:lnTo>
                    <a:pt x="214" y="131"/>
                  </a:lnTo>
                  <a:lnTo>
                    <a:pt x="215" y="119"/>
                  </a:lnTo>
                  <a:lnTo>
                    <a:pt x="216" y="108"/>
                  </a:lnTo>
                  <a:lnTo>
                    <a:pt x="216" y="108"/>
                  </a:lnTo>
                  <a:lnTo>
                    <a:pt x="215" y="97"/>
                  </a:lnTo>
                  <a:lnTo>
                    <a:pt x="214" y="86"/>
                  </a:lnTo>
                  <a:lnTo>
                    <a:pt x="211" y="76"/>
                  </a:lnTo>
                  <a:lnTo>
                    <a:pt x="208" y="66"/>
                  </a:lnTo>
                  <a:lnTo>
                    <a:pt x="203" y="57"/>
                  </a:lnTo>
                  <a:lnTo>
                    <a:pt x="198" y="48"/>
                  </a:lnTo>
                  <a:lnTo>
                    <a:pt x="192" y="39"/>
                  </a:lnTo>
                  <a:lnTo>
                    <a:pt x="184" y="32"/>
                  </a:lnTo>
                  <a:lnTo>
                    <a:pt x="177" y="24"/>
                  </a:lnTo>
                  <a:lnTo>
                    <a:pt x="168" y="18"/>
                  </a:lnTo>
                  <a:lnTo>
                    <a:pt x="159" y="13"/>
                  </a:lnTo>
                  <a:lnTo>
                    <a:pt x="150" y="8"/>
                  </a:lnTo>
                  <a:lnTo>
                    <a:pt x="140" y="5"/>
                  </a:lnTo>
                  <a:lnTo>
                    <a:pt x="130" y="2"/>
                  </a:lnTo>
                  <a:lnTo>
                    <a:pt x="119" y="1"/>
                  </a:lnTo>
                  <a:lnTo>
                    <a:pt x="108" y="0"/>
                  </a:lnTo>
                  <a:lnTo>
                    <a:pt x="108" y="0"/>
                  </a:lnTo>
                  <a:close/>
                  <a:moveTo>
                    <a:pt x="108" y="197"/>
                  </a:moveTo>
                  <a:lnTo>
                    <a:pt x="108" y="197"/>
                  </a:lnTo>
                  <a:lnTo>
                    <a:pt x="99" y="196"/>
                  </a:lnTo>
                  <a:lnTo>
                    <a:pt x="90" y="195"/>
                  </a:lnTo>
                  <a:lnTo>
                    <a:pt x="82" y="193"/>
                  </a:lnTo>
                  <a:lnTo>
                    <a:pt x="73" y="190"/>
                  </a:lnTo>
                  <a:lnTo>
                    <a:pt x="66" y="186"/>
                  </a:lnTo>
                  <a:lnTo>
                    <a:pt x="58" y="182"/>
                  </a:lnTo>
                  <a:lnTo>
                    <a:pt x="51" y="176"/>
                  </a:lnTo>
                  <a:lnTo>
                    <a:pt x="45" y="171"/>
                  </a:lnTo>
                  <a:lnTo>
                    <a:pt x="40" y="165"/>
                  </a:lnTo>
                  <a:lnTo>
                    <a:pt x="35" y="158"/>
                  </a:lnTo>
                  <a:lnTo>
                    <a:pt x="30" y="150"/>
                  </a:lnTo>
                  <a:lnTo>
                    <a:pt x="26" y="143"/>
                  </a:lnTo>
                  <a:lnTo>
                    <a:pt x="24" y="134"/>
                  </a:lnTo>
                  <a:lnTo>
                    <a:pt x="21" y="126"/>
                  </a:lnTo>
                  <a:lnTo>
                    <a:pt x="20" y="117"/>
                  </a:lnTo>
                  <a:lnTo>
                    <a:pt x="19" y="108"/>
                  </a:lnTo>
                  <a:lnTo>
                    <a:pt x="19" y="108"/>
                  </a:lnTo>
                  <a:lnTo>
                    <a:pt x="20" y="100"/>
                  </a:lnTo>
                  <a:lnTo>
                    <a:pt x="21" y="90"/>
                  </a:lnTo>
                  <a:lnTo>
                    <a:pt x="24" y="82"/>
                  </a:lnTo>
                  <a:lnTo>
                    <a:pt x="26" y="74"/>
                  </a:lnTo>
                  <a:lnTo>
                    <a:pt x="30" y="66"/>
                  </a:lnTo>
                  <a:lnTo>
                    <a:pt x="35" y="59"/>
                  </a:lnTo>
                  <a:lnTo>
                    <a:pt x="40" y="52"/>
                  </a:lnTo>
                  <a:lnTo>
                    <a:pt x="45" y="45"/>
                  </a:lnTo>
                  <a:lnTo>
                    <a:pt x="51" y="39"/>
                  </a:lnTo>
                  <a:lnTo>
                    <a:pt x="58" y="34"/>
                  </a:lnTo>
                  <a:lnTo>
                    <a:pt x="66" y="31"/>
                  </a:lnTo>
                  <a:lnTo>
                    <a:pt x="73" y="27"/>
                  </a:lnTo>
                  <a:lnTo>
                    <a:pt x="82" y="23"/>
                  </a:lnTo>
                  <a:lnTo>
                    <a:pt x="90" y="21"/>
                  </a:lnTo>
                  <a:lnTo>
                    <a:pt x="99" y="20"/>
                  </a:lnTo>
                  <a:lnTo>
                    <a:pt x="108" y="20"/>
                  </a:lnTo>
                  <a:lnTo>
                    <a:pt x="108" y="20"/>
                  </a:lnTo>
                  <a:lnTo>
                    <a:pt x="118" y="20"/>
                  </a:lnTo>
                  <a:lnTo>
                    <a:pt x="126" y="21"/>
                  </a:lnTo>
                  <a:lnTo>
                    <a:pt x="135" y="23"/>
                  </a:lnTo>
                  <a:lnTo>
                    <a:pt x="142" y="27"/>
                  </a:lnTo>
                  <a:lnTo>
                    <a:pt x="151" y="31"/>
                  </a:lnTo>
                  <a:lnTo>
                    <a:pt x="157" y="34"/>
                  </a:lnTo>
                  <a:lnTo>
                    <a:pt x="164" y="39"/>
                  </a:lnTo>
                  <a:lnTo>
                    <a:pt x="171" y="45"/>
                  </a:lnTo>
                  <a:lnTo>
                    <a:pt x="177" y="52"/>
                  </a:lnTo>
                  <a:lnTo>
                    <a:pt x="182" y="59"/>
                  </a:lnTo>
                  <a:lnTo>
                    <a:pt x="187" y="66"/>
                  </a:lnTo>
                  <a:lnTo>
                    <a:pt x="190" y="74"/>
                  </a:lnTo>
                  <a:lnTo>
                    <a:pt x="193" y="82"/>
                  </a:lnTo>
                  <a:lnTo>
                    <a:pt x="195" y="90"/>
                  </a:lnTo>
                  <a:lnTo>
                    <a:pt x="196" y="100"/>
                  </a:lnTo>
                  <a:lnTo>
                    <a:pt x="196" y="108"/>
                  </a:lnTo>
                  <a:lnTo>
                    <a:pt x="196" y="108"/>
                  </a:lnTo>
                  <a:lnTo>
                    <a:pt x="196" y="117"/>
                  </a:lnTo>
                  <a:lnTo>
                    <a:pt x="195" y="126"/>
                  </a:lnTo>
                  <a:lnTo>
                    <a:pt x="193" y="134"/>
                  </a:lnTo>
                  <a:lnTo>
                    <a:pt x="190" y="143"/>
                  </a:lnTo>
                  <a:lnTo>
                    <a:pt x="187" y="150"/>
                  </a:lnTo>
                  <a:lnTo>
                    <a:pt x="182" y="158"/>
                  </a:lnTo>
                  <a:lnTo>
                    <a:pt x="177" y="165"/>
                  </a:lnTo>
                  <a:lnTo>
                    <a:pt x="171" y="171"/>
                  </a:lnTo>
                  <a:lnTo>
                    <a:pt x="164" y="176"/>
                  </a:lnTo>
                  <a:lnTo>
                    <a:pt x="157" y="182"/>
                  </a:lnTo>
                  <a:lnTo>
                    <a:pt x="151" y="186"/>
                  </a:lnTo>
                  <a:lnTo>
                    <a:pt x="142" y="190"/>
                  </a:lnTo>
                  <a:lnTo>
                    <a:pt x="135" y="193"/>
                  </a:lnTo>
                  <a:lnTo>
                    <a:pt x="126" y="195"/>
                  </a:lnTo>
                  <a:lnTo>
                    <a:pt x="118" y="196"/>
                  </a:lnTo>
                  <a:lnTo>
                    <a:pt x="108" y="197"/>
                  </a:lnTo>
                  <a:lnTo>
                    <a:pt x="108" y="197"/>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07">
              <a:extLst>
                <a:ext uri="{FF2B5EF4-FFF2-40B4-BE49-F238E27FC236}">
                  <a16:creationId xmlns:a16="http://schemas.microsoft.com/office/drawing/2014/main" id="{9A88587A-EC0E-2E5C-29E5-3610756D587C}"/>
                </a:ext>
              </a:extLst>
            </p:cNvPr>
            <p:cNvSpPr>
              <a:spLocks/>
            </p:cNvSpPr>
            <p:nvPr/>
          </p:nvSpPr>
          <p:spPr bwMode="auto">
            <a:xfrm>
              <a:off x="3722688" y="409575"/>
              <a:ext cx="176213" cy="344488"/>
            </a:xfrm>
            <a:custGeom>
              <a:avLst/>
              <a:gdLst>
                <a:gd name="T0" fmla="*/ 3 w 111"/>
                <a:gd name="T1" fmla="*/ 0 h 217"/>
                <a:gd name="T2" fmla="*/ 0 w 111"/>
                <a:gd name="T3" fmla="*/ 20 h 217"/>
                <a:gd name="T4" fmla="*/ 3 w 111"/>
                <a:gd name="T5" fmla="*/ 20 h 217"/>
                <a:gd name="T6" fmla="*/ 13 w 111"/>
                <a:gd name="T7" fmla="*/ 20 h 217"/>
                <a:gd name="T8" fmla="*/ 30 w 111"/>
                <a:gd name="T9" fmla="*/ 23 h 217"/>
                <a:gd name="T10" fmla="*/ 46 w 111"/>
                <a:gd name="T11" fmla="*/ 31 h 217"/>
                <a:gd name="T12" fmla="*/ 59 w 111"/>
                <a:gd name="T13" fmla="*/ 39 h 217"/>
                <a:gd name="T14" fmla="*/ 72 w 111"/>
                <a:gd name="T15" fmla="*/ 52 h 217"/>
                <a:gd name="T16" fmla="*/ 82 w 111"/>
                <a:gd name="T17" fmla="*/ 66 h 217"/>
                <a:gd name="T18" fmla="*/ 88 w 111"/>
                <a:gd name="T19" fmla="*/ 82 h 217"/>
                <a:gd name="T20" fmla="*/ 91 w 111"/>
                <a:gd name="T21" fmla="*/ 100 h 217"/>
                <a:gd name="T22" fmla="*/ 91 w 111"/>
                <a:gd name="T23" fmla="*/ 108 h 217"/>
                <a:gd name="T24" fmla="*/ 90 w 111"/>
                <a:gd name="T25" fmla="*/ 126 h 217"/>
                <a:gd name="T26" fmla="*/ 85 w 111"/>
                <a:gd name="T27" fmla="*/ 143 h 217"/>
                <a:gd name="T28" fmla="*/ 77 w 111"/>
                <a:gd name="T29" fmla="*/ 158 h 217"/>
                <a:gd name="T30" fmla="*/ 66 w 111"/>
                <a:gd name="T31" fmla="*/ 171 h 217"/>
                <a:gd name="T32" fmla="*/ 52 w 111"/>
                <a:gd name="T33" fmla="*/ 182 h 217"/>
                <a:gd name="T34" fmla="*/ 37 w 111"/>
                <a:gd name="T35" fmla="*/ 190 h 217"/>
                <a:gd name="T36" fmla="*/ 21 w 111"/>
                <a:gd name="T37" fmla="*/ 195 h 217"/>
                <a:gd name="T38" fmla="*/ 3 w 111"/>
                <a:gd name="T39" fmla="*/ 197 h 217"/>
                <a:gd name="T40" fmla="*/ 0 w 111"/>
                <a:gd name="T41" fmla="*/ 197 h 217"/>
                <a:gd name="T42" fmla="*/ 0 w 111"/>
                <a:gd name="T43" fmla="*/ 216 h 217"/>
                <a:gd name="T44" fmla="*/ 3 w 111"/>
                <a:gd name="T45" fmla="*/ 217 h 217"/>
                <a:gd name="T46" fmla="*/ 25 w 111"/>
                <a:gd name="T47" fmla="*/ 214 h 217"/>
                <a:gd name="T48" fmla="*/ 45 w 111"/>
                <a:gd name="T49" fmla="*/ 208 h 217"/>
                <a:gd name="T50" fmla="*/ 63 w 111"/>
                <a:gd name="T51" fmla="*/ 198 h 217"/>
                <a:gd name="T52" fmla="*/ 79 w 111"/>
                <a:gd name="T53" fmla="*/ 185 h 217"/>
                <a:gd name="T54" fmla="*/ 93 w 111"/>
                <a:gd name="T55" fmla="*/ 169 h 217"/>
                <a:gd name="T56" fmla="*/ 103 w 111"/>
                <a:gd name="T57" fmla="*/ 150 h 217"/>
                <a:gd name="T58" fmla="*/ 109 w 111"/>
                <a:gd name="T59" fmla="*/ 131 h 217"/>
                <a:gd name="T60" fmla="*/ 111 w 111"/>
                <a:gd name="T61" fmla="*/ 108 h 217"/>
                <a:gd name="T62" fmla="*/ 110 w 111"/>
                <a:gd name="T63" fmla="*/ 97 h 217"/>
                <a:gd name="T64" fmla="*/ 106 w 111"/>
                <a:gd name="T65" fmla="*/ 76 h 217"/>
                <a:gd name="T66" fmla="*/ 98 w 111"/>
                <a:gd name="T67" fmla="*/ 57 h 217"/>
                <a:gd name="T68" fmla="*/ 87 w 111"/>
                <a:gd name="T69" fmla="*/ 39 h 217"/>
                <a:gd name="T70" fmla="*/ 72 w 111"/>
                <a:gd name="T71" fmla="*/ 24 h 217"/>
                <a:gd name="T72" fmla="*/ 54 w 111"/>
                <a:gd name="T73" fmla="*/ 13 h 217"/>
                <a:gd name="T74" fmla="*/ 35 w 111"/>
                <a:gd name="T75" fmla="*/ 5 h 217"/>
                <a:gd name="T76" fmla="*/ 14 w 111"/>
                <a:gd name="T77" fmla="*/ 1 h 217"/>
                <a:gd name="T78" fmla="*/ 3 w 111"/>
                <a:gd name="T7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1" h="217">
                  <a:moveTo>
                    <a:pt x="3" y="0"/>
                  </a:moveTo>
                  <a:lnTo>
                    <a:pt x="3" y="0"/>
                  </a:lnTo>
                  <a:lnTo>
                    <a:pt x="0" y="0"/>
                  </a:lnTo>
                  <a:lnTo>
                    <a:pt x="0" y="20"/>
                  </a:lnTo>
                  <a:lnTo>
                    <a:pt x="0" y="20"/>
                  </a:lnTo>
                  <a:lnTo>
                    <a:pt x="3" y="20"/>
                  </a:lnTo>
                  <a:lnTo>
                    <a:pt x="3" y="20"/>
                  </a:lnTo>
                  <a:lnTo>
                    <a:pt x="13" y="20"/>
                  </a:lnTo>
                  <a:lnTo>
                    <a:pt x="21" y="21"/>
                  </a:lnTo>
                  <a:lnTo>
                    <a:pt x="30" y="23"/>
                  </a:lnTo>
                  <a:lnTo>
                    <a:pt x="37" y="27"/>
                  </a:lnTo>
                  <a:lnTo>
                    <a:pt x="46" y="31"/>
                  </a:lnTo>
                  <a:lnTo>
                    <a:pt x="52" y="34"/>
                  </a:lnTo>
                  <a:lnTo>
                    <a:pt x="59" y="39"/>
                  </a:lnTo>
                  <a:lnTo>
                    <a:pt x="66" y="45"/>
                  </a:lnTo>
                  <a:lnTo>
                    <a:pt x="72" y="52"/>
                  </a:lnTo>
                  <a:lnTo>
                    <a:pt x="77" y="59"/>
                  </a:lnTo>
                  <a:lnTo>
                    <a:pt x="82" y="66"/>
                  </a:lnTo>
                  <a:lnTo>
                    <a:pt x="85" y="74"/>
                  </a:lnTo>
                  <a:lnTo>
                    <a:pt x="88" y="82"/>
                  </a:lnTo>
                  <a:lnTo>
                    <a:pt x="90" y="90"/>
                  </a:lnTo>
                  <a:lnTo>
                    <a:pt x="91" y="100"/>
                  </a:lnTo>
                  <a:lnTo>
                    <a:pt x="91" y="108"/>
                  </a:lnTo>
                  <a:lnTo>
                    <a:pt x="91" y="108"/>
                  </a:lnTo>
                  <a:lnTo>
                    <a:pt x="91" y="117"/>
                  </a:lnTo>
                  <a:lnTo>
                    <a:pt x="90" y="126"/>
                  </a:lnTo>
                  <a:lnTo>
                    <a:pt x="88" y="134"/>
                  </a:lnTo>
                  <a:lnTo>
                    <a:pt x="85" y="143"/>
                  </a:lnTo>
                  <a:lnTo>
                    <a:pt x="82" y="150"/>
                  </a:lnTo>
                  <a:lnTo>
                    <a:pt x="77" y="158"/>
                  </a:lnTo>
                  <a:lnTo>
                    <a:pt x="72" y="165"/>
                  </a:lnTo>
                  <a:lnTo>
                    <a:pt x="66" y="171"/>
                  </a:lnTo>
                  <a:lnTo>
                    <a:pt x="59" y="176"/>
                  </a:lnTo>
                  <a:lnTo>
                    <a:pt x="52" y="182"/>
                  </a:lnTo>
                  <a:lnTo>
                    <a:pt x="46" y="186"/>
                  </a:lnTo>
                  <a:lnTo>
                    <a:pt x="37" y="190"/>
                  </a:lnTo>
                  <a:lnTo>
                    <a:pt x="30" y="193"/>
                  </a:lnTo>
                  <a:lnTo>
                    <a:pt x="21" y="195"/>
                  </a:lnTo>
                  <a:lnTo>
                    <a:pt x="13" y="196"/>
                  </a:lnTo>
                  <a:lnTo>
                    <a:pt x="3" y="197"/>
                  </a:lnTo>
                  <a:lnTo>
                    <a:pt x="3" y="197"/>
                  </a:lnTo>
                  <a:lnTo>
                    <a:pt x="0" y="197"/>
                  </a:lnTo>
                  <a:lnTo>
                    <a:pt x="0" y="216"/>
                  </a:lnTo>
                  <a:lnTo>
                    <a:pt x="0" y="216"/>
                  </a:lnTo>
                  <a:lnTo>
                    <a:pt x="3" y="217"/>
                  </a:lnTo>
                  <a:lnTo>
                    <a:pt x="3" y="217"/>
                  </a:lnTo>
                  <a:lnTo>
                    <a:pt x="14" y="216"/>
                  </a:lnTo>
                  <a:lnTo>
                    <a:pt x="25" y="214"/>
                  </a:lnTo>
                  <a:lnTo>
                    <a:pt x="35" y="212"/>
                  </a:lnTo>
                  <a:lnTo>
                    <a:pt x="45" y="208"/>
                  </a:lnTo>
                  <a:lnTo>
                    <a:pt x="54" y="203"/>
                  </a:lnTo>
                  <a:lnTo>
                    <a:pt x="63" y="198"/>
                  </a:lnTo>
                  <a:lnTo>
                    <a:pt x="72" y="191"/>
                  </a:lnTo>
                  <a:lnTo>
                    <a:pt x="79" y="185"/>
                  </a:lnTo>
                  <a:lnTo>
                    <a:pt x="87" y="177"/>
                  </a:lnTo>
                  <a:lnTo>
                    <a:pt x="93" y="169"/>
                  </a:lnTo>
                  <a:lnTo>
                    <a:pt x="98" y="160"/>
                  </a:lnTo>
                  <a:lnTo>
                    <a:pt x="103" y="150"/>
                  </a:lnTo>
                  <a:lnTo>
                    <a:pt x="106" y="140"/>
                  </a:lnTo>
                  <a:lnTo>
                    <a:pt x="109" y="131"/>
                  </a:lnTo>
                  <a:lnTo>
                    <a:pt x="110" y="119"/>
                  </a:lnTo>
                  <a:lnTo>
                    <a:pt x="111" y="108"/>
                  </a:lnTo>
                  <a:lnTo>
                    <a:pt x="111" y="108"/>
                  </a:lnTo>
                  <a:lnTo>
                    <a:pt x="110" y="97"/>
                  </a:lnTo>
                  <a:lnTo>
                    <a:pt x="109" y="86"/>
                  </a:lnTo>
                  <a:lnTo>
                    <a:pt x="106" y="76"/>
                  </a:lnTo>
                  <a:lnTo>
                    <a:pt x="103" y="66"/>
                  </a:lnTo>
                  <a:lnTo>
                    <a:pt x="98" y="57"/>
                  </a:lnTo>
                  <a:lnTo>
                    <a:pt x="93" y="48"/>
                  </a:lnTo>
                  <a:lnTo>
                    <a:pt x="87" y="39"/>
                  </a:lnTo>
                  <a:lnTo>
                    <a:pt x="79" y="32"/>
                  </a:lnTo>
                  <a:lnTo>
                    <a:pt x="72" y="24"/>
                  </a:lnTo>
                  <a:lnTo>
                    <a:pt x="63" y="18"/>
                  </a:lnTo>
                  <a:lnTo>
                    <a:pt x="54" y="13"/>
                  </a:lnTo>
                  <a:lnTo>
                    <a:pt x="45" y="8"/>
                  </a:lnTo>
                  <a:lnTo>
                    <a:pt x="35" y="5"/>
                  </a:lnTo>
                  <a:lnTo>
                    <a:pt x="25" y="2"/>
                  </a:lnTo>
                  <a:lnTo>
                    <a:pt x="14" y="1"/>
                  </a:lnTo>
                  <a:lnTo>
                    <a:pt x="3" y="0"/>
                  </a:lnTo>
                  <a:lnTo>
                    <a:pt x="3" y="0"/>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208">
              <a:extLst>
                <a:ext uri="{FF2B5EF4-FFF2-40B4-BE49-F238E27FC236}">
                  <a16:creationId xmlns:a16="http://schemas.microsoft.com/office/drawing/2014/main" id="{4FCB0725-E885-1948-EB73-A0A70D936628}"/>
                </a:ext>
              </a:extLst>
            </p:cNvPr>
            <p:cNvSpPr>
              <a:spLocks/>
            </p:cNvSpPr>
            <p:nvPr/>
          </p:nvSpPr>
          <p:spPr bwMode="auto">
            <a:xfrm>
              <a:off x="3762375" y="617538"/>
              <a:ext cx="276225" cy="276225"/>
            </a:xfrm>
            <a:custGeom>
              <a:avLst/>
              <a:gdLst>
                <a:gd name="T0" fmla="*/ 164 w 174"/>
                <a:gd name="T1" fmla="*/ 164 h 174"/>
                <a:gd name="T2" fmla="*/ 164 w 174"/>
                <a:gd name="T3" fmla="*/ 164 h 174"/>
                <a:gd name="T4" fmla="*/ 164 w 174"/>
                <a:gd name="T5" fmla="*/ 164 h 174"/>
                <a:gd name="T6" fmla="*/ 164 w 174"/>
                <a:gd name="T7" fmla="*/ 164 h 174"/>
                <a:gd name="T8" fmla="*/ 158 w 174"/>
                <a:gd name="T9" fmla="*/ 169 h 174"/>
                <a:gd name="T10" fmla="*/ 152 w 174"/>
                <a:gd name="T11" fmla="*/ 171 h 174"/>
                <a:gd name="T12" fmla="*/ 145 w 174"/>
                <a:gd name="T13" fmla="*/ 174 h 174"/>
                <a:gd name="T14" fmla="*/ 139 w 174"/>
                <a:gd name="T15" fmla="*/ 174 h 174"/>
                <a:gd name="T16" fmla="*/ 133 w 174"/>
                <a:gd name="T17" fmla="*/ 174 h 174"/>
                <a:gd name="T18" fmla="*/ 127 w 174"/>
                <a:gd name="T19" fmla="*/ 171 h 174"/>
                <a:gd name="T20" fmla="*/ 121 w 174"/>
                <a:gd name="T21" fmla="*/ 169 h 174"/>
                <a:gd name="T22" fmla="*/ 115 w 174"/>
                <a:gd name="T23" fmla="*/ 164 h 174"/>
                <a:gd name="T24" fmla="*/ 10 w 174"/>
                <a:gd name="T25" fmla="*/ 59 h 174"/>
                <a:gd name="T26" fmla="*/ 10 w 174"/>
                <a:gd name="T27" fmla="*/ 59 h 174"/>
                <a:gd name="T28" fmla="*/ 6 w 174"/>
                <a:gd name="T29" fmla="*/ 53 h 174"/>
                <a:gd name="T30" fmla="*/ 2 w 174"/>
                <a:gd name="T31" fmla="*/ 48 h 174"/>
                <a:gd name="T32" fmla="*/ 1 w 174"/>
                <a:gd name="T33" fmla="*/ 40 h 174"/>
                <a:gd name="T34" fmla="*/ 0 w 174"/>
                <a:gd name="T35" fmla="*/ 34 h 174"/>
                <a:gd name="T36" fmla="*/ 1 w 174"/>
                <a:gd name="T37" fmla="*/ 28 h 174"/>
                <a:gd name="T38" fmla="*/ 2 w 174"/>
                <a:gd name="T39" fmla="*/ 22 h 174"/>
                <a:gd name="T40" fmla="*/ 6 w 174"/>
                <a:gd name="T41" fmla="*/ 16 h 174"/>
                <a:gd name="T42" fmla="*/ 10 w 174"/>
                <a:gd name="T43" fmla="*/ 9 h 174"/>
                <a:gd name="T44" fmla="*/ 10 w 174"/>
                <a:gd name="T45" fmla="*/ 9 h 174"/>
                <a:gd name="T46" fmla="*/ 10 w 174"/>
                <a:gd name="T47" fmla="*/ 9 h 174"/>
                <a:gd name="T48" fmla="*/ 10 w 174"/>
                <a:gd name="T49" fmla="*/ 9 h 174"/>
                <a:gd name="T50" fmla="*/ 16 w 174"/>
                <a:gd name="T51" fmla="*/ 6 h 174"/>
                <a:gd name="T52" fmla="*/ 22 w 174"/>
                <a:gd name="T53" fmla="*/ 2 h 174"/>
                <a:gd name="T54" fmla="*/ 28 w 174"/>
                <a:gd name="T55" fmla="*/ 1 h 174"/>
                <a:gd name="T56" fmla="*/ 34 w 174"/>
                <a:gd name="T57" fmla="*/ 0 h 174"/>
                <a:gd name="T58" fmla="*/ 42 w 174"/>
                <a:gd name="T59" fmla="*/ 1 h 174"/>
                <a:gd name="T60" fmla="*/ 48 w 174"/>
                <a:gd name="T61" fmla="*/ 2 h 174"/>
                <a:gd name="T62" fmla="*/ 53 w 174"/>
                <a:gd name="T63" fmla="*/ 6 h 174"/>
                <a:gd name="T64" fmla="*/ 59 w 174"/>
                <a:gd name="T65" fmla="*/ 11 h 174"/>
                <a:gd name="T66" fmla="*/ 164 w 174"/>
                <a:gd name="T67" fmla="*/ 116 h 174"/>
                <a:gd name="T68" fmla="*/ 164 w 174"/>
                <a:gd name="T69" fmla="*/ 116 h 174"/>
                <a:gd name="T70" fmla="*/ 168 w 174"/>
                <a:gd name="T71" fmla="*/ 120 h 174"/>
                <a:gd name="T72" fmla="*/ 171 w 174"/>
                <a:gd name="T73" fmla="*/ 127 h 174"/>
                <a:gd name="T74" fmla="*/ 173 w 174"/>
                <a:gd name="T75" fmla="*/ 133 h 174"/>
                <a:gd name="T76" fmla="*/ 174 w 174"/>
                <a:gd name="T77" fmla="*/ 140 h 174"/>
                <a:gd name="T78" fmla="*/ 173 w 174"/>
                <a:gd name="T79" fmla="*/ 146 h 174"/>
                <a:gd name="T80" fmla="*/ 171 w 174"/>
                <a:gd name="T81" fmla="*/ 153 h 174"/>
                <a:gd name="T82" fmla="*/ 168 w 174"/>
                <a:gd name="T83" fmla="*/ 159 h 174"/>
                <a:gd name="T84" fmla="*/ 164 w 174"/>
                <a:gd name="T85" fmla="*/ 164 h 174"/>
                <a:gd name="T86" fmla="*/ 164 w 174"/>
                <a:gd name="T87" fmla="*/ 16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4" h="174">
                  <a:moveTo>
                    <a:pt x="164" y="164"/>
                  </a:moveTo>
                  <a:lnTo>
                    <a:pt x="164" y="164"/>
                  </a:lnTo>
                  <a:lnTo>
                    <a:pt x="164" y="164"/>
                  </a:lnTo>
                  <a:lnTo>
                    <a:pt x="164" y="164"/>
                  </a:lnTo>
                  <a:lnTo>
                    <a:pt x="158" y="169"/>
                  </a:lnTo>
                  <a:lnTo>
                    <a:pt x="152" y="171"/>
                  </a:lnTo>
                  <a:lnTo>
                    <a:pt x="145" y="174"/>
                  </a:lnTo>
                  <a:lnTo>
                    <a:pt x="139" y="174"/>
                  </a:lnTo>
                  <a:lnTo>
                    <a:pt x="133" y="174"/>
                  </a:lnTo>
                  <a:lnTo>
                    <a:pt x="127" y="171"/>
                  </a:lnTo>
                  <a:lnTo>
                    <a:pt x="121" y="169"/>
                  </a:lnTo>
                  <a:lnTo>
                    <a:pt x="115" y="164"/>
                  </a:lnTo>
                  <a:lnTo>
                    <a:pt x="10" y="59"/>
                  </a:lnTo>
                  <a:lnTo>
                    <a:pt x="10" y="59"/>
                  </a:lnTo>
                  <a:lnTo>
                    <a:pt x="6" y="53"/>
                  </a:lnTo>
                  <a:lnTo>
                    <a:pt x="2" y="48"/>
                  </a:lnTo>
                  <a:lnTo>
                    <a:pt x="1" y="40"/>
                  </a:lnTo>
                  <a:lnTo>
                    <a:pt x="0" y="34"/>
                  </a:lnTo>
                  <a:lnTo>
                    <a:pt x="1" y="28"/>
                  </a:lnTo>
                  <a:lnTo>
                    <a:pt x="2" y="22"/>
                  </a:lnTo>
                  <a:lnTo>
                    <a:pt x="6" y="16"/>
                  </a:lnTo>
                  <a:lnTo>
                    <a:pt x="10" y="9"/>
                  </a:lnTo>
                  <a:lnTo>
                    <a:pt x="10" y="9"/>
                  </a:lnTo>
                  <a:lnTo>
                    <a:pt x="10" y="9"/>
                  </a:lnTo>
                  <a:lnTo>
                    <a:pt x="10" y="9"/>
                  </a:lnTo>
                  <a:lnTo>
                    <a:pt x="16" y="6"/>
                  </a:lnTo>
                  <a:lnTo>
                    <a:pt x="22" y="2"/>
                  </a:lnTo>
                  <a:lnTo>
                    <a:pt x="28" y="1"/>
                  </a:lnTo>
                  <a:lnTo>
                    <a:pt x="34" y="0"/>
                  </a:lnTo>
                  <a:lnTo>
                    <a:pt x="42" y="1"/>
                  </a:lnTo>
                  <a:lnTo>
                    <a:pt x="48" y="2"/>
                  </a:lnTo>
                  <a:lnTo>
                    <a:pt x="53" y="6"/>
                  </a:lnTo>
                  <a:lnTo>
                    <a:pt x="59" y="11"/>
                  </a:lnTo>
                  <a:lnTo>
                    <a:pt x="164" y="116"/>
                  </a:lnTo>
                  <a:lnTo>
                    <a:pt x="164" y="116"/>
                  </a:lnTo>
                  <a:lnTo>
                    <a:pt x="168" y="120"/>
                  </a:lnTo>
                  <a:lnTo>
                    <a:pt x="171" y="127"/>
                  </a:lnTo>
                  <a:lnTo>
                    <a:pt x="173" y="133"/>
                  </a:lnTo>
                  <a:lnTo>
                    <a:pt x="174" y="140"/>
                  </a:lnTo>
                  <a:lnTo>
                    <a:pt x="173" y="146"/>
                  </a:lnTo>
                  <a:lnTo>
                    <a:pt x="171" y="153"/>
                  </a:lnTo>
                  <a:lnTo>
                    <a:pt x="168" y="159"/>
                  </a:lnTo>
                  <a:lnTo>
                    <a:pt x="164" y="164"/>
                  </a:lnTo>
                  <a:lnTo>
                    <a:pt x="164" y="164"/>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09">
              <a:extLst>
                <a:ext uri="{FF2B5EF4-FFF2-40B4-BE49-F238E27FC236}">
                  <a16:creationId xmlns:a16="http://schemas.microsoft.com/office/drawing/2014/main" id="{B05BB74F-B515-752A-3263-70FED6F697F7}"/>
                </a:ext>
              </a:extLst>
            </p:cNvPr>
            <p:cNvSpPr>
              <a:spLocks/>
            </p:cNvSpPr>
            <p:nvPr/>
          </p:nvSpPr>
          <p:spPr bwMode="auto">
            <a:xfrm>
              <a:off x="3795713" y="673100"/>
              <a:ext cx="209550" cy="209550"/>
            </a:xfrm>
            <a:custGeom>
              <a:avLst/>
              <a:gdLst>
                <a:gd name="T0" fmla="*/ 128 w 132"/>
                <a:gd name="T1" fmla="*/ 129 h 132"/>
                <a:gd name="T2" fmla="*/ 128 w 132"/>
                <a:gd name="T3" fmla="*/ 129 h 132"/>
                <a:gd name="T4" fmla="*/ 123 w 132"/>
                <a:gd name="T5" fmla="*/ 131 h 132"/>
                <a:gd name="T6" fmla="*/ 118 w 132"/>
                <a:gd name="T7" fmla="*/ 132 h 132"/>
                <a:gd name="T8" fmla="*/ 113 w 132"/>
                <a:gd name="T9" fmla="*/ 131 h 132"/>
                <a:gd name="T10" fmla="*/ 108 w 132"/>
                <a:gd name="T11" fmla="*/ 129 h 132"/>
                <a:gd name="T12" fmla="*/ 4 w 132"/>
                <a:gd name="T13" fmla="*/ 23 h 132"/>
                <a:gd name="T14" fmla="*/ 4 w 132"/>
                <a:gd name="T15" fmla="*/ 23 h 132"/>
                <a:gd name="T16" fmla="*/ 1 w 132"/>
                <a:gd name="T17" fmla="*/ 19 h 132"/>
                <a:gd name="T18" fmla="*/ 0 w 132"/>
                <a:gd name="T19" fmla="*/ 14 h 132"/>
                <a:gd name="T20" fmla="*/ 1 w 132"/>
                <a:gd name="T21" fmla="*/ 9 h 132"/>
                <a:gd name="T22" fmla="*/ 4 w 132"/>
                <a:gd name="T23" fmla="*/ 4 h 132"/>
                <a:gd name="T24" fmla="*/ 4 w 132"/>
                <a:gd name="T25" fmla="*/ 4 h 132"/>
                <a:gd name="T26" fmla="*/ 8 w 132"/>
                <a:gd name="T27" fmla="*/ 2 h 132"/>
                <a:gd name="T28" fmla="*/ 13 w 132"/>
                <a:gd name="T29" fmla="*/ 0 h 132"/>
                <a:gd name="T30" fmla="*/ 18 w 132"/>
                <a:gd name="T31" fmla="*/ 2 h 132"/>
                <a:gd name="T32" fmla="*/ 23 w 132"/>
                <a:gd name="T33" fmla="*/ 4 h 132"/>
                <a:gd name="T34" fmla="*/ 128 w 132"/>
                <a:gd name="T35" fmla="*/ 109 h 132"/>
                <a:gd name="T36" fmla="*/ 128 w 132"/>
                <a:gd name="T37" fmla="*/ 109 h 132"/>
                <a:gd name="T38" fmla="*/ 131 w 132"/>
                <a:gd name="T39" fmla="*/ 114 h 132"/>
                <a:gd name="T40" fmla="*/ 132 w 132"/>
                <a:gd name="T41" fmla="*/ 119 h 132"/>
                <a:gd name="T42" fmla="*/ 131 w 132"/>
                <a:gd name="T43" fmla="*/ 124 h 132"/>
                <a:gd name="T44" fmla="*/ 128 w 132"/>
                <a:gd name="T45" fmla="*/ 129 h 132"/>
                <a:gd name="T46" fmla="*/ 128 w 132"/>
                <a:gd name="T47"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32">
                  <a:moveTo>
                    <a:pt x="128" y="129"/>
                  </a:moveTo>
                  <a:lnTo>
                    <a:pt x="128" y="129"/>
                  </a:lnTo>
                  <a:lnTo>
                    <a:pt x="123" y="131"/>
                  </a:lnTo>
                  <a:lnTo>
                    <a:pt x="118" y="132"/>
                  </a:lnTo>
                  <a:lnTo>
                    <a:pt x="113" y="131"/>
                  </a:lnTo>
                  <a:lnTo>
                    <a:pt x="108" y="129"/>
                  </a:lnTo>
                  <a:lnTo>
                    <a:pt x="4" y="23"/>
                  </a:lnTo>
                  <a:lnTo>
                    <a:pt x="4" y="23"/>
                  </a:lnTo>
                  <a:lnTo>
                    <a:pt x="1" y="19"/>
                  </a:lnTo>
                  <a:lnTo>
                    <a:pt x="0" y="14"/>
                  </a:lnTo>
                  <a:lnTo>
                    <a:pt x="1" y="9"/>
                  </a:lnTo>
                  <a:lnTo>
                    <a:pt x="4" y="4"/>
                  </a:lnTo>
                  <a:lnTo>
                    <a:pt x="4" y="4"/>
                  </a:lnTo>
                  <a:lnTo>
                    <a:pt x="8" y="2"/>
                  </a:lnTo>
                  <a:lnTo>
                    <a:pt x="13" y="0"/>
                  </a:lnTo>
                  <a:lnTo>
                    <a:pt x="18" y="2"/>
                  </a:lnTo>
                  <a:lnTo>
                    <a:pt x="23" y="4"/>
                  </a:lnTo>
                  <a:lnTo>
                    <a:pt x="128" y="109"/>
                  </a:lnTo>
                  <a:lnTo>
                    <a:pt x="128" y="109"/>
                  </a:lnTo>
                  <a:lnTo>
                    <a:pt x="131" y="114"/>
                  </a:lnTo>
                  <a:lnTo>
                    <a:pt x="132" y="119"/>
                  </a:lnTo>
                  <a:lnTo>
                    <a:pt x="131" y="124"/>
                  </a:lnTo>
                  <a:lnTo>
                    <a:pt x="128" y="129"/>
                  </a:lnTo>
                  <a:lnTo>
                    <a:pt x="128" y="129"/>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10">
              <a:extLst>
                <a:ext uri="{FF2B5EF4-FFF2-40B4-BE49-F238E27FC236}">
                  <a16:creationId xmlns:a16="http://schemas.microsoft.com/office/drawing/2014/main" id="{1825F874-70A6-FE48-0B25-C9D13158DE62}"/>
                </a:ext>
              </a:extLst>
            </p:cNvPr>
            <p:cNvSpPr>
              <a:spLocks/>
            </p:cNvSpPr>
            <p:nvPr/>
          </p:nvSpPr>
          <p:spPr bwMode="auto">
            <a:xfrm>
              <a:off x="3392488" y="244475"/>
              <a:ext cx="427038" cy="427038"/>
            </a:xfrm>
            <a:custGeom>
              <a:avLst/>
              <a:gdLst>
                <a:gd name="T0" fmla="*/ 39 w 269"/>
                <a:gd name="T1" fmla="*/ 40 h 269"/>
                <a:gd name="T2" fmla="*/ 39 w 269"/>
                <a:gd name="T3" fmla="*/ 40 h 269"/>
                <a:gd name="T4" fmla="*/ 59 w 269"/>
                <a:gd name="T5" fmla="*/ 24 h 269"/>
                <a:gd name="T6" fmla="*/ 82 w 269"/>
                <a:gd name="T7" fmla="*/ 11 h 269"/>
                <a:gd name="T8" fmla="*/ 107 w 269"/>
                <a:gd name="T9" fmla="*/ 4 h 269"/>
                <a:gd name="T10" fmla="*/ 134 w 269"/>
                <a:gd name="T11" fmla="*/ 0 h 269"/>
                <a:gd name="T12" fmla="*/ 148 w 269"/>
                <a:gd name="T13" fmla="*/ 1 h 269"/>
                <a:gd name="T14" fmla="*/ 174 w 269"/>
                <a:gd name="T15" fmla="*/ 6 h 269"/>
                <a:gd name="T16" fmla="*/ 198 w 269"/>
                <a:gd name="T17" fmla="*/ 17 h 269"/>
                <a:gd name="T18" fmla="*/ 219 w 269"/>
                <a:gd name="T19" fmla="*/ 31 h 269"/>
                <a:gd name="T20" fmla="*/ 238 w 269"/>
                <a:gd name="T21" fmla="*/ 50 h 269"/>
                <a:gd name="T22" fmla="*/ 251 w 269"/>
                <a:gd name="T23" fmla="*/ 72 h 269"/>
                <a:gd name="T24" fmla="*/ 262 w 269"/>
                <a:gd name="T25" fmla="*/ 95 h 269"/>
                <a:gd name="T26" fmla="*/ 267 w 269"/>
                <a:gd name="T27" fmla="*/ 121 h 269"/>
                <a:gd name="T28" fmla="*/ 269 w 269"/>
                <a:gd name="T29" fmla="*/ 136 h 269"/>
                <a:gd name="T30" fmla="*/ 265 w 269"/>
                <a:gd name="T31" fmla="*/ 162 h 269"/>
                <a:gd name="T32" fmla="*/ 258 w 269"/>
                <a:gd name="T33" fmla="*/ 186 h 269"/>
                <a:gd name="T34" fmla="*/ 245 w 269"/>
                <a:gd name="T35" fmla="*/ 210 h 269"/>
                <a:gd name="T36" fmla="*/ 229 w 269"/>
                <a:gd name="T37" fmla="*/ 230 h 269"/>
                <a:gd name="T38" fmla="*/ 219 w 269"/>
                <a:gd name="T39" fmla="*/ 240 h 269"/>
                <a:gd name="T40" fmla="*/ 197 w 269"/>
                <a:gd name="T41" fmla="*/ 253 h 269"/>
                <a:gd name="T42" fmla="*/ 172 w 269"/>
                <a:gd name="T43" fmla="*/ 264 h 269"/>
                <a:gd name="T44" fmla="*/ 147 w 269"/>
                <a:gd name="T45" fmla="*/ 269 h 269"/>
                <a:gd name="T46" fmla="*/ 133 w 269"/>
                <a:gd name="T47" fmla="*/ 269 h 269"/>
                <a:gd name="T48" fmla="*/ 107 w 269"/>
                <a:gd name="T49" fmla="*/ 267 h 269"/>
                <a:gd name="T50" fmla="*/ 82 w 269"/>
                <a:gd name="T51" fmla="*/ 259 h 269"/>
                <a:gd name="T52" fmla="*/ 59 w 269"/>
                <a:gd name="T53" fmla="*/ 247 h 269"/>
                <a:gd name="T54" fmla="*/ 39 w 269"/>
                <a:gd name="T55" fmla="*/ 230 h 269"/>
                <a:gd name="T56" fmla="*/ 29 w 269"/>
                <a:gd name="T57" fmla="*/ 220 h 269"/>
                <a:gd name="T58" fmla="*/ 15 w 269"/>
                <a:gd name="T59" fmla="*/ 198 h 269"/>
                <a:gd name="T60" fmla="*/ 5 w 269"/>
                <a:gd name="T61" fmla="*/ 174 h 269"/>
                <a:gd name="T62" fmla="*/ 0 w 269"/>
                <a:gd name="T63" fmla="*/ 148 h 269"/>
                <a:gd name="T64" fmla="*/ 0 w 269"/>
                <a:gd name="T65" fmla="*/ 135 h 269"/>
                <a:gd name="T66" fmla="*/ 2 w 269"/>
                <a:gd name="T67" fmla="*/ 109 h 269"/>
                <a:gd name="T68" fmla="*/ 10 w 269"/>
                <a:gd name="T69" fmla="*/ 84 h 269"/>
                <a:gd name="T70" fmla="*/ 22 w 269"/>
                <a:gd name="T71" fmla="*/ 61 h 269"/>
                <a:gd name="T72" fmla="*/ 39 w 269"/>
                <a:gd name="T73" fmla="*/ 4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9" h="269">
                  <a:moveTo>
                    <a:pt x="39" y="40"/>
                  </a:moveTo>
                  <a:lnTo>
                    <a:pt x="39" y="40"/>
                  </a:lnTo>
                  <a:lnTo>
                    <a:pt x="39" y="40"/>
                  </a:lnTo>
                  <a:lnTo>
                    <a:pt x="39" y="40"/>
                  </a:lnTo>
                  <a:lnTo>
                    <a:pt x="49" y="31"/>
                  </a:lnTo>
                  <a:lnTo>
                    <a:pt x="59" y="24"/>
                  </a:lnTo>
                  <a:lnTo>
                    <a:pt x="70" y="16"/>
                  </a:lnTo>
                  <a:lnTo>
                    <a:pt x="82" y="11"/>
                  </a:lnTo>
                  <a:lnTo>
                    <a:pt x="95" y="6"/>
                  </a:lnTo>
                  <a:lnTo>
                    <a:pt x="107" y="4"/>
                  </a:lnTo>
                  <a:lnTo>
                    <a:pt x="121" y="1"/>
                  </a:lnTo>
                  <a:lnTo>
                    <a:pt x="134" y="0"/>
                  </a:lnTo>
                  <a:lnTo>
                    <a:pt x="134" y="0"/>
                  </a:lnTo>
                  <a:lnTo>
                    <a:pt x="148" y="1"/>
                  </a:lnTo>
                  <a:lnTo>
                    <a:pt x="161" y="4"/>
                  </a:lnTo>
                  <a:lnTo>
                    <a:pt x="174" y="6"/>
                  </a:lnTo>
                  <a:lnTo>
                    <a:pt x="186" y="11"/>
                  </a:lnTo>
                  <a:lnTo>
                    <a:pt x="198" y="17"/>
                  </a:lnTo>
                  <a:lnTo>
                    <a:pt x="209" y="24"/>
                  </a:lnTo>
                  <a:lnTo>
                    <a:pt x="219" y="31"/>
                  </a:lnTo>
                  <a:lnTo>
                    <a:pt x="229" y="40"/>
                  </a:lnTo>
                  <a:lnTo>
                    <a:pt x="238" y="50"/>
                  </a:lnTo>
                  <a:lnTo>
                    <a:pt x="245" y="61"/>
                  </a:lnTo>
                  <a:lnTo>
                    <a:pt x="251" y="72"/>
                  </a:lnTo>
                  <a:lnTo>
                    <a:pt x="258" y="83"/>
                  </a:lnTo>
                  <a:lnTo>
                    <a:pt x="262" y="95"/>
                  </a:lnTo>
                  <a:lnTo>
                    <a:pt x="265" y="109"/>
                  </a:lnTo>
                  <a:lnTo>
                    <a:pt x="267" y="121"/>
                  </a:lnTo>
                  <a:lnTo>
                    <a:pt x="269" y="136"/>
                  </a:lnTo>
                  <a:lnTo>
                    <a:pt x="269" y="136"/>
                  </a:lnTo>
                  <a:lnTo>
                    <a:pt x="267" y="148"/>
                  </a:lnTo>
                  <a:lnTo>
                    <a:pt x="265" y="162"/>
                  </a:lnTo>
                  <a:lnTo>
                    <a:pt x="262" y="174"/>
                  </a:lnTo>
                  <a:lnTo>
                    <a:pt x="258" y="186"/>
                  </a:lnTo>
                  <a:lnTo>
                    <a:pt x="253" y="199"/>
                  </a:lnTo>
                  <a:lnTo>
                    <a:pt x="245" y="210"/>
                  </a:lnTo>
                  <a:lnTo>
                    <a:pt x="238" y="220"/>
                  </a:lnTo>
                  <a:lnTo>
                    <a:pt x="229" y="230"/>
                  </a:lnTo>
                  <a:lnTo>
                    <a:pt x="229" y="230"/>
                  </a:lnTo>
                  <a:lnTo>
                    <a:pt x="219" y="240"/>
                  </a:lnTo>
                  <a:lnTo>
                    <a:pt x="208" y="247"/>
                  </a:lnTo>
                  <a:lnTo>
                    <a:pt x="197" y="253"/>
                  </a:lnTo>
                  <a:lnTo>
                    <a:pt x="185" y="259"/>
                  </a:lnTo>
                  <a:lnTo>
                    <a:pt x="172" y="264"/>
                  </a:lnTo>
                  <a:lnTo>
                    <a:pt x="160" y="267"/>
                  </a:lnTo>
                  <a:lnTo>
                    <a:pt x="147" y="269"/>
                  </a:lnTo>
                  <a:lnTo>
                    <a:pt x="133" y="269"/>
                  </a:lnTo>
                  <a:lnTo>
                    <a:pt x="133" y="269"/>
                  </a:lnTo>
                  <a:lnTo>
                    <a:pt x="121" y="269"/>
                  </a:lnTo>
                  <a:lnTo>
                    <a:pt x="107" y="267"/>
                  </a:lnTo>
                  <a:lnTo>
                    <a:pt x="95" y="263"/>
                  </a:lnTo>
                  <a:lnTo>
                    <a:pt x="82" y="259"/>
                  </a:lnTo>
                  <a:lnTo>
                    <a:pt x="70" y="253"/>
                  </a:lnTo>
                  <a:lnTo>
                    <a:pt x="59" y="247"/>
                  </a:lnTo>
                  <a:lnTo>
                    <a:pt x="49" y="238"/>
                  </a:lnTo>
                  <a:lnTo>
                    <a:pt x="39" y="230"/>
                  </a:lnTo>
                  <a:lnTo>
                    <a:pt x="39" y="230"/>
                  </a:lnTo>
                  <a:lnTo>
                    <a:pt x="29" y="220"/>
                  </a:lnTo>
                  <a:lnTo>
                    <a:pt x="22" y="209"/>
                  </a:lnTo>
                  <a:lnTo>
                    <a:pt x="15" y="198"/>
                  </a:lnTo>
                  <a:lnTo>
                    <a:pt x="10" y="186"/>
                  </a:lnTo>
                  <a:lnTo>
                    <a:pt x="5" y="174"/>
                  </a:lnTo>
                  <a:lnTo>
                    <a:pt x="2" y="162"/>
                  </a:lnTo>
                  <a:lnTo>
                    <a:pt x="0" y="148"/>
                  </a:lnTo>
                  <a:lnTo>
                    <a:pt x="0" y="135"/>
                  </a:lnTo>
                  <a:lnTo>
                    <a:pt x="0" y="135"/>
                  </a:lnTo>
                  <a:lnTo>
                    <a:pt x="0" y="121"/>
                  </a:lnTo>
                  <a:lnTo>
                    <a:pt x="2" y="109"/>
                  </a:lnTo>
                  <a:lnTo>
                    <a:pt x="5" y="96"/>
                  </a:lnTo>
                  <a:lnTo>
                    <a:pt x="10" y="84"/>
                  </a:lnTo>
                  <a:lnTo>
                    <a:pt x="16" y="72"/>
                  </a:lnTo>
                  <a:lnTo>
                    <a:pt x="22" y="61"/>
                  </a:lnTo>
                  <a:lnTo>
                    <a:pt x="29" y="50"/>
                  </a:lnTo>
                  <a:lnTo>
                    <a:pt x="39" y="40"/>
                  </a:lnTo>
                  <a:lnTo>
                    <a:pt x="39" y="40"/>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11">
              <a:extLst>
                <a:ext uri="{FF2B5EF4-FFF2-40B4-BE49-F238E27FC236}">
                  <a16:creationId xmlns:a16="http://schemas.microsoft.com/office/drawing/2014/main" id="{13DE3FB1-5258-89B5-0D70-89F98F5BC724}"/>
                </a:ext>
              </a:extLst>
            </p:cNvPr>
            <p:cNvSpPr>
              <a:spLocks/>
            </p:cNvSpPr>
            <p:nvPr/>
          </p:nvSpPr>
          <p:spPr bwMode="auto">
            <a:xfrm>
              <a:off x="3446463" y="300038"/>
              <a:ext cx="317500" cy="317500"/>
            </a:xfrm>
            <a:custGeom>
              <a:avLst/>
              <a:gdLst>
                <a:gd name="T0" fmla="*/ 29 w 200"/>
                <a:gd name="T1" fmla="*/ 29 h 200"/>
                <a:gd name="T2" fmla="*/ 16 w 200"/>
                <a:gd name="T3" fmla="*/ 44 h 200"/>
                <a:gd name="T4" fmla="*/ 8 w 200"/>
                <a:gd name="T5" fmla="*/ 61 h 200"/>
                <a:gd name="T6" fmla="*/ 2 w 200"/>
                <a:gd name="T7" fmla="*/ 80 h 200"/>
                <a:gd name="T8" fmla="*/ 0 w 200"/>
                <a:gd name="T9" fmla="*/ 100 h 200"/>
                <a:gd name="T10" fmla="*/ 0 w 200"/>
                <a:gd name="T11" fmla="*/ 110 h 200"/>
                <a:gd name="T12" fmla="*/ 4 w 200"/>
                <a:gd name="T13" fmla="*/ 129 h 200"/>
                <a:gd name="T14" fmla="*/ 11 w 200"/>
                <a:gd name="T15" fmla="*/ 148 h 200"/>
                <a:gd name="T16" fmla="*/ 22 w 200"/>
                <a:gd name="T17" fmla="*/ 164 h 200"/>
                <a:gd name="T18" fmla="*/ 36 w 200"/>
                <a:gd name="T19" fmla="*/ 177 h 200"/>
                <a:gd name="T20" fmla="*/ 52 w 200"/>
                <a:gd name="T21" fmla="*/ 187 h 200"/>
                <a:gd name="T22" fmla="*/ 69 w 200"/>
                <a:gd name="T23" fmla="*/ 196 h 200"/>
                <a:gd name="T24" fmla="*/ 89 w 200"/>
                <a:gd name="T25" fmla="*/ 200 h 200"/>
                <a:gd name="T26" fmla="*/ 99 w 200"/>
                <a:gd name="T27" fmla="*/ 200 h 200"/>
                <a:gd name="T28" fmla="*/ 119 w 200"/>
                <a:gd name="T29" fmla="*/ 198 h 200"/>
                <a:gd name="T30" fmla="*/ 138 w 200"/>
                <a:gd name="T31" fmla="*/ 192 h 200"/>
                <a:gd name="T32" fmla="*/ 156 w 200"/>
                <a:gd name="T33" fmla="*/ 184 h 200"/>
                <a:gd name="T34" fmla="*/ 170 w 200"/>
                <a:gd name="T35" fmla="*/ 171 h 200"/>
                <a:gd name="T36" fmla="*/ 170 w 200"/>
                <a:gd name="T37" fmla="*/ 171 h 200"/>
                <a:gd name="T38" fmla="*/ 183 w 200"/>
                <a:gd name="T39" fmla="*/ 155 h 200"/>
                <a:gd name="T40" fmla="*/ 193 w 200"/>
                <a:gd name="T41" fmla="*/ 138 h 200"/>
                <a:gd name="T42" fmla="*/ 198 w 200"/>
                <a:gd name="T43" fmla="*/ 119 h 200"/>
                <a:gd name="T44" fmla="*/ 200 w 200"/>
                <a:gd name="T45" fmla="*/ 100 h 200"/>
                <a:gd name="T46" fmla="*/ 199 w 200"/>
                <a:gd name="T47" fmla="*/ 90 h 200"/>
                <a:gd name="T48" fmla="*/ 195 w 200"/>
                <a:gd name="T49" fmla="*/ 71 h 200"/>
                <a:gd name="T50" fmla="*/ 188 w 200"/>
                <a:gd name="T51" fmla="*/ 53 h 200"/>
                <a:gd name="T52" fmla="*/ 177 w 200"/>
                <a:gd name="T53" fmla="*/ 37 h 200"/>
                <a:gd name="T54" fmla="*/ 170 w 200"/>
                <a:gd name="T55" fmla="*/ 29 h 200"/>
                <a:gd name="T56" fmla="*/ 156 w 200"/>
                <a:gd name="T57" fmla="*/ 17 h 200"/>
                <a:gd name="T58" fmla="*/ 138 w 200"/>
                <a:gd name="T59" fmla="*/ 7 h 200"/>
                <a:gd name="T60" fmla="*/ 120 w 200"/>
                <a:gd name="T61" fmla="*/ 2 h 200"/>
                <a:gd name="T62" fmla="*/ 100 w 200"/>
                <a:gd name="T63" fmla="*/ 0 h 200"/>
                <a:gd name="T64" fmla="*/ 90 w 200"/>
                <a:gd name="T65" fmla="*/ 1 h 200"/>
                <a:gd name="T66" fmla="*/ 71 w 200"/>
                <a:gd name="T67" fmla="*/ 5 h 200"/>
                <a:gd name="T68" fmla="*/ 53 w 200"/>
                <a:gd name="T69" fmla="*/ 12 h 200"/>
                <a:gd name="T70" fmla="*/ 36 w 200"/>
                <a:gd name="T71" fmla="*/ 23 h 200"/>
                <a:gd name="T72" fmla="*/ 29 w 200"/>
                <a:gd name="T73" fmla="*/ 2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200">
                  <a:moveTo>
                    <a:pt x="29" y="29"/>
                  </a:moveTo>
                  <a:lnTo>
                    <a:pt x="29" y="29"/>
                  </a:lnTo>
                  <a:lnTo>
                    <a:pt x="22" y="37"/>
                  </a:lnTo>
                  <a:lnTo>
                    <a:pt x="16" y="44"/>
                  </a:lnTo>
                  <a:lnTo>
                    <a:pt x="11" y="53"/>
                  </a:lnTo>
                  <a:lnTo>
                    <a:pt x="8" y="61"/>
                  </a:lnTo>
                  <a:lnTo>
                    <a:pt x="4" y="71"/>
                  </a:lnTo>
                  <a:lnTo>
                    <a:pt x="2" y="80"/>
                  </a:lnTo>
                  <a:lnTo>
                    <a:pt x="0" y="90"/>
                  </a:lnTo>
                  <a:lnTo>
                    <a:pt x="0" y="100"/>
                  </a:lnTo>
                  <a:lnTo>
                    <a:pt x="0" y="100"/>
                  </a:lnTo>
                  <a:lnTo>
                    <a:pt x="0" y="110"/>
                  </a:lnTo>
                  <a:lnTo>
                    <a:pt x="2" y="119"/>
                  </a:lnTo>
                  <a:lnTo>
                    <a:pt x="4" y="129"/>
                  </a:lnTo>
                  <a:lnTo>
                    <a:pt x="8" y="139"/>
                  </a:lnTo>
                  <a:lnTo>
                    <a:pt x="11" y="148"/>
                  </a:lnTo>
                  <a:lnTo>
                    <a:pt x="16" y="155"/>
                  </a:lnTo>
                  <a:lnTo>
                    <a:pt x="22" y="164"/>
                  </a:lnTo>
                  <a:lnTo>
                    <a:pt x="29" y="170"/>
                  </a:lnTo>
                  <a:lnTo>
                    <a:pt x="36" y="177"/>
                  </a:lnTo>
                  <a:lnTo>
                    <a:pt x="43" y="182"/>
                  </a:lnTo>
                  <a:lnTo>
                    <a:pt x="52" y="187"/>
                  </a:lnTo>
                  <a:lnTo>
                    <a:pt x="61" y="192"/>
                  </a:lnTo>
                  <a:lnTo>
                    <a:pt x="69" y="196"/>
                  </a:lnTo>
                  <a:lnTo>
                    <a:pt x="79" y="198"/>
                  </a:lnTo>
                  <a:lnTo>
                    <a:pt x="89" y="200"/>
                  </a:lnTo>
                  <a:lnTo>
                    <a:pt x="99" y="200"/>
                  </a:lnTo>
                  <a:lnTo>
                    <a:pt x="99" y="200"/>
                  </a:lnTo>
                  <a:lnTo>
                    <a:pt x="110" y="200"/>
                  </a:lnTo>
                  <a:lnTo>
                    <a:pt x="119" y="198"/>
                  </a:lnTo>
                  <a:lnTo>
                    <a:pt x="129" y="196"/>
                  </a:lnTo>
                  <a:lnTo>
                    <a:pt x="138" y="192"/>
                  </a:lnTo>
                  <a:lnTo>
                    <a:pt x="147" y="188"/>
                  </a:lnTo>
                  <a:lnTo>
                    <a:pt x="156" y="184"/>
                  </a:lnTo>
                  <a:lnTo>
                    <a:pt x="163" y="177"/>
                  </a:lnTo>
                  <a:lnTo>
                    <a:pt x="170" y="171"/>
                  </a:lnTo>
                  <a:lnTo>
                    <a:pt x="170" y="171"/>
                  </a:lnTo>
                  <a:lnTo>
                    <a:pt x="170" y="171"/>
                  </a:lnTo>
                  <a:lnTo>
                    <a:pt x="177" y="164"/>
                  </a:lnTo>
                  <a:lnTo>
                    <a:pt x="183" y="155"/>
                  </a:lnTo>
                  <a:lnTo>
                    <a:pt x="188" y="147"/>
                  </a:lnTo>
                  <a:lnTo>
                    <a:pt x="193" y="138"/>
                  </a:lnTo>
                  <a:lnTo>
                    <a:pt x="195" y="129"/>
                  </a:lnTo>
                  <a:lnTo>
                    <a:pt x="198" y="119"/>
                  </a:lnTo>
                  <a:lnTo>
                    <a:pt x="199" y="110"/>
                  </a:lnTo>
                  <a:lnTo>
                    <a:pt x="200" y="100"/>
                  </a:lnTo>
                  <a:lnTo>
                    <a:pt x="200" y="100"/>
                  </a:lnTo>
                  <a:lnTo>
                    <a:pt x="199" y="90"/>
                  </a:lnTo>
                  <a:lnTo>
                    <a:pt x="198" y="81"/>
                  </a:lnTo>
                  <a:lnTo>
                    <a:pt x="195" y="71"/>
                  </a:lnTo>
                  <a:lnTo>
                    <a:pt x="193" y="61"/>
                  </a:lnTo>
                  <a:lnTo>
                    <a:pt x="188" y="53"/>
                  </a:lnTo>
                  <a:lnTo>
                    <a:pt x="183" y="45"/>
                  </a:lnTo>
                  <a:lnTo>
                    <a:pt x="177" y="37"/>
                  </a:lnTo>
                  <a:lnTo>
                    <a:pt x="170" y="29"/>
                  </a:lnTo>
                  <a:lnTo>
                    <a:pt x="170" y="29"/>
                  </a:lnTo>
                  <a:lnTo>
                    <a:pt x="163" y="23"/>
                  </a:lnTo>
                  <a:lnTo>
                    <a:pt x="156" y="17"/>
                  </a:lnTo>
                  <a:lnTo>
                    <a:pt x="147" y="12"/>
                  </a:lnTo>
                  <a:lnTo>
                    <a:pt x="138" y="7"/>
                  </a:lnTo>
                  <a:lnTo>
                    <a:pt x="129" y="5"/>
                  </a:lnTo>
                  <a:lnTo>
                    <a:pt x="120" y="2"/>
                  </a:lnTo>
                  <a:lnTo>
                    <a:pt x="110" y="1"/>
                  </a:lnTo>
                  <a:lnTo>
                    <a:pt x="100" y="0"/>
                  </a:lnTo>
                  <a:lnTo>
                    <a:pt x="100" y="0"/>
                  </a:lnTo>
                  <a:lnTo>
                    <a:pt x="90" y="1"/>
                  </a:lnTo>
                  <a:lnTo>
                    <a:pt x="80" y="2"/>
                  </a:lnTo>
                  <a:lnTo>
                    <a:pt x="71" y="5"/>
                  </a:lnTo>
                  <a:lnTo>
                    <a:pt x="62" y="7"/>
                  </a:lnTo>
                  <a:lnTo>
                    <a:pt x="53" y="12"/>
                  </a:lnTo>
                  <a:lnTo>
                    <a:pt x="45" y="17"/>
                  </a:lnTo>
                  <a:lnTo>
                    <a:pt x="36" y="23"/>
                  </a:lnTo>
                  <a:lnTo>
                    <a:pt x="29" y="29"/>
                  </a:lnTo>
                  <a:lnTo>
                    <a:pt x="29" y="29"/>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12">
              <a:extLst>
                <a:ext uri="{FF2B5EF4-FFF2-40B4-BE49-F238E27FC236}">
                  <a16:creationId xmlns:a16="http://schemas.microsoft.com/office/drawing/2014/main" id="{D6C7E666-CF2B-C762-E31E-0267571AF830}"/>
                </a:ext>
              </a:extLst>
            </p:cNvPr>
            <p:cNvSpPr>
              <a:spLocks/>
            </p:cNvSpPr>
            <p:nvPr/>
          </p:nvSpPr>
          <p:spPr bwMode="auto">
            <a:xfrm>
              <a:off x="3476625" y="300038"/>
              <a:ext cx="287338" cy="306388"/>
            </a:xfrm>
            <a:custGeom>
              <a:avLst/>
              <a:gdLst>
                <a:gd name="T0" fmla="*/ 151 w 181"/>
                <a:gd name="T1" fmla="*/ 29 h 193"/>
                <a:gd name="T2" fmla="*/ 137 w 181"/>
                <a:gd name="T3" fmla="*/ 17 h 193"/>
                <a:gd name="T4" fmla="*/ 119 w 181"/>
                <a:gd name="T5" fmla="*/ 7 h 193"/>
                <a:gd name="T6" fmla="*/ 101 w 181"/>
                <a:gd name="T7" fmla="*/ 2 h 193"/>
                <a:gd name="T8" fmla="*/ 81 w 181"/>
                <a:gd name="T9" fmla="*/ 0 h 193"/>
                <a:gd name="T10" fmla="*/ 70 w 181"/>
                <a:gd name="T11" fmla="*/ 1 h 193"/>
                <a:gd name="T12" fmla="*/ 59 w 181"/>
                <a:gd name="T13" fmla="*/ 2 h 193"/>
                <a:gd name="T14" fmla="*/ 43 w 181"/>
                <a:gd name="T15" fmla="*/ 11 h 193"/>
                <a:gd name="T16" fmla="*/ 29 w 181"/>
                <a:gd name="T17" fmla="*/ 23 h 193"/>
                <a:gd name="T18" fmla="*/ 23 w 181"/>
                <a:gd name="T19" fmla="*/ 31 h 193"/>
                <a:gd name="T20" fmla="*/ 12 w 181"/>
                <a:gd name="T21" fmla="*/ 47 h 193"/>
                <a:gd name="T22" fmla="*/ 5 w 181"/>
                <a:gd name="T23" fmla="*/ 64 h 193"/>
                <a:gd name="T24" fmla="*/ 1 w 181"/>
                <a:gd name="T25" fmla="*/ 84 h 193"/>
                <a:gd name="T26" fmla="*/ 0 w 181"/>
                <a:gd name="T27" fmla="*/ 93 h 193"/>
                <a:gd name="T28" fmla="*/ 2 w 181"/>
                <a:gd name="T29" fmla="*/ 113 h 193"/>
                <a:gd name="T30" fmla="*/ 7 w 181"/>
                <a:gd name="T31" fmla="*/ 133 h 193"/>
                <a:gd name="T32" fmla="*/ 17 w 181"/>
                <a:gd name="T33" fmla="*/ 149 h 193"/>
                <a:gd name="T34" fmla="*/ 29 w 181"/>
                <a:gd name="T35" fmla="*/ 164 h 193"/>
                <a:gd name="T36" fmla="*/ 44 w 181"/>
                <a:gd name="T37" fmla="*/ 176 h 193"/>
                <a:gd name="T38" fmla="*/ 61 w 181"/>
                <a:gd name="T39" fmla="*/ 186 h 193"/>
                <a:gd name="T40" fmla="*/ 80 w 181"/>
                <a:gd name="T41" fmla="*/ 191 h 193"/>
                <a:gd name="T42" fmla="*/ 100 w 181"/>
                <a:gd name="T43" fmla="*/ 193 h 193"/>
                <a:gd name="T44" fmla="*/ 111 w 181"/>
                <a:gd name="T45" fmla="*/ 193 h 193"/>
                <a:gd name="T46" fmla="*/ 122 w 181"/>
                <a:gd name="T47" fmla="*/ 191 h 193"/>
                <a:gd name="T48" fmla="*/ 138 w 181"/>
                <a:gd name="T49" fmla="*/ 182 h 193"/>
                <a:gd name="T50" fmla="*/ 151 w 181"/>
                <a:gd name="T51" fmla="*/ 171 h 193"/>
                <a:gd name="T52" fmla="*/ 151 w 181"/>
                <a:gd name="T53" fmla="*/ 171 h 193"/>
                <a:gd name="T54" fmla="*/ 164 w 181"/>
                <a:gd name="T55" fmla="*/ 155 h 193"/>
                <a:gd name="T56" fmla="*/ 174 w 181"/>
                <a:gd name="T57" fmla="*/ 138 h 193"/>
                <a:gd name="T58" fmla="*/ 179 w 181"/>
                <a:gd name="T59" fmla="*/ 119 h 193"/>
                <a:gd name="T60" fmla="*/ 181 w 181"/>
                <a:gd name="T61" fmla="*/ 100 h 193"/>
                <a:gd name="T62" fmla="*/ 180 w 181"/>
                <a:gd name="T63" fmla="*/ 90 h 193"/>
                <a:gd name="T64" fmla="*/ 176 w 181"/>
                <a:gd name="T65" fmla="*/ 71 h 193"/>
                <a:gd name="T66" fmla="*/ 169 w 181"/>
                <a:gd name="T67" fmla="*/ 53 h 193"/>
                <a:gd name="T68" fmla="*/ 158 w 181"/>
                <a:gd name="T69" fmla="*/ 37 h 193"/>
                <a:gd name="T70" fmla="*/ 151 w 181"/>
                <a:gd name="T71" fmla="*/ 2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193">
                  <a:moveTo>
                    <a:pt x="151" y="29"/>
                  </a:moveTo>
                  <a:lnTo>
                    <a:pt x="151" y="29"/>
                  </a:lnTo>
                  <a:lnTo>
                    <a:pt x="144" y="23"/>
                  </a:lnTo>
                  <a:lnTo>
                    <a:pt x="137" y="17"/>
                  </a:lnTo>
                  <a:lnTo>
                    <a:pt x="128" y="12"/>
                  </a:lnTo>
                  <a:lnTo>
                    <a:pt x="119" y="7"/>
                  </a:lnTo>
                  <a:lnTo>
                    <a:pt x="110" y="5"/>
                  </a:lnTo>
                  <a:lnTo>
                    <a:pt x="101" y="2"/>
                  </a:lnTo>
                  <a:lnTo>
                    <a:pt x="91" y="1"/>
                  </a:lnTo>
                  <a:lnTo>
                    <a:pt x="81" y="0"/>
                  </a:lnTo>
                  <a:lnTo>
                    <a:pt x="81" y="0"/>
                  </a:lnTo>
                  <a:lnTo>
                    <a:pt x="70" y="1"/>
                  </a:lnTo>
                  <a:lnTo>
                    <a:pt x="59" y="2"/>
                  </a:lnTo>
                  <a:lnTo>
                    <a:pt x="59" y="2"/>
                  </a:lnTo>
                  <a:lnTo>
                    <a:pt x="50" y="7"/>
                  </a:lnTo>
                  <a:lnTo>
                    <a:pt x="43" y="11"/>
                  </a:lnTo>
                  <a:lnTo>
                    <a:pt x="36" y="17"/>
                  </a:lnTo>
                  <a:lnTo>
                    <a:pt x="29" y="23"/>
                  </a:lnTo>
                  <a:lnTo>
                    <a:pt x="29" y="23"/>
                  </a:lnTo>
                  <a:lnTo>
                    <a:pt x="23" y="31"/>
                  </a:lnTo>
                  <a:lnTo>
                    <a:pt x="17" y="38"/>
                  </a:lnTo>
                  <a:lnTo>
                    <a:pt x="12" y="47"/>
                  </a:lnTo>
                  <a:lnTo>
                    <a:pt x="7" y="55"/>
                  </a:lnTo>
                  <a:lnTo>
                    <a:pt x="5" y="64"/>
                  </a:lnTo>
                  <a:lnTo>
                    <a:pt x="2" y="74"/>
                  </a:lnTo>
                  <a:lnTo>
                    <a:pt x="1" y="84"/>
                  </a:lnTo>
                  <a:lnTo>
                    <a:pt x="0" y="93"/>
                  </a:lnTo>
                  <a:lnTo>
                    <a:pt x="0" y="93"/>
                  </a:lnTo>
                  <a:lnTo>
                    <a:pt x="1" y="103"/>
                  </a:lnTo>
                  <a:lnTo>
                    <a:pt x="2" y="113"/>
                  </a:lnTo>
                  <a:lnTo>
                    <a:pt x="5" y="123"/>
                  </a:lnTo>
                  <a:lnTo>
                    <a:pt x="7" y="133"/>
                  </a:lnTo>
                  <a:lnTo>
                    <a:pt x="12" y="142"/>
                  </a:lnTo>
                  <a:lnTo>
                    <a:pt x="17" y="149"/>
                  </a:lnTo>
                  <a:lnTo>
                    <a:pt x="23" y="158"/>
                  </a:lnTo>
                  <a:lnTo>
                    <a:pt x="29" y="164"/>
                  </a:lnTo>
                  <a:lnTo>
                    <a:pt x="37" y="171"/>
                  </a:lnTo>
                  <a:lnTo>
                    <a:pt x="44" y="176"/>
                  </a:lnTo>
                  <a:lnTo>
                    <a:pt x="52" y="181"/>
                  </a:lnTo>
                  <a:lnTo>
                    <a:pt x="61" y="186"/>
                  </a:lnTo>
                  <a:lnTo>
                    <a:pt x="70" y="188"/>
                  </a:lnTo>
                  <a:lnTo>
                    <a:pt x="80" y="191"/>
                  </a:lnTo>
                  <a:lnTo>
                    <a:pt x="90" y="193"/>
                  </a:lnTo>
                  <a:lnTo>
                    <a:pt x="100" y="193"/>
                  </a:lnTo>
                  <a:lnTo>
                    <a:pt x="100" y="193"/>
                  </a:lnTo>
                  <a:lnTo>
                    <a:pt x="111" y="193"/>
                  </a:lnTo>
                  <a:lnTo>
                    <a:pt x="122" y="191"/>
                  </a:lnTo>
                  <a:lnTo>
                    <a:pt x="122" y="191"/>
                  </a:lnTo>
                  <a:lnTo>
                    <a:pt x="129" y="187"/>
                  </a:lnTo>
                  <a:lnTo>
                    <a:pt x="138" y="182"/>
                  </a:lnTo>
                  <a:lnTo>
                    <a:pt x="144" y="177"/>
                  </a:lnTo>
                  <a:lnTo>
                    <a:pt x="151" y="171"/>
                  </a:lnTo>
                  <a:lnTo>
                    <a:pt x="151" y="171"/>
                  </a:lnTo>
                  <a:lnTo>
                    <a:pt x="151" y="171"/>
                  </a:lnTo>
                  <a:lnTo>
                    <a:pt x="158" y="164"/>
                  </a:lnTo>
                  <a:lnTo>
                    <a:pt x="164" y="155"/>
                  </a:lnTo>
                  <a:lnTo>
                    <a:pt x="169" y="147"/>
                  </a:lnTo>
                  <a:lnTo>
                    <a:pt x="174" y="138"/>
                  </a:lnTo>
                  <a:lnTo>
                    <a:pt x="176" y="129"/>
                  </a:lnTo>
                  <a:lnTo>
                    <a:pt x="179" y="119"/>
                  </a:lnTo>
                  <a:lnTo>
                    <a:pt x="180" y="110"/>
                  </a:lnTo>
                  <a:lnTo>
                    <a:pt x="181" y="100"/>
                  </a:lnTo>
                  <a:lnTo>
                    <a:pt x="181" y="100"/>
                  </a:lnTo>
                  <a:lnTo>
                    <a:pt x="180" y="90"/>
                  </a:lnTo>
                  <a:lnTo>
                    <a:pt x="179" y="81"/>
                  </a:lnTo>
                  <a:lnTo>
                    <a:pt x="176" y="71"/>
                  </a:lnTo>
                  <a:lnTo>
                    <a:pt x="174" y="61"/>
                  </a:lnTo>
                  <a:lnTo>
                    <a:pt x="169" y="53"/>
                  </a:lnTo>
                  <a:lnTo>
                    <a:pt x="164" y="45"/>
                  </a:lnTo>
                  <a:lnTo>
                    <a:pt x="158" y="37"/>
                  </a:lnTo>
                  <a:lnTo>
                    <a:pt x="151" y="29"/>
                  </a:lnTo>
                  <a:lnTo>
                    <a:pt x="151"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213">
              <a:extLst>
                <a:ext uri="{FF2B5EF4-FFF2-40B4-BE49-F238E27FC236}">
                  <a16:creationId xmlns:a16="http://schemas.microsoft.com/office/drawing/2014/main" id="{432DE823-BF00-93D4-E326-BEBF8D6455B4}"/>
                </a:ext>
              </a:extLst>
            </p:cNvPr>
            <p:cNvSpPr>
              <a:spLocks/>
            </p:cNvSpPr>
            <p:nvPr/>
          </p:nvSpPr>
          <p:spPr bwMode="auto">
            <a:xfrm>
              <a:off x="3719513" y="573088"/>
              <a:ext cx="87313" cy="90488"/>
            </a:xfrm>
            <a:custGeom>
              <a:avLst/>
              <a:gdLst>
                <a:gd name="T0" fmla="*/ 50 w 55"/>
                <a:gd name="T1" fmla="*/ 52 h 57"/>
                <a:gd name="T2" fmla="*/ 50 w 55"/>
                <a:gd name="T3" fmla="*/ 52 h 57"/>
                <a:gd name="T4" fmla="*/ 45 w 55"/>
                <a:gd name="T5" fmla="*/ 56 h 57"/>
                <a:gd name="T6" fmla="*/ 39 w 55"/>
                <a:gd name="T7" fmla="*/ 57 h 57"/>
                <a:gd name="T8" fmla="*/ 32 w 55"/>
                <a:gd name="T9" fmla="*/ 56 h 57"/>
                <a:gd name="T10" fmla="*/ 27 w 55"/>
                <a:gd name="T11" fmla="*/ 52 h 57"/>
                <a:gd name="T12" fmla="*/ 5 w 55"/>
                <a:gd name="T13" fmla="*/ 30 h 57"/>
                <a:gd name="T14" fmla="*/ 5 w 55"/>
                <a:gd name="T15" fmla="*/ 30 h 57"/>
                <a:gd name="T16" fmla="*/ 1 w 55"/>
                <a:gd name="T17" fmla="*/ 24 h 57"/>
                <a:gd name="T18" fmla="*/ 0 w 55"/>
                <a:gd name="T19" fmla="*/ 18 h 57"/>
                <a:gd name="T20" fmla="*/ 1 w 55"/>
                <a:gd name="T21" fmla="*/ 12 h 57"/>
                <a:gd name="T22" fmla="*/ 5 w 55"/>
                <a:gd name="T23" fmla="*/ 5 h 57"/>
                <a:gd name="T24" fmla="*/ 5 w 55"/>
                <a:gd name="T25" fmla="*/ 5 h 57"/>
                <a:gd name="T26" fmla="*/ 5 w 55"/>
                <a:gd name="T27" fmla="*/ 5 h 57"/>
                <a:gd name="T28" fmla="*/ 5 w 55"/>
                <a:gd name="T29" fmla="*/ 5 h 57"/>
                <a:gd name="T30" fmla="*/ 11 w 55"/>
                <a:gd name="T31" fmla="*/ 2 h 57"/>
                <a:gd name="T32" fmla="*/ 17 w 55"/>
                <a:gd name="T33" fmla="*/ 0 h 57"/>
                <a:gd name="T34" fmla="*/ 23 w 55"/>
                <a:gd name="T35" fmla="*/ 2 h 57"/>
                <a:gd name="T36" fmla="*/ 29 w 55"/>
                <a:gd name="T37" fmla="*/ 5 h 57"/>
                <a:gd name="T38" fmla="*/ 50 w 55"/>
                <a:gd name="T39" fmla="*/ 28 h 57"/>
                <a:gd name="T40" fmla="*/ 50 w 55"/>
                <a:gd name="T41" fmla="*/ 28 h 57"/>
                <a:gd name="T42" fmla="*/ 54 w 55"/>
                <a:gd name="T43" fmla="*/ 34 h 57"/>
                <a:gd name="T44" fmla="*/ 55 w 55"/>
                <a:gd name="T45" fmla="*/ 40 h 57"/>
                <a:gd name="T46" fmla="*/ 54 w 55"/>
                <a:gd name="T47" fmla="*/ 46 h 57"/>
                <a:gd name="T48" fmla="*/ 50 w 55"/>
                <a:gd name="T49" fmla="*/ 52 h 57"/>
                <a:gd name="T50" fmla="*/ 50 w 55"/>
                <a:gd name="T51" fmla="*/ 52 h 57"/>
                <a:gd name="T52" fmla="*/ 50 w 55"/>
                <a:gd name="T53" fmla="*/ 52 h 57"/>
                <a:gd name="T54" fmla="*/ 50 w 55"/>
                <a:gd name="T55" fmla="*/ 5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5" h="57">
                  <a:moveTo>
                    <a:pt x="50" y="52"/>
                  </a:moveTo>
                  <a:lnTo>
                    <a:pt x="50" y="52"/>
                  </a:lnTo>
                  <a:lnTo>
                    <a:pt x="45" y="56"/>
                  </a:lnTo>
                  <a:lnTo>
                    <a:pt x="39" y="57"/>
                  </a:lnTo>
                  <a:lnTo>
                    <a:pt x="32" y="56"/>
                  </a:lnTo>
                  <a:lnTo>
                    <a:pt x="27" y="52"/>
                  </a:lnTo>
                  <a:lnTo>
                    <a:pt x="5" y="30"/>
                  </a:lnTo>
                  <a:lnTo>
                    <a:pt x="5" y="30"/>
                  </a:lnTo>
                  <a:lnTo>
                    <a:pt x="1" y="24"/>
                  </a:lnTo>
                  <a:lnTo>
                    <a:pt x="0" y="18"/>
                  </a:lnTo>
                  <a:lnTo>
                    <a:pt x="1" y="12"/>
                  </a:lnTo>
                  <a:lnTo>
                    <a:pt x="5" y="5"/>
                  </a:lnTo>
                  <a:lnTo>
                    <a:pt x="5" y="5"/>
                  </a:lnTo>
                  <a:lnTo>
                    <a:pt x="5" y="5"/>
                  </a:lnTo>
                  <a:lnTo>
                    <a:pt x="5" y="5"/>
                  </a:lnTo>
                  <a:lnTo>
                    <a:pt x="11" y="2"/>
                  </a:lnTo>
                  <a:lnTo>
                    <a:pt x="17" y="0"/>
                  </a:lnTo>
                  <a:lnTo>
                    <a:pt x="23" y="2"/>
                  </a:lnTo>
                  <a:lnTo>
                    <a:pt x="29" y="5"/>
                  </a:lnTo>
                  <a:lnTo>
                    <a:pt x="50" y="28"/>
                  </a:lnTo>
                  <a:lnTo>
                    <a:pt x="50" y="28"/>
                  </a:lnTo>
                  <a:lnTo>
                    <a:pt x="54" y="34"/>
                  </a:lnTo>
                  <a:lnTo>
                    <a:pt x="55" y="40"/>
                  </a:lnTo>
                  <a:lnTo>
                    <a:pt x="54" y="46"/>
                  </a:lnTo>
                  <a:lnTo>
                    <a:pt x="50" y="52"/>
                  </a:lnTo>
                  <a:lnTo>
                    <a:pt x="50" y="52"/>
                  </a:lnTo>
                  <a:lnTo>
                    <a:pt x="50" y="52"/>
                  </a:lnTo>
                  <a:lnTo>
                    <a:pt x="50" y="52"/>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14">
              <a:extLst>
                <a:ext uri="{FF2B5EF4-FFF2-40B4-BE49-F238E27FC236}">
                  <a16:creationId xmlns:a16="http://schemas.microsoft.com/office/drawing/2014/main" id="{A6047459-5B92-4B3C-3D4C-7B96455401AD}"/>
                </a:ext>
              </a:extLst>
            </p:cNvPr>
            <p:cNvSpPr>
              <a:spLocks/>
            </p:cNvSpPr>
            <p:nvPr/>
          </p:nvSpPr>
          <p:spPr bwMode="auto">
            <a:xfrm>
              <a:off x="3603625" y="258763"/>
              <a:ext cx="201613" cy="401638"/>
            </a:xfrm>
            <a:custGeom>
              <a:avLst/>
              <a:gdLst>
                <a:gd name="T0" fmla="*/ 1 w 127"/>
                <a:gd name="T1" fmla="*/ 0 h 253"/>
                <a:gd name="T2" fmla="*/ 27 w 127"/>
                <a:gd name="T3" fmla="*/ 2 h 253"/>
                <a:gd name="T4" fmla="*/ 51 w 127"/>
                <a:gd name="T5" fmla="*/ 10 h 253"/>
                <a:gd name="T6" fmla="*/ 71 w 127"/>
                <a:gd name="T7" fmla="*/ 21 h 253"/>
                <a:gd name="T8" fmla="*/ 90 w 127"/>
                <a:gd name="T9" fmla="*/ 37 h 253"/>
                <a:gd name="T10" fmla="*/ 106 w 127"/>
                <a:gd name="T11" fmla="*/ 55 h 253"/>
                <a:gd name="T12" fmla="*/ 117 w 127"/>
                <a:gd name="T13" fmla="*/ 78 h 253"/>
                <a:gd name="T14" fmla="*/ 125 w 127"/>
                <a:gd name="T15" fmla="*/ 101 h 253"/>
                <a:gd name="T16" fmla="*/ 127 w 127"/>
                <a:gd name="T17" fmla="*/ 126 h 253"/>
                <a:gd name="T18" fmla="*/ 127 w 127"/>
                <a:gd name="T19" fmla="*/ 139 h 253"/>
                <a:gd name="T20" fmla="*/ 122 w 127"/>
                <a:gd name="T21" fmla="*/ 163 h 253"/>
                <a:gd name="T22" fmla="*/ 112 w 127"/>
                <a:gd name="T23" fmla="*/ 186 h 253"/>
                <a:gd name="T24" fmla="*/ 99 w 127"/>
                <a:gd name="T25" fmla="*/ 206 h 253"/>
                <a:gd name="T26" fmla="*/ 90 w 127"/>
                <a:gd name="T27" fmla="*/ 216 h 253"/>
                <a:gd name="T28" fmla="*/ 71 w 127"/>
                <a:gd name="T29" fmla="*/ 232 h 253"/>
                <a:gd name="T30" fmla="*/ 49 w 127"/>
                <a:gd name="T31" fmla="*/ 243 h 253"/>
                <a:gd name="T32" fmla="*/ 26 w 127"/>
                <a:gd name="T33" fmla="*/ 250 h 253"/>
                <a:gd name="T34" fmla="*/ 1 w 127"/>
                <a:gd name="T35" fmla="*/ 253 h 253"/>
                <a:gd name="T36" fmla="*/ 0 w 127"/>
                <a:gd name="T37" fmla="*/ 253 h 253"/>
                <a:gd name="T38" fmla="*/ 1 w 127"/>
                <a:gd name="T39" fmla="*/ 235 h 253"/>
                <a:gd name="T40" fmla="*/ 1 w 127"/>
                <a:gd name="T41" fmla="*/ 235 h 253"/>
                <a:gd name="T42" fmla="*/ 22 w 127"/>
                <a:gd name="T43" fmla="*/ 234 h 253"/>
                <a:gd name="T44" fmla="*/ 43 w 127"/>
                <a:gd name="T45" fmla="*/ 228 h 253"/>
                <a:gd name="T46" fmla="*/ 62 w 127"/>
                <a:gd name="T47" fmla="*/ 217 h 253"/>
                <a:gd name="T48" fmla="*/ 79 w 127"/>
                <a:gd name="T49" fmla="*/ 203 h 253"/>
                <a:gd name="T50" fmla="*/ 86 w 127"/>
                <a:gd name="T51" fmla="*/ 196 h 253"/>
                <a:gd name="T52" fmla="*/ 97 w 127"/>
                <a:gd name="T53" fmla="*/ 177 h 253"/>
                <a:gd name="T54" fmla="*/ 106 w 127"/>
                <a:gd name="T55" fmla="*/ 158 h 253"/>
                <a:gd name="T56" fmla="*/ 110 w 127"/>
                <a:gd name="T57" fmla="*/ 137 h 253"/>
                <a:gd name="T58" fmla="*/ 111 w 127"/>
                <a:gd name="T59" fmla="*/ 126 h 253"/>
                <a:gd name="T60" fmla="*/ 108 w 127"/>
                <a:gd name="T61" fmla="*/ 105 h 253"/>
                <a:gd name="T62" fmla="*/ 102 w 127"/>
                <a:gd name="T63" fmla="*/ 84 h 253"/>
                <a:gd name="T64" fmla="*/ 92 w 127"/>
                <a:gd name="T65" fmla="*/ 65 h 253"/>
                <a:gd name="T66" fmla="*/ 79 w 127"/>
                <a:gd name="T67" fmla="*/ 49 h 253"/>
                <a:gd name="T68" fmla="*/ 63 w 127"/>
                <a:gd name="T69" fmla="*/ 36 h 253"/>
                <a:gd name="T70" fmla="*/ 43 w 127"/>
                <a:gd name="T71" fmla="*/ 25 h 253"/>
                <a:gd name="T72" fmla="*/ 23 w 127"/>
                <a:gd name="T73" fmla="*/ 18 h 253"/>
                <a:gd name="T74" fmla="*/ 1 w 127"/>
                <a:gd name="T75" fmla="*/ 16 h 253"/>
                <a:gd name="T76" fmla="*/ 1 w 127"/>
                <a:gd name="T77"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7" h="253">
                  <a:moveTo>
                    <a:pt x="1" y="0"/>
                  </a:moveTo>
                  <a:lnTo>
                    <a:pt x="1" y="0"/>
                  </a:lnTo>
                  <a:lnTo>
                    <a:pt x="14" y="0"/>
                  </a:lnTo>
                  <a:lnTo>
                    <a:pt x="27" y="2"/>
                  </a:lnTo>
                  <a:lnTo>
                    <a:pt x="38" y="5"/>
                  </a:lnTo>
                  <a:lnTo>
                    <a:pt x="51" y="10"/>
                  </a:lnTo>
                  <a:lnTo>
                    <a:pt x="62" y="15"/>
                  </a:lnTo>
                  <a:lnTo>
                    <a:pt x="71" y="21"/>
                  </a:lnTo>
                  <a:lnTo>
                    <a:pt x="81" y="28"/>
                  </a:lnTo>
                  <a:lnTo>
                    <a:pt x="90" y="37"/>
                  </a:lnTo>
                  <a:lnTo>
                    <a:pt x="99" y="45"/>
                  </a:lnTo>
                  <a:lnTo>
                    <a:pt x="106" y="55"/>
                  </a:lnTo>
                  <a:lnTo>
                    <a:pt x="112" y="66"/>
                  </a:lnTo>
                  <a:lnTo>
                    <a:pt x="117" y="78"/>
                  </a:lnTo>
                  <a:lnTo>
                    <a:pt x="122" y="89"/>
                  </a:lnTo>
                  <a:lnTo>
                    <a:pt x="125" y="101"/>
                  </a:lnTo>
                  <a:lnTo>
                    <a:pt x="127" y="113"/>
                  </a:lnTo>
                  <a:lnTo>
                    <a:pt x="127" y="126"/>
                  </a:lnTo>
                  <a:lnTo>
                    <a:pt x="127" y="126"/>
                  </a:lnTo>
                  <a:lnTo>
                    <a:pt x="127" y="139"/>
                  </a:lnTo>
                  <a:lnTo>
                    <a:pt x="125" y="152"/>
                  </a:lnTo>
                  <a:lnTo>
                    <a:pt x="122" y="163"/>
                  </a:lnTo>
                  <a:lnTo>
                    <a:pt x="118" y="175"/>
                  </a:lnTo>
                  <a:lnTo>
                    <a:pt x="112" y="186"/>
                  </a:lnTo>
                  <a:lnTo>
                    <a:pt x="106" y="196"/>
                  </a:lnTo>
                  <a:lnTo>
                    <a:pt x="99" y="206"/>
                  </a:lnTo>
                  <a:lnTo>
                    <a:pt x="90" y="216"/>
                  </a:lnTo>
                  <a:lnTo>
                    <a:pt x="90" y="216"/>
                  </a:lnTo>
                  <a:lnTo>
                    <a:pt x="81" y="224"/>
                  </a:lnTo>
                  <a:lnTo>
                    <a:pt x="71" y="232"/>
                  </a:lnTo>
                  <a:lnTo>
                    <a:pt x="60" y="238"/>
                  </a:lnTo>
                  <a:lnTo>
                    <a:pt x="49" y="243"/>
                  </a:lnTo>
                  <a:lnTo>
                    <a:pt x="38" y="248"/>
                  </a:lnTo>
                  <a:lnTo>
                    <a:pt x="26" y="250"/>
                  </a:lnTo>
                  <a:lnTo>
                    <a:pt x="14" y="253"/>
                  </a:lnTo>
                  <a:lnTo>
                    <a:pt x="1" y="253"/>
                  </a:lnTo>
                  <a:lnTo>
                    <a:pt x="1" y="253"/>
                  </a:lnTo>
                  <a:lnTo>
                    <a:pt x="0" y="253"/>
                  </a:lnTo>
                  <a:lnTo>
                    <a:pt x="1" y="235"/>
                  </a:lnTo>
                  <a:lnTo>
                    <a:pt x="1" y="235"/>
                  </a:lnTo>
                  <a:lnTo>
                    <a:pt x="1" y="235"/>
                  </a:lnTo>
                  <a:lnTo>
                    <a:pt x="1" y="235"/>
                  </a:lnTo>
                  <a:lnTo>
                    <a:pt x="12" y="235"/>
                  </a:lnTo>
                  <a:lnTo>
                    <a:pt x="22" y="234"/>
                  </a:lnTo>
                  <a:lnTo>
                    <a:pt x="33" y="232"/>
                  </a:lnTo>
                  <a:lnTo>
                    <a:pt x="43" y="228"/>
                  </a:lnTo>
                  <a:lnTo>
                    <a:pt x="53" y="223"/>
                  </a:lnTo>
                  <a:lnTo>
                    <a:pt x="62" y="217"/>
                  </a:lnTo>
                  <a:lnTo>
                    <a:pt x="70" y="211"/>
                  </a:lnTo>
                  <a:lnTo>
                    <a:pt x="79" y="203"/>
                  </a:lnTo>
                  <a:lnTo>
                    <a:pt x="79" y="203"/>
                  </a:lnTo>
                  <a:lnTo>
                    <a:pt x="86" y="196"/>
                  </a:lnTo>
                  <a:lnTo>
                    <a:pt x="92" y="187"/>
                  </a:lnTo>
                  <a:lnTo>
                    <a:pt x="97" y="177"/>
                  </a:lnTo>
                  <a:lnTo>
                    <a:pt x="102" y="168"/>
                  </a:lnTo>
                  <a:lnTo>
                    <a:pt x="106" y="158"/>
                  </a:lnTo>
                  <a:lnTo>
                    <a:pt x="108" y="148"/>
                  </a:lnTo>
                  <a:lnTo>
                    <a:pt x="110" y="137"/>
                  </a:lnTo>
                  <a:lnTo>
                    <a:pt x="111" y="126"/>
                  </a:lnTo>
                  <a:lnTo>
                    <a:pt x="111" y="126"/>
                  </a:lnTo>
                  <a:lnTo>
                    <a:pt x="110" y="115"/>
                  </a:lnTo>
                  <a:lnTo>
                    <a:pt x="108" y="105"/>
                  </a:lnTo>
                  <a:lnTo>
                    <a:pt x="106" y="94"/>
                  </a:lnTo>
                  <a:lnTo>
                    <a:pt x="102" y="84"/>
                  </a:lnTo>
                  <a:lnTo>
                    <a:pt x="97" y="74"/>
                  </a:lnTo>
                  <a:lnTo>
                    <a:pt x="92" y="65"/>
                  </a:lnTo>
                  <a:lnTo>
                    <a:pt x="85" y="57"/>
                  </a:lnTo>
                  <a:lnTo>
                    <a:pt x="79" y="49"/>
                  </a:lnTo>
                  <a:lnTo>
                    <a:pt x="70" y="42"/>
                  </a:lnTo>
                  <a:lnTo>
                    <a:pt x="63" y="36"/>
                  </a:lnTo>
                  <a:lnTo>
                    <a:pt x="53" y="29"/>
                  </a:lnTo>
                  <a:lnTo>
                    <a:pt x="43" y="25"/>
                  </a:lnTo>
                  <a:lnTo>
                    <a:pt x="33" y="21"/>
                  </a:lnTo>
                  <a:lnTo>
                    <a:pt x="23" y="18"/>
                  </a:lnTo>
                  <a:lnTo>
                    <a:pt x="12" y="17"/>
                  </a:lnTo>
                  <a:lnTo>
                    <a:pt x="1" y="16"/>
                  </a:lnTo>
                  <a:lnTo>
                    <a:pt x="1" y="0"/>
                  </a:lnTo>
                  <a:lnTo>
                    <a:pt x="1" y="0"/>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215">
              <a:extLst>
                <a:ext uri="{FF2B5EF4-FFF2-40B4-BE49-F238E27FC236}">
                  <a16:creationId xmlns:a16="http://schemas.microsoft.com/office/drawing/2014/main" id="{1D0F37AB-F0F2-B9CE-8230-D92C99D13F51}"/>
                </a:ext>
              </a:extLst>
            </p:cNvPr>
            <p:cNvSpPr>
              <a:spLocks/>
            </p:cNvSpPr>
            <p:nvPr/>
          </p:nvSpPr>
          <p:spPr bwMode="auto">
            <a:xfrm>
              <a:off x="3471863" y="323850"/>
              <a:ext cx="290513" cy="293688"/>
            </a:xfrm>
            <a:custGeom>
              <a:avLst/>
              <a:gdLst>
                <a:gd name="T0" fmla="*/ 72 w 183"/>
                <a:gd name="T1" fmla="*/ 162 h 185"/>
                <a:gd name="T2" fmla="*/ 74 w 183"/>
                <a:gd name="T3" fmla="*/ 144 h 185"/>
                <a:gd name="T4" fmla="*/ 79 w 183"/>
                <a:gd name="T5" fmla="*/ 128 h 185"/>
                <a:gd name="T6" fmla="*/ 88 w 183"/>
                <a:gd name="T7" fmla="*/ 113 h 185"/>
                <a:gd name="T8" fmla="*/ 98 w 183"/>
                <a:gd name="T9" fmla="*/ 99 h 185"/>
                <a:gd name="T10" fmla="*/ 111 w 183"/>
                <a:gd name="T11" fmla="*/ 88 h 185"/>
                <a:gd name="T12" fmla="*/ 126 w 183"/>
                <a:gd name="T13" fmla="*/ 81 h 185"/>
                <a:gd name="T14" fmla="*/ 143 w 183"/>
                <a:gd name="T15" fmla="*/ 75 h 185"/>
                <a:gd name="T16" fmla="*/ 161 w 183"/>
                <a:gd name="T17" fmla="*/ 74 h 185"/>
                <a:gd name="T18" fmla="*/ 172 w 183"/>
                <a:gd name="T19" fmla="*/ 75 h 185"/>
                <a:gd name="T20" fmla="*/ 183 w 183"/>
                <a:gd name="T21" fmla="*/ 76 h 185"/>
                <a:gd name="T22" fmla="*/ 180 w 183"/>
                <a:gd name="T23" fmla="*/ 59 h 185"/>
                <a:gd name="T24" fmla="*/ 174 w 183"/>
                <a:gd name="T25" fmla="*/ 43 h 185"/>
                <a:gd name="T26" fmla="*/ 166 w 183"/>
                <a:gd name="T27" fmla="*/ 28 h 185"/>
                <a:gd name="T28" fmla="*/ 154 w 183"/>
                <a:gd name="T29" fmla="*/ 14 h 185"/>
                <a:gd name="T30" fmla="*/ 145 w 183"/>
                <a:gd name="T31" fmla="*/ 7 h 185"/>
                <a:gd name="T32" fmla="*/ 135 w 183"/>
                <a:gd name="T33" fmla="*/ 0 h 185"/>
                <a:gd name="T34" fmla="*/ 134 w 183"/>
                <a:gd name="T35" fmla="*/ 4 h 185"/>
                <a:gd name="T36" fmla="*/ 134 w 183"/>
                <a:gd name="T37" fmla="*/ 25 h 185"/>
                <a:gd name="T38" fmla="*/ 113 w 183"/>
                <a:gd name="T39" fmla="*/ 30 h 185"/>
                <a:gd name="T40" fmla="*/ 103 w 183"/>
                <a:gd name="T41" fmla="*/ 14 h 185"/>
                <a:gd name="T42" fmla="*/ 98 w 183"/>
                <a:gd name="T43" fmla="*/ 9 h 185"/>
                <a:gd name="T44" fmla="*/ 90 w 183"/>
                <a:gd name="T45" fmla="*/ 11 h 185"/>
                <a:gd name="T46" fmla="*/ 61 w 183"/>
                <a:gd name="T47" fmla="*/ 28 h 185"/>
                <a:gd name="T48" fmla="*/ 57 w 183"/>
                <a:gd name="T49" fmla="*/ 33 h 185"/>
                <a:gd name="T50" fmla="*/ 58 w 183"/>
                <a:gd name="T51" fmla="*/ 39 h 185"/>
                <a:gd name="T52" fmla="*/ 68 w 183"/>
                <a:gd name="T53" fmla="*/ 58 h 185"/>
                <a:gd name="T54" fmla="*/ 53 w 183"/>
                <a:gd name="T55" fmla="*/ 72 h 185"/>
                <a:gd name="T56" fmla="*/ 36 w 183"/>
                <a:gd name="T57" fmla="*/ 62 h 185"/>
                <a:gd name="T58" fmla="*/ 30 w 183"/>
                <a:gd name="T59" fmla="*/ 62 h 185"/>
                <a:gd name="T60" fmla="*/ 25 w 183"/>
                <a:gd name="T61" fmla="*/ 66 h 185"/>
                <a:gd name="T62" fmla="*/ 8 w 183"/>
                <a:gd name="T63" fmla="*/ 96 h 185"/>
                <a:gd name="T64" fmla="*/ 6 w 183"/>
                <a:gd name="T65" fmla="*/ 102 h 185"/>
                <a:gd name="T66" fmla="*/ 10 w 183"/>
                <a:gd name="T67" fmla="*/ 107 h 185"/>
                <a:gd name="T68" fmla="*/ 29 w 183"/>
                <a:gd name="T69" fmla="*/ 118 h 185"/>
                <a:gd name="T70" fmla="*/ 23 w 183"/>
                <a:gd name="T71" fmla="*/ 139 h 185"/>
                <a:gd name="T72" fmla="*/ 3 w 183"/>
                <a:gd name="T73" fmla="*/ 139 h 185"/>
                <a:gd name="T74" fmla="*/ 0 w 183"/>
                <a:gd name="T75" fmla="*/ 139 h 185"/>
                <a:gd name="T76" fmla="*/ 14 w 183"/>
                <a:gd name="T77" fmla="*/ 156 h 185"/>
                <a:gd name="T78" fmla="*/ 32 w 183"/>
                <a:gd name="T79" fmla="*/ 170 h 185"/>
                <a:gd name="T80" fmla="*/ 52 w 183"/>
                <a:gd name="T81" fmla="*/ 180 h 185"/>
                <a:gd name="T82" fmla="*/ 76 w 183"/>
                <a:gd name="T83" fmla="*/ 185 h 185"/>
                <a:gd name="T84" fmla="*/ 73 w 183"/>
                <a:gd name="T85" fmla="*/ 173 h 185"/>
                <a:gd name="T86" fmla="*/ 72 w 183"/>
                <a:gd name="T87" fmla="*/ 16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3" h="185">
                  <a:moveTo>
                    <a:pt x="72" y="162"/>
                  </a:moveTo>
                  <a:lnTo>
                    <a:pt x="72" y="162"/>
                  </a:lnTo>
                  <a:lnTo>
                    <a:pt x="73" y="154"/>
                  </a:lnTo>
                  <a:lnTo>
                    <a:pt x="74" y="144"/>
                  </a:lnTo>
                  <a:lnTo>
                    <a:pt x="77" y="136"/>
                  </a:lnTo>
                  <a:lnTo>
                    <a:pt x="79" y="128"/>
                  </a:lnTo>
                  <a:lnTo>
                    <a:pt x="83" y="120"/>
                  </a:lnTo>
                  <a:lnTo>
                    <a:pt x="88" y="113"/>
                  </a:lnTo>
                  <a:lnTo>
                    <a:pt x="93" y="106"/>
                  </a:lnTo>
                  <a:lnTo>
                    <a:pt x="98" y="99"/>
                  </a:lnTo>
                  <a:lnTo>
                    <a:pt x="104" y="93"/>
                  </a:lnTo>
                  <a:lnTo>
                    <a:pt x="111" y="88"/>
                  </a:lnTo>
                  <a:lnTo>
                    <a:pt x="119" y="85"/>
                  </a:lnTo>
                  <a:lnTo>
                    <a:pt x="126" y="81"/>
                  </a:lnTo>
                  <a:lnTo>
                    <a:pt x="135" y="77"/>
                  </a:lnTo>
                  <a:lnTo>
                    <a:pt x="143" y="75"/>
                  </a:lnTo>
                  <a:lnTo>
                    <a:pt x="152" y="74"/>
                  </a:lnTo>
                  <a:lnTo>
                    <a:pt x="161" y="74"/>
                  </a:lnTo>
                  <a:lnTo>
                    <a:pt x="161" y="74"/>
                  </a:lnTo>
                  <a:lnTo>
                    <a:pt x="172" y="75"/>
                  </a:lnTo>
                  <a:lnTo>
                    <a:pt x="183" y="76"/>
                  </a:lnTo>
                  <a:lnTo>
                    <a:pt x="183" y="76"/>
                  </a:lnTo>
                  <a:lnTo>
                    <a:pt x="182" y="67"/>
                  </a:lnTo>
                  <a:lnTo>
                    <a:pt x="180" y="59"/>
                  </a:lnTo>
                  <a:lnTo>
                    <a:pt x="178" y="51"/>
                  </a:lnTo>
                  <a:lnTo>
                    <a:pt x="174" y="43"/>
                  </a:lnTo>
                  <a:lnTo>
                    <a:pt x="171" y="35"/>
                  </a:lnTo>
                  <a:lnTo>
                    <a:pt x="166" y="28"/>
                  </a:lnTo>
                  <a:lnTo>
                    <a:pt x="161" y="21"/>
                  </a:lnTo>
                  <a:lnTo>
                    <a:pt x="154" y="14"/>
                  </a:lnTo>
                  <a:lnTo>
                    <a:pt x="154" y="14"/>
                  </a:lnTo>
                  <a:lnTo>
                    <a:pt x="145" y="7"/>
                  </a:lnTo>
                  <a:lnTo>
                    <a:pt x="135" y="0"/>
                  </a:lnTo>
                  <a:lnTo>
                    <a:pt x="135" y="0"/>
                  </a:lnTo>
                  <a:lnTo>
                    <a:pt x="134" y="2"/>
                  </a:lnTo>
                  <a:lnTo>
                    <a:pt x="134" y="4"/>
                  </a:lnTo>
                  <a:lnTo>
                    <a:pt x="134" y="25"/>
                  </a:lnTo>
                  <a:lnTo>
                    <a:pt x="134" y="25"/>
                  </a:lnTo>
                  <a:lnTo>
                    <a:pt x="122" y="28"/>
                  </a:lnTo>
                  <a:lnTo>
                    <a:pt x="113" y="30"/>
                  </a:lnTo>
                  <a:lnTo>
                    <a:pt x="103" y="14"/>
                  </a:lnTo>
                  <a:lnTo>
                    <a:pt x="103" y="14"/>
                  </a:lnTo>
                  <a:lnTo>
                    <a:pt x="100" y="11"/>
                  </a:lnTo>
                  <a:lnTo>
                    <a:pt x="98" y="9"/>
                  </a:lnTo>
                  <a:lnTo>
                    <a:pt x="94" y="9"/>
                  </a:lnTo>
                  <a:lnTo>
                    <a:pt x="90" y="11"/>
                  </a:lnTo>
                  <a:lnTo>
                    <a:pt x="61" y="28"/>
                  </a:lnTo>
                  <a:lnTo>
                    <a:pt x="61" y="28"/>
                  </a:lnTo>
                  <a:lnTo>
                    <a:pt x="58" y="30"/>
                  </a:lnTo>
                  <a:lnTo>
                    <a:pt x="57" y="33"/>
                  </a:lnTo>
                  <a:lnTo>
                    <a:pt x="57" y="37"/>
                  </a:lnTo>
                  <a:lnTo>
                    <a:pt x="58" y="39"/>
                  </a:lnTo>
                  <a:lnTo>
                    <a:pt x="68" y="58"/>
                  </a:lnTo>
                  <a:lnTo>
                    <a:pt x="68" y="58"/>
                  </a:lnTo>
                  <a:lnTo>
                    <a:pt x="61" y="65"/>
                  </a:lnTo>
                  <a:lnTo>
                    <a:pt x="53" y="72"/>
                  </a:lnTo>
                  <a:lnTo>
                    <a:pt x="36" y="62"/>
                  </a:lnTo>
                  <a:lnTo>
                    <a:pt x="36" y="62"/>
                  </a:lnTo>
                  <a:lnTo>
                    <a:pt x="34" y="61"/>
                  </a:lnTo>
                  <a:lnTo>
                    <a:pt x="30" y="62"/>
                  </a:lnTo>
                  <a:lnTo>
                    <a:pt x="26" y="64"/>
                  </a:lnTo>
                  <a:lnTo>
                    <a:pt x="25" y="66"/>
                  </a:lnTo>
                  <a:lnTo>
                    <a:pt x="8" y="96"/>
                  </a:lnTo>
                  <a:lnTo>
                    <a:pt x="8" y="96"/>
                  </a:lnTo>
                  <a:lnTo>
                    <a:pt x="6" y="98"/>
                  </a:lnTo>
                  <a:lnTo>
                    <a:pt x="6" y="102"/>
                  </a:lnTo>
                  <a:lnTo>
                    <a:pt x="8" y="104"/>
                  </a:lnTo>
                  <a:lnTo>
                    <a:pt x="10" y="107"/>
                  </a:lnTo>
                  <a:lnTo>
                    <a:pt x="29" y="118"/>
                  </a:lnTo>
                  <a:lnTo>
                    <a:pt x="29" y="118"/>
                  </a:lnTo>
                  <a:lnTo>
                    <a:pt x="25" y="128"/>
                  </a:lnTo>
                  <a:lnTo>
                    <a:pt x="23" y="139"/>
                  </a:lnTo>
                  <a:lnTo>
                    <a:pt x="3" y="139"/>
                  </a:lnTo>
                  <a:lnTo>
                    <a:pt x="3" y="139"/>
                  </a:lnTo>
                  <a:lnTo>
                    <a:pt x="0" y="139"/>
                  </a:lnTo>
                  <a:lnTo>
                    <a:pt x="0" y="139"/>
                  </a:lnTo>
                  <a:lnTo>
                    <a:pt x="6" y="149"/>
                  </a:lnTo>
                  <a:lnTo>
                    <a:pt x="14" y="156"/>
                  </a:lnTo>
                  <a:lnTo>
                    <a:pt x="23" y="164"/>
                  </a:lnTo>
                  <a:lnTo>
                    <a:pt x="32" y="170"/>
                  </a:lnTo>
                  <a:lnTo>
                    <a:pt x="42" y="176"/>
                  </a:lnTo>
                  <a:lnTo>
                    <a:pt x="52" y="180"/>
                  </a:lnTo>
                  <a:lnTo>
                    <a:pt x="63" y="183"/>
                  </a:lnTo>
                  <a:lnTo>
                    <a:pt x="76" y="185"/>
                  </a:lnTo>
                  <a:lnTo>
                    <a:pt x="76" y="185"/>
                  </a:lnTo>
                  <a:lnTo>
                    <a:pt x="73" y="173"/>
                  </a:lnTo>
                  <a:lnTo>
                    <a:pt x="72" y="162"/>
                  </a:lnTo>
                  <a:lnTo>
                    <a:pt x="72" y="162"/>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216">
              <a:extLst>
                <a:ext uri="{FF2B5EF4-FFF2-40B4-BE49-F238E27FC236}">
                  <a16:creationId xmlns:a16="http://schemas.microsoft.com/office/drawing/2014/main" id="{F6E3BD9E-346E-8996-37A9-3ADE182B9068}"/>
                </a:ext>
              </a:extLst>
            </p:cNvPr>
            <p:cNvSpPr>
              <a:spLocks/>
            </p:cNvSpPr>
            <p:nvPr/>
          </p:nvSpPr>
          <p:spPr bwMode="auto">
            <a:xfrm>
              <a:off x="3471863" y="544513"/>
              <a:ext cx="120650" cy="73025"/>
            </a:xfrm>
            <a:custGeom>
              <a:avLst/>
              <a:gdLst>
                <a:gd name="T0" fmla="*/ 23 w 76"/>
                <a:gd name="T1" fmla="*/ 0 h 46"/>
                <a:gd name="T2" fmla="*/ 23 w 76"/>
                <a:gd name="T3" fmla="*/ 0 h 46"/>
                <a:gd name="T4" fmla="*/ 23 w 76"/>
                <a:gd name="T5" fmla="*/ 0 h 46"/>
                <a:gd name="T6" fmla="*/ 3 w 76"/>
                <a:gd name="T7" fmla="*/ 0 h 46"/>
                <a:gd name="T8" fmla="*/ 3 w 76"/>
                <a:gd name="T9" fmla="*/ 0 h 46"/>
                <a:gd name="T10" fmla="*/ 0 w 76"/>
                <a:gd name="T11" fmla="*/ 0 h 46"/>
                <a:gd name="T12" fmla="*/ 0 w 76"/>
                <a:gd name="T13" fmla="*/ 0 h 46"/>
                <a:gd name="T14" fmla="*/ 3 w 76"/>
                <a:gd name="T15" fmla="*/ 4 h 46"/>
                <a:gd name="T16" fmla="*/ 3 w 76"/>
                <a:gd name="T17" fmla="*/ 4 h 46"/>
                <a:gd name="T18" fmla="*/ 4 w 76"/>
                <a:gd name="T19" fmla="*/ 6 h 46"/>
                <a:gd name="T20" fmla="*/ 4 w 76"/>
                <a:gd name="T21" fmla="*/ 6 h 46"/>
                <a:gd name="T22" fmla="*/ 9 w 76"/>
                <a:gd name="T23" fmla="*/ 12 h 46"/>
                <a:gd name="T24" fmla="*/ 9 w 76"/>
                <a:gd name="T25" fmla="*/ 12 h 46"/>
                <a:gd name="T26" fmla="*/ 11 w 76"/>
                <a:gd name="T27" fmla="*/ 15 h 46"/>
                <a:gd name="T28" fmla="*/ 11 w 76"/>
                <a:gd name="T29" fmla="*/ 15 h 46"/>
                <a:gd name="T30" fmla="*/ 15 w 76"/>
                <a:gd name="T31" fmla="*/ 18 h 46"/>
                <a:gd name="T32" fmla="*/ 15 w 76"/>
                <a:gd name="T33" fmla="*/ 18 h 46"/>
                <a:gd name="T34" fmla="*/ 19 w 76"/>
                <a:gd name="T35" fmla="*/ 22 h 46"/>
                <a:gd name="T36" fmla="*/ 19 w 76"/>
                <a:gd name="T37" fmla="*/ 22 h 46"/>
                <a:gd name="T38" fmla="*/ 23 w 76"/>
                <a:gd name="T39" fmla="*/ 25 h 46"/>
                <a:gd name="T40" fmla="*/ 23 w 76"/>
                <a:gd name="T41" fmla="*/ 25 h 46"/>
                <a:gd name="T42" fmla="*/ 25 w 76"/>
                <a:gd name="T43" fmla="*/ 27 h 46"/>
                <a:gd name="T44" fmla="*/ 25 w 76"/>
                <a:gd name="T45" fmla="*/ 27 h 46"/>
                <a:gd name="T46" fmla="*/ 30 w 76"/>
                <a:gd name="T47" fmla="*/ 31 h 46"/>
                <a:gd name="T48" fmla="*/ 30 w 76"/>
                <a:gd name="T49" fmla="*/ 31 h 46"/>
                <a:gd name="T50" fmla="*/ 34 w 76"/>
                <a:gd name="T51" fmla="*/ 32 h 46"/>
                <a:gd name="T52" fmla="*/ 34 w 76"/>
                <a:gd name="T53" fmla="*/ 32 h 46"/>
                <a:gd name="T54" fmla="*/ 40 w 76"/>
                <a:gd name="T55" fmla="*/ 36 h 46"/>
                <a:gd name="T56" fmla="*/ 40 w 76"/>
                <a:gd name="T57" fmla="*/ 36 h 46"/>
                <a:gd name="T58" fmla="*/ 42 w 76"/>
                <a:gd name="T59" fmla="*/ 37 h 46"/>
                <a:gd name="T60" fmla="*/ 42 w 76"/>
                <a:gd name="T61" fmla="*/ 37 h 46"/>
                <a:gd name="T62" fmla="*/ 47 w 76"/>
                <a:gd name="T63" fmla="*/ 39 h 46"/>
                <a:gd name="T64" fmla="*/ 47 w 76"/>
                <a:gd name="T65" fmla="*/ 39 h 46"/>
                <a:gd name="T66" fmla="*/ 51 w 76"/>
                <a:gd name="T67" fmla="*/ 41 h 46"/>
                <a:gd name="T68" fmla="*/ 51 w 76"/>
                <a:gd name="T69" fmla="*/ 41 h 46"/>
                <a:gd name="T70" fmla="*/ 57 w 76"/>
                <a:gd name="T71" fmla="*/ 42 h 46"/>
                <a:gd name="T72" fmla="*/ 57 w 76"/>
                <a:gd name="T73" fmla="*/ 42 h 46"/>
                <a:gd name="T74" fmla="*/ 60 w 76"/>
                <a:gd name="T75" fmla="*/ 43 h 46"/>
                <a:gd name="T76" fmla="*/ 60 w 76"/>
                <a:gd name="T77" fmla="*/ 43 h 46"/>
                <a:gd name="T78" fmla="*/ 67 w 76"/>
                <a:gd name="T79" fmla="*/ 44 h 46"/>
                <a:gd name="T80" fmla="*/ 67 w 76"/>
                <a:gd name="T81" fmla="*/ 44 h 46"/>
                <a:gd name="T82" fmla="*/ 71 w 76"/>
                <a:gd name="T83" fmla="*/ 46 h 46"/>
                <a:gd name="T84" fmla="*/ 71 w 76"/>
                <a:gd name="T85" fmla="*/ 46 h 46"/>
                <a:gd name="T86" fmla="*/ 76 w 76"/>
                <a:gd name="T87" fmla="*/ 46 h 46"/>
                <a:gd name="T88" fmla="*/ 76 w 76"/>
                <a:gd name="T89" fmla="*/ 46 h 46"/>
                <a:gd name="T90" fmla="*/ 73 w 76"/>
                <a:gd name="T91" fmla="*/ 34 h 46"/>
                <a:gd name="T92" fmla="*/ 73 w 76"/>
                <a:gd name="T93" fmla="*/ 34 h 46"/>
                <a:gd name="T94" fmla="*/ 58 w 76"/>
                <a:gd name="T95" fmla="*/ 30 h 46"/>
                <a:gd name="T96" fmla="*/ 45 w 76"/>
                <a:gd name="T97" fmla="*/ 21 h 46"/>
                <a:gd name="T98" fmla="*/ 34 w 76"/>
                <a:gd name="T99" fmla="*/ 11 h 46"/>
                <a:gd name="T100" fmla="*/ 23 w 76"/>
                <a:gd name="T101" fmla="*/ 0 h 46"/>
                <a:gd name="T102" fmla="*/ 23 w 76"/>
                <a:gd name="T10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 h="46">
                  <a:moveTo>
                    <a:pt x="23" y="0"/>
                  </a:moveTo>
                  <a:lnTo>
                    <a:pt x="23" y="0"/>
                  </a:lnTo>
                  <a:lnTo>
                    <a:pt x="23" y="0"/>
                  </a:lnTo>
                  <a:lnTo>
                    <a:pt x="3" y="0"/>
                  </a:lnTo>
                  <a:lnTo>
                    <a:pt x="3" y="0"/>
                  </a:lnTo>
                  <a:lnTo>
                    <a:pt x="0" y="0"/>
                  </a:lnTo>
                  <a:lnTo>
                    <a:pt x="0" y="0"/>
                  </a:lnTo>
                  <a:lnTo>
                    <a:pt x="3" y="4"/>
                  </a:lnTo>
                  <a:lnTo>
                    <a:pt x="3" y="4"/>
                  </a:lnTo>
                  <a:lnTo>
                    <a:pt x="4" y="6"/>
                  </a:lnTo>
                  <a:lnTo>
                    <a:pt x="4" y="6"/>
                  </a:lnTo>
                  <a:lnTo>
                    <a:pt x="9" y="12"/>
                  </a:lnTo>
                  <a:lnTo>
                    <a:pt x="9" y="12"/>
                  </a:lnTo>
                  <a:lnTo>
                    <a:pt x="11" y="15"/>
                  </a:lnTo>
                  <a:lnTo>
                    <a:pt x="11" y="15"/>
                  </a:lnTo>
                  <a:lnTo>
                    <a:pt x="15" y="18"/>
                  </a:lnTo>
                  <a:lnTo>
                    <a:pt x="15" y="18"/>
                  </a:lnTo>
                  <a:lnTo>
                    <a:pt x="19" y="22"/>
                  </a:lnTo>
                  <a:lnTo>
                    <a:pt x="19" y="22"/>
                  </a:lnTo>
                  <a:lnTo>
                    <a:pt x="23" y="25"/>
                  </a:lnTo>
                  <a:lnTo>
                    <a:pt x="23" y="25"/>
                  </a:lnTo>
                  <a:lnTo>
                    <a:pt x="25" y="27"/>
                  </a:lnTo>
                  <a:lnTo>
                    <a:pt x="25" y="27"/>
                  </a:lnTo>
                  <a:lnTo>
                    <a:pt x="30" y="31"/>
                  </a:lnTo>
                  <a:lnTo>
                    <a:pt x="30" y="31"/>
                  </a:lnTo>
                  <a:lnTo>
                    <a:pt x="34" y="32"/>
                  </a:lnTo>
                  <a:lnTo>
                    <a:pt x="34" y="32"/>
                  </a:lnTo>
                  <a:lnTo>
                    <a:pt x="40" y="36"/>
                  </a:lnTo>
                  <a:lnTo>
                    <a:pt x="40" y="36"/>
                  </a:lnTo>
                  <a:lnTo>
                    <a:pt x="42" y="37"/>
                  </a:lnTo>
                  <a:lnTo>
                    <a:pt x="42" y="37"/>
                  </a:lnTo>
                  <a:lnTo>
                    <a:pt x="47" y="39"/>
                  </a:lnTo>
                  <a:lnTo>
                    <a:pt x="47" y="39"/>
                  </a:lnTo>
                  <a:lnTo>
                    <a:pt x="51" y="41"/>
                  </a:lnTo>
                  <a:lnTo>
                    <a:pt x="51" y="41"/>
                  </a:lnTo>
                  <a:lnTo>
                    <a:pt x="57" y="42"/>
                  </a:lnTo>
                  <a:lnTo>
                    <a:pt x="57" y="42"/>
                  </a:lnTo>
                  <a:lnTo>
                    <a:pt x="60" y="43"/>
                  </a:lnTo>
                  <a:lnTo>
                    <a:pt x="60" y="43"/>
                  </a:lnTo>
                  <a:lnTo>
                    <a:pt x="67" y="44"/>
                  </a:lnTo>
                  <a:lnTo>
                    <a:pt x="67" y="44"/>
                  </a:lnTo>
                  <a:lnTo>
                    <a:pt x="71" y="46"/>
                  </a:lnTo>
                  <a:lnTo>
                    <a:pt x="71" y="46"/>
                  </a:lnTo>
                  <a:lnTo>
                    <a:pt x="76" y="46"/>
                  </a:lnTo>
                  <a:lnTo>
                    <a:pt x="76" y="46"/>
                  </a:lnTo>
                  <a:lnTo>
                    <a:pt x="73" y="34"/>
                  </a:lnTo>
                  <a:lnTo>
                    <a:pt x="73" y="34"/>
                  </a:lnTo>
                  <a:lnTo>
                    <a:pt x="58" y="30"/>
                  </a:lnTo>
                  <a:lnTo>
                    <a:pt x="45" y="21"/>
                  </a:lnTo>
                  <a:lnTo>
                    <a:pt x="34" y="11"/>
                  </a:lnTo>
                  <a:lnTo>
                    <a:pt x="23" y="0"/>
                  </a:lnTo>
                  <a:lnTo>
                    <a:pt x="23"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330085722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27">
            <a:extLst>
              <a:ext uri="{FF2B5EF4-FFF2-40B4-BE49-F238E27FC236}">
                <a16:creationId xmlns:a16="http://schemas.microsoft.com/office/drawing/2014/main" id="{F576A4ED-954F-2988-548B-51229B64FD3E}"/>
              </a:ext>
            </a:extLst>
          </p:cNvPr>
          <p:cNvSpPr/>
          <p:nvPr/>
        </p:nvSpPr>
        <p:spPr>
          <a:xfrm>
            <a:off x="1234200" y="1360800"/>
            <a:ext cx="9723600" cy="896727"/>
          </a:xfrm>
          <a:prstGeom prst="rect">
            <a:avLst/>
          </a:prstGeom>
          <a:solidFill>
            <a:schemeClr val="bg1"/>
          </a:solidFill>
          <a:ln w="19050">
            <a:solidFill>
              <a:srgbClr val="A6DAE9"/>
            </a:solidFill>
          </a:ln>
        </p:spPr>
        <p:style>
          <a:lnRef idx="2">
            <a:schemeClr val="accent1">
              <a:shade val="50000"/>
            </a:schemeClr>
          </a:lnRef>
          <a:fillRef idx="1">
            <a:schemeClr val="accent1"/>
          </a:fillRef>
          <a:effectRef idx="0">
            <a:schemeClr val="accent1"/>
          </a:effectRef>
          <a:fontRef idx="minor">
            <a:schemeClr val="lt1"/>
          </a:fontRef>
        </p:style>
        <p:txBody>
          <a:bodyPr lIns="216000" tIns="108000" rIns="216000" bIns="108000" rtlCol="0" anchor="ctr"/>
          <a:lstStyle/>
          <a:p>
            <a:pPr marL="0" marR="0" lvl="0" indent="0" algn="ctr" defTabSz="914400" rtl="0" eaLnBrk="1" fontAlgn="auto" latinLnBrk="0" hangingPunct="1">
              <a:lnSpc>
                <a:spcPct val="120000"/>
              </a:lnSpc>
              <a:spcBef>
                <a:spcPts val="300"/>
              </a:spcBef>
              <a:spcAft>
                <a:spcPts val="300"/>
              </a:spcAft>
              <a:buClrTx/>
              <a:buSzTx/>
              <a:buFontTx/>
              <a:buNone/>
              <a:tabLst/>
              <a:defRPr/>
            </a:pPr>
            <a:r>
              <a:rPr lang="it-IT" sz="1600" b="1" i="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Perché le risorse assegnate con nota prot. 27523 del 12 ottobre 2023 non corrispondono a quelle comunicate all’interno dell’Allegato A al DM n. 63 del 5 aprile 2023?</a:t>
            </a:r>
            <a:endParaRPr kumimoji="0" lang="it-IT" sz="1600" b="1"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Titolo 1">
            <a:extLst>
              <a:ext uri="{FF2B5EF4-FFF2-40B4-BE49-F238E27FC236}">
                <a16:creationId xmlns:a16="http://schemas.microsoft.com/office/drawing/2014/main" id="{F46E2FDE-BF7B-883C-1214-B89AF8AC25EC}"/>
              </a:ext>
            </a:extLst>
          </p:cNvPr>
          <p:cNvSpPr txBox="1">
            <a:spLocks/>
          </p:cNvSpPr>
          <p:nvPr/>
        </p:nvSpPr>
        <p:spPr>
          <a:xfrm>
            <a:off x="228600" y="176586"/>
            <a:ext cx="11124959" cy="6596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200" b="1" dirty="0">
                <a:latin typeface="Open Sans"/>
                <a:ea typeface="Open Sans"/>
                <a:cs typeface="Open Sans"/>
              </a:rPr>
              <a:t>Principali richieste di chiarimento delle Scuole (7/9)</a:t>
            </a:r>
            <a:endParaRPr lang="it-IT" sz="2000" b="1" i="1" dirty="0"/>
          </a:p>
        </p:txBody>
      </p:sp>
      <p:sp>
        <p:nvSpPr>
          <p:cNvPr id="19" name="Rectangle 27">
            <a:extLst>
              <a:ext uri="{FF2B5EF4-FFF2-40B4-BE49-F238E27FC236}">
                <a16:creationId xmlns:a16="http://schemas.microsoft.com/office/drawing/2014/main" id="{1FF3A17F-10BE-AECB-62DC-63B9B9701F13}"/>
              </a:ext>
            </a:extLst>
          </p:cNvPr>
          <p:cNvSpPr/>
          <p:nvPr/>
        </p:nvSpPr>
        <p:spPr>
          <a:xfrm>
            <a:off x="1234668" y="3079876"/>
            <a:ext cx="9722664" cy="2916986"/>
          </a:xfrm>
          <a:prstGeom prst="rect">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lIns="216000" tIns="108000" rIns="216000" bIns="108000" rtlCol="0" anchor="ctr"/>
          <a:lstStyle/>
          <a:p>
            <a:pPr algn="just">
              <a:lnSpc>
                <a:spcPct val="120000"/>
              </a:lnSpc>
              <a:spcBef>
                <a:spcPts val="300"/>
              </a:spcBef>
              <a:spcAft>
                <a:spcPts val="300"/>
              </a:spcAft>
            </a:pPr>
            <a:r>
              <a:rPr lang="it-IT" sz="14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l motivo di tale discrepanza è dovuto al fatto che le risorse comunicate all’interno dell’Allegato A al DM n. 63 del 5 aprile 2023 rappresentavano il valore dell’assegnazione </a:t>
            </a:r>
            <a:r>
              <a:rPr lang="it-IT" sz="1400"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lordo Stato</a:t>
            </a:r>
            <a:r>
              <a:rPr lang="it-IT" sz="14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Successivamente, le risorse sono state assegnate con nota prot. n. 27523 al </a:t>
            </a:r>
            <a:r>
              <a:rPr lang="it-IT" sz="1400"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lordo dipendente</a:t>
            </a:r>
            <a:r>
              <a:rPr lang="it-IT" sz="14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cioè al netto dei contributi previdenziali ed assistenziali a carico dello Stato e dell’IRAP.</a:t>
            </a:r>
          </a:p>
        </p:txBody>
      </p:sp>
      <p:pic>
        <p:nvPicPr>
          <p:cNvPr id="3" name="Picture 26">
            <a:extLst>
              <a:ext uri="{FF2B5EF4-FFF2-40B4-BE49-F238E27FC236}">
                <a16:creationId xmlns:a16="http://schemas.microsoft.com/office/drawing/2014/main" id="{893B8904-6067-8D29-EA9B-90235201401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70373" y="5497200"/>
            <a:ext cx="683186" cy="684000"/>
          </a:xfrm>
          <a:prstGeom prst="rect">
            <a:avLst/>
          </a:prstGeom>
        </p:spPr>
      </p:pic>
      <p:sp>
        <p:nvSpPr>
          <p:cNvPr id="43" name="Triangolo isoscele 42">
            <a:extLst>
              <a:ext uri="{FF2B5EF4-FFF2-40B4-BE49-F238E27FC236}">
                <a16:creationId xmlns:a16="http://schemas.microsoft.com/office/drawing/2014/main" id="{65E5D22A-0988-19BA-4B1A-84D20D8AC718}"/>
              </a:ext>
            </a:extLst>
          </p:cNvPr>
          <p:cNvSpPr/>
          <p:nvPr/>
        </p:nvSpPr>
        <p:spPr>
          <a:xfrm rot="10800000">
            <a:off x="5167735" y="2410723"/>
            <a:ext cx="1856531" cy="517721"/>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60" name="Freeform 216">
            <a:extLst>
              <a:ext uri="{FF2B5EF4-FFF2-40B4-BE49-F238E27FC236}">
                <a16:creationId xmlns:a16="http://schemas.microsoft.com/office/drawing/2014/main" id="{DF855A62-758F-1F43-0BBE-33599755B8D1}"/>
              </a:ext>
            </a:extLst>
          </p:cNvPr>
          <p:cNvSpPr>
            <a:spLocks/>
          </p:cNvSpPr>
          <p:nvPr/>
        </p:nvSpPr>
        <p:spPr bwMode="auto">
          <a:xfrm>
            <a:off x="1116736" y="1755846"/>
            <a:ext cx="74157" cy="44821"/>
          </a:xfrm>
          <a:custGeom>
            <a:avLst/>
            <a:gdLst>
              <a:gd name="T0" fmla="*/ 23 w 76"/>
              <a:gd name="T1" fmla="*/ 0 h 46"/>
              <a:gd name="T2" fmla="*/ 23 w 76"/>
              <a:gd name="T3" fmla="*/ 0 h 46"/>
              <a:gd name="T4" fmla="*/ 23 w 76"/>
              <a:gd name="T5" fmla="*/ 0 h 46"/>
              <a:gd name="T6" fmla="*/ 3 w 76"/>
              <a:gd name="T7" fmla="*/ 0 h 46"/>
              <a:gd name="T8" fmla="*/ 3 w 76"/>
              <a:gd name="T9" fmla="*/ 0 h 46"/>
              <a:gd name="T10" fmla="*/ 0 w 76"/>
              <a:gd name="T11" fmla="*/ 0 h 46"/>
              <a:gd name="T12" fmla="*/ 0 w 76"/>
              <a:gd name="T13" fmla="*/ 0 h 46"/>
              <a:gd name="T14" fmla="*/ 3 w 76"/>
              <a:gd name="T15" fmla="*/ 4 h 46"/>
              <a:gd name="T16" fmla="*/ 3 w 76"/>
              <a:gd name="T17" fmla="*/ 4 h 46"/>
              <a:gd name="T18" fmla="*/ 4 w 76"/>
              <a:gd name="T19" fmla="*/ 6 h 46"/>
              <a:gd name="T20" fmla="*/ 4 w 76"/>
              <a:gd name="T21" fmla="*/ 6 h 46"/>
              <a:gd name="T22" fmla="*/ 9 w 76"/>
              <a:gd name="T23" fmla="*/ 12 h 46"/>
              <a:gd name="T24" fmla="*/ 9 w 76"/>
              <a:gd name="T25" fmla="*/ 12 h 46"/>
              <a:gd name="T26" fmla="*/ 11 w 76"/>
              <a:gd name="T27" fmla="*/ 15 h 46"/>
              <a:gd name="T28" fmla="*/ 11 w 76"/>
              <a:gd name="T29" fmla="*/ 15 h 46"/>
              <a:gd name="T30" fmla="*/ 15 w 76"/>
              <a:gd name="T31" fmla="*/ 18 h 46"/>
              <a:gd name="T32" fmla="*/ 15 w 76"/>
              <a:gd name="T33" fmla="*/ 18 h 46"/>
              <a:gd name="T34" fmla="*/ 19 w 76"/>
              <a:gd name="T35" fmla="*/ 22 h 46"/>
              <a:gd name="T36" fmla="*/ 19 w 76"/>
              <a:gd name="T37" fmla="*/ 22 h 46"/>
              <a:gd name="T38" fmla="*/ 23 w 76"/>
              <a:gd name="T39" fmla="*/ 25 h 46"/>
              <a:gd name="T40" fmla="*/ 23 w 76"/>
              <a:gd name="T41" fmla="*/ 25 h 46"/>
              <a:gd name="T42" fmla="*/ 25 w 76"/>
              <a:gd name="T43" fmla="*/ 27 h 46"/>
              <a:gd name="T44" fmla="*/ 25 w 76"/>
              <a:gd name="T45" fmla="*/ 27 h 46"/>
              <a:gd name="T46" fmla="*/ 30 w 76"/>
              <a:gd name="T47" fmla="*/ 31 h 46"/>
              <a:gd name="T48" fmla="*/ 30 w 76"/>
              <a:gd name="T49" fmla="*/ 31 h 46"/>
              <a:gd name="T50" fmla="*/ 34 w 76"/>
              <a:gd name="T51" fmla="*/ 32 h 46"/>
              <a:gd name="T52" fmla="*/ 34 w 76"/>
              <a:gd name="T53" fmla="*/ 32 h 46"/>
              <a:gd name="T54" fmla="*/ 40 w 76"/>
              <a:gd name="T55" fmla="*/ 36 h 46"/>
              <a:gd name="T56" fmla="*/ 40 w 76"/>
              <a:gd name="T57" fmla="*/ 36 h 46"/>
              <a:gd name="T58" fmla="*/ 42 w 76"/>
              <a:gd name="T59" fmla="*/ 37 h 46"/>
              <a:gd name="T60" fmla="*/ 42 w 76"/>
              <a:gd name="T61" fmla="*/ 37 h 46"/>
              <a:gd name="T62" fmla="*/ 47 w 76"/>
              <a:gd name="T63" fmla="*/ 39 h 46"/>
              <a:gd name="T64" fmla="*/ 47 w 76"/>
              <a:gd name="T65" fmla="*/ 39 h 46"/>
              <a:gd name="T66" fmla="*/ 51 w 76"/>
              <a:gd name="T67" fmla="*/ 41 h 46"/>
              <a:gd name="T68" fmla="*/ 51 w 76"/>
              <a:gd name="T69" fmla="*/ 41 h 46"/>
              <a:gd name="T70" fmla="*/ 57 w 76"/>
              <a:gd name="T71" fmla="*/ 42 h 46"/>
              <a:gd name="T72" fmla="*/ 57 w 76"/>
              <a:gd name="T73" fmla="*/ 42 h 46"/>
              <a:gd name="T74" fmla="*/ 60 w 76"/>
              <a:gd name="T75" fmla="*/ 43 h 46"/>
              <a:gd name="T76" fmla="*/ 60 w 76"/>
              <a:gd name="T77" fmla="*/ 43 h 46"/>
              <a:gd name="T78" fmla="*/ 67 w 76"/>
              <a:gd name="T79" fmla="*/ 44 h 46"/>
              <a:gd name="T80" fmla="*/ 67 w 76"/>
              <a:gd name="T81" fmla="*/ 44 h 46"/>
              <a:gd name="T82" fmla="*/ 71 w 76"/>
              <a:gd name="T83" fmla="*/ 46 h 46"/>
              <a:gd name="T84" fmla="*/ 71 w 76"/>
              <a:gd name="T85" fmla="*/ 46 h 46"/>
              <a:gd name="T86" fmla="*/ 76 w 76"/>
              <a:gd name="T87" fmla="*/ 46 h 46"/>
              <a:gd name="T88" fmla="*/ 76 w 76"/>
              <a:gd name="T89" fmla="*/ 46 h 46"/>
              <a:gd name="T90" fmla="*/ 73 w 76"/>
              <a:gd name="T91" fmla="*/ 34 h 46"/>
              <a:gd name="T92" fmla="*/ 73 w 76"/>
              <a:gd name="T93" fmla="*/ 34 h 46"/>
              <a:gd name="T94" fmla="*/ 58 w 76"/>
              <a:gd name="T95" fmla="*/ 30 h 46"/>
              <a:gd name="T96" fmla="*/ 45 w 76"/>
              <a:gd name="T97" fmla="*/ 21 h 46"/>
              <a:gd name="T98" fmla="*/ 34 w 76"/>
              <a:gd name="T99" fmla="*/ 11 h 46"/>
              <a:gd name="T100" fmla="*/ 23 w 76"/>
              <a:gd name="T101" fmla="*/ 0 h 46"/>
              <a:gd name="T102" fmla="*/ 23 w 76"/>
              <a:gd name="T10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 h="46">
                <a:moveTo>
                  <a:pt x="23" y="0"/>
                </a:moveTo>
                <a:lnTo>
                  <a:pt x="23" y="0"/>
                </a:lnTo>
                <a:lnTo>
                  <a:pt x="23" y="0"/>
                </a:lnTo>
                <a:lnTo>
                  <a:pt x="3" y="0"/>
                </a:lnTo>
                <a:lnTo>
                  <a:pt x="3" y="0"/>
                </a:lnTo>
                <a:lnTo>
                  <a:pt x="0" y="0"/>
                </a:lnTo>
                <a:lnTo>
                  <a:pt x="0" y="0"/>
                </a:lnTo>
                <a:lnTo>
                  <a:pt x="3" y="4"/>
                </a:lnTo>
                <a:lnTo>
                  <a:pt x="3" y="4"/>
                </a:lnTo>
                <a:lnTo>
                  <a:pt x="4" y="6"/>
                </a:lnTo>
                <a:lnTo>
                  <a:pt x="4" y="6"/>
                </a:lnTo>
                <a:lnTo>
                  <a:pt x="9" y="12"/>
                </a:lnTo>
                <a:lnTo>
                  <a:pt x="9" y="12"/>
                </a:lnTo>
                <a:lnTo>
                  <a:pt x="11" y="15"/>
                </a:lnTo>
                <a:lnTo>
                  <a:pt x="11" y="15"/>
                </a:lnTo>
                <a:lnTo>
                  <a:pt x="15" y="18"/>
                </a:lnTo>
                <a:lnTo>
                  <a:pt x="15" y="18"/>
                </a:lnTo>
                <a:lnTo>
                  <a:pt x="19" y="22"/>
                </a:lnTo>
                <a:lnTo>
                  <a:pt x="19" y="22"/>
                </a:lnTo>
                <a:lnTo>
                  <a:pt x="23" y="25"/>
                </a:lnTo>
                <a:lnTo>
                  <a:pt x="23" y="25"/>
                </a:lnTo>
                <a:lnTo>
                  <a:pt x="25" y="27"/>
                </a:lnTo>
                <a:lnTo>
                  <a:pt x="25" y="27"/>
                </a:lnTo>
                <a:lnTo>
                  <a:pt x="30" y="31"/>
                </a:lnTo>
                <a:lnTo>
                  <a:pt x="30" y="31"/>
                </a:lnTo>
                <a:lnTo>
                  <a:pt x="34" y="32"/>
                </a:lnTo>
                <a:lnTo>
                  <a:pt x="34" y="32"/>
                </a:lnTo>
                <a:lnTo>
                  <a:pt x="40" y="36"/>
                </a:lnTo>
                <a:lnTo>
                  <a:pt x="40" y="36"/>
                </a:lnTo>
                <a:lnTo>
                  <a:pt x="42" y="37"/>
                </a:lnTo>
                <a:lnTo>
                  <a:pt x="42" y="37"/>
                </a:lnTo>
                <a:lnTo>
                  <a:pt x="47" y="39"/>
                </a:lnTo>
                <a:lnTo>
                  <a:pt x="47" y="39"/>
                </a:lnTo>
                <a:lnTo>
                  <a:pt x="51" y="41"/>
                </a:lnTo>
                <a:lnTo>
                  <a:pt x="51" y="41"/>
                </a:lnTo>
                <a:lnTo>
                  <a:pt x="57" y="42"/>
                </a:lnTo>
                <a:lnTo>
                  <a:pt x="57" y="42"/>
                </a:lnTo>
                <a:lnTo>
                  <a:pt x="60" y="43"/>
                </a:lnTo>
                <a:lnTo>
                  <a:pt x="60" y="43"/>
                </a:lnTo>
                <a:lnTo>
                  <a:pt x="67" y="44"/>
                </a:lnTo>
                <a:lnTo>
                  <a:pt x="67" y="44"/>
                </a:lnTo>
                <a:lnTo>
                  <a:pt x="71" y="46"/>
                </a:lnTo>
                <a:lnTo>
                  <a:pt x="71" y="46"/>
                </a:lnTo>
                <a:lnTo>
                  <a:pt x="76" y="46"/>
                </a:lnTo>
                <a:lnTo>
                  <a:pt x="76" y="46"/>
                </a:lnTo>
                <a:lnTo>
                  <a:pt x="73" y="34"/>
                </a:lnTo>
                <a:lnTo>
                  <a:pt x="73" y="34"/>
                </a:lnTo>
                <a:lnTo>
                  <a:pt x="58" y="30"/>
                </a:lnTo>
                <a:lnTo>
                  <a:pt x="45" y="21"/>
                </a:lnTo>
                <a:lnTo>
                  <a:pt x="34" y="11"/>
                </a:lnTo>
                <a:lnTo>
                  <a:pt x="23" y="0"/>
                </a:lnTo>
                <a:lnTo>
                  <a:pt x="23"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1" name="Segnaposto numero diapositiva 20">
            <a:extLst>
              <a:ext uri="{FF2B5EF4-FFF2-40B4-BE49-F238E27FC236}">
                <a16:creationId xmlns:a16="http://schemas.microsoft.com/office/drawing/2014/main" id="{1588BD75-3518-D655-46B1-1288388FB2F0}"/>
              </a:ext>
            </a:extLst>
          </p:cNvPr>
          <p:cNvSpPr>
            <a:spLocks noGrp="1"/>
          </p:cNvSpPr>
          <p:nvPr>
            <p:ph type="sldNum" sz="quarter" idx="12"/>
          </p:nvPr>
        </p:nvSpPr>
        <p:spPr/>
        <p:txBody>
          <a:bodyPr/>
          <a:lstStyle/>
          <a:p>
            <a:fld id="{00F0C1FD-41C3-4D85-8E51-9C56B45C685D}" type="slidenum">
              <a:rPr lang="it-IT" smtClean="0"/>
              <a:t>15</a:t>
            </a:fld>
            <a:endParaRPr lang="it-IT"/>
          </a:p>
        </p:txBody>
      </p:sp>
      <p:grpSp>
        <p:nvGrpSpPr>
          <p:cNvPr id="22" name="Group 406">
            <a:extLst>
              <a:ext uri="{FF2B5EF4-FFF2-40B4-BE49-F238E27FC236}">
                <a16:creationId xmlns:a16="http://schemas.microsoft.com/office/drawing/2014/main" id="{D2FC2CC6-9174-B27A-39EB-78951F2FE9FE}"/>
              </a:ext>
            </a:extLst>
          </p:cNvPr>
          <p:cNvGrpSpPr/>
          <p:nvPr/>
        </p:nvGrpSpPr>
        <p:grpSpPr>
          <a:xfrm>
            <a:off x="910387" y="1467163"/>
            <a:ext cx="684000" cy="684000"/>
            <a:chOff x="3144838" y="0"/>
            <a:chExt cx="1112838" cy="1114425"/>
          </a:xfrm>
        </p:grpSpPr>
        <p:sp>
          <p:nvSpPr>
            <p:cNvPr id="23" name="Freeform 7">
              <a:extLst>
                <a:ext uri="{FF2B5EF4-FFF2-40B4-BE49-F238E27FC236}">
                  <a16:creationId xmlns:a16="http://schemas.microsoft.com/office/drawing/2014/main" id="{B296D478-79C1-6771-7D9C-C6AE37959EF6}"/>
                </a:ext>
              </a:extLst>
            </p:cNvPr>
            <p:cNvSpPr>
              <a:spLocks/>
            </p:cNvSpPr>
            <p:nvPr/>
          </p:nvSpPr>
          <p:spPr bwMode="auto">
            <a:xfrm>
              <a:off x="3144838" y="0"/>
              <a:ext cx="1112838" cy="1114425"/>
            </a:xfrm>
            <a:custGeom>
              <a:avLst/>
              <a:gdLst>
                <a:gd name="T0" fmla="*/ 332 w 701"/>
                <a:gd name="T1" fmla="*/ 701 h 702"/>
                <a:gd name="T2" fmla="*/ 280 w 701"/>
                <a:gd name="T3" fmla="*/ 695 h 702"/>
                <a:gd name="T4" fmla="*/ 230 w 701"/>
                <a:gd name="T5" fmla="*/ 680 h 702"/>
                <a:gd name="T6" fmla="*/ 183 w 701"/>
                <a:gd name="T7" fmla="*/ 659 h 702"/>
                <a:gd name="T8" fmla="*/ 141 w 701"/>
                <a:gd name="T9" fmla="*/ 632 h 702"/>
                <a:gd name="T10" fmla="*/ 103 w 701"/>
                <a:gd name="T11" fmla="*/ 598 h 702"/>
                <a:gd name="T12" fmla="*/ 69 w 701"/>
                <a:gd name="T13" fmla="*/ 561 h 702"/>
                <a:gd name="T14" fmla="*/ 42 w 701"/>
                <a:gd name="T15" fmla="*/ 518 h 702"/>
                <a:gd name="T16" fmla="*/ 21 w 701"/>
                <a:gd name="T17" fmla="*/ 471 h 702"/>
                <a:gd name="T18" fmla="*/ 7 w 701"/>
                <a:gd name="T19" fmla="*/ 422 h 702"/>
                <a:gd name="T20" fmla="*/ 0 w 701"/>
                <a:gd name="T21" fmla="*/ 369 h 702"/>
                <a:gd name="T22" fmla="*/ 0 w 701"/>
                <a:gd name="T23" fmla="*/ 333 h 702"/>
                <a:gd name="T24" fmla="*/ 7 w 701"/>
                <a:gd name="T25" fmla="*/ 280 h 702"/>
                <a:gd name="T26" fmla="*/ 21 w 701"/>
                <a:gd name="T27" fmla="*/ 231 h 702"/>
                <a:gd name="T28" fmla="*/ 42 w 701"/>
                <a:gd name="T29" fmla="*/ 184 h 702"/>
                <a:gd name="T30" fmla="*/ 69 w 701"/>
                <a:gd name="T31" fmla="*/ 142 h 702"/>
                <a:gd name="T32" fmla="*/ 103 w 701"/>
                <a:gd name="T33" fmla="*/ 104 h 702"/>
                <a:gd name="T34" fmla="*/ 141 w 701"/>
                <a:gd name="T35" fmla="*/ 70 h 702"/>
                <a:gd name="T36" fmla="*/ 183 w 701"/>
                <a:gd name="T37" fmla="*/ 43 h 702"/>
                <a:gd name="T38" fmla="*/ 230 w 701"/>
                <a:gd name="T39" fmla="*/ 22 h 702"/>
                <a:gd name="T40" fmla="*/ 280 w 701"/>
                <a:gd name="T41" fmla="*/ 7 h 702"/>
                <a:gd name="T42" fmla="*/ 332 w 701"/>
                <a:gd name="T43" fmla="*/ 1 h 702"/>
                <a:gd name="T44" fmla="*/ 368 w 701"/>
                <a:gd name="T45" fmla="*/ 1 h 702"/>
                <a:gd name="T46" fmla="*/ 421 w 701"/>
                <a:gd name="T47" fmla="*/ 7 h 702"/>
                <a:gd name="T48" fmla="*/ 470 w 701"/>
                <a:gd name="T49" fmla="*/ 22 h 702"/>
                <a:gd name="T50" fmla="*/ 517 w 701"/>
                <a:gd name="T51" fmla="*/ 43 h 702"/>
                <a:gd name="T52" fmla="*/ 560 w 701"/>
                <a:gd name="T53" fmla="*/ 70 h 702"/>
                <a:gd name="T54" fmla="*/ 599 w 701"/>
                <a:gd name="T55" fmla="*/ 104 h 702"/>
                <a:gd name="T56" fmla="*/ 631 w 701"/>
                <a:gd name="T57" fmla="*/ 142 h 702"/>
                <a:gd name="T58" fmla="*/ 659 w 701"/>
                <a:gd name="T59" fmla="*/ 184 h 702"/>
                <a:gd name="T60" fmla="*/ 680 w 701"/>
                <a:gd name="T61" fmla="*/ 231 h 702"/>
                <a:gd name="T62" fmla="*/ 693 w 701"/>
                <a:gd name="T63" fmla="*/ 280 h 702"/>
                <a:gd name="T64" fmla="*/ 701 w 701"/>
                <a:gd name="T65" fmla="*/ 333 h 702"/>
                <a:gd name="T66" fmla="*/ 701 w 701"/>
                <a:gd name="T67" fmla="*/ 369 h 702"/>
                <a:gd name="T68" fmla="*/ 693 w 701"/>
                <a:gd name="T69" fmla="*/ 422 h 702"/>
                <a:gd name="T70" fmla="*/ 680 w 701"/>
                <a:gd name="T71" fmla="*/ 471 h 702"/>
                <a:gd name="T72" fmla="*/ 659 w 701"/>
                <a:gd name="T73" fmla="*/ 518 h 702"/>
                <a:gd name="T74" fmla="*/ 631 w 701"/>
                <a:gd name="T75" fmla="*/ 561 h 702"/>
                <a:gd name="T76" fmla="*/ 599 w 701"/>
                <a:gd name="T77" fmla="*/ 598 h 702"/>
                <a:gd name="T78" fmla="*/ 560 w 701"/>
                <a:gd name="T79" fmla="*/ 632 h 702"/>
                <a:gd name="T80" fmla="*/ 517 w 701"/>
                <a:gd name="T81" fmla="*/ 659 h 702"/>
                <a:gd name="T82" fmla="*/ 470 w 701"/>
                <a:gd name="T83" fmla="*/ 680 h 702"/>
                <a:gd name="T84" fmla="*/ 421 w 701"/>
                <a:gd name="T85" fmla="*/ 695 h 702"/>
                <a:gd name="T86" fmla="*/ 368 w 701"/>
                <a:gd name="T8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1" y="702"/>
                  </a:moveTo>
                  <a:lnTo>
                    <a:pt x="351" y="702"/>
                  </a:lnTo>
                  <a:lnTo>
                    <a:pt x="332" y="701"/>
                  </a:lnTo>
                  <a:lnTo>
                    <a:pt x="315" y="699"/>
                  </a:lnTo>
                  <a:lnTo>
                    <a:pt x="298" y="697"/>
                  </a:lnTo>
                  <a:lnTo>
                    <a:pt x="280" y="695"/>
                  </a:lnTo>
                  <a:lnTo>
                    <a:pt x="263" y="691"/>
                  </a:lnTo>
                  <a:lnTo>
                    <a:pt x="246" y="686"/>
                  </a:lnTo>
                  <a:lnTo>
                    <a:pt x="230" y="680"/>
                  </a:lnTo>
                  <a:lnTo>
                    <a:pt x="214" y="674"/>
                  </a:lnTo>
                  <a:lnTo>
                    <a:pt x="199" y="667"/>
                  </a:lnTo>
                  <a:lnTo>
                    <a:pt x="183" y="659"/>
                  </a:lnTo>
                  <a:lnTo>
                    <a:pt x="168" y="651"/>
                  </a:lnTo>
                  <a:lnTo>
                    <a:pt x="155" y="641"/>
                  </a:lnTo>
                  <a:lnTo>
                    <a:pt x="141" y="632"/>
                  </a:lnTo>
                  <a:lnTo>
                    <a:pt x="127" y="622"/>
                  </a:lnTo>
                  <a:lnTo>
                    <a:pt x="115" y="611"/>
                  </a:lnTo>
                  <a:lnTo>
                    <a:pt x="103" y="598"/>
                  </a:lnTo>
                  <a:lnTo>
                    <a:pt x="90" y="587"/>
                  </a:lnTo>
                  <a:lnTo>
                    <a:pt x="81" y="574"/>
                  </a:lnTo>
                  <a:lnTo>
                    <a:pt x="69" y="561"/>
                  </a:lnTo>
                  <a:lnTo>
                    <a:pt x="60" y="546"/>
                  </a:lnTo>
                  <a:lnTo>
                    <a:pt x="51" y="533"/>
                  </a:lnTo>
                  <a:lnTo>
                    <a:pt x="42" y="518"/>
                  </a:lnTo>
                  <a:lnTo>
                    <a:pt x="35" y="503"/>
                  </a:lnTo>
                  <a:lnTo>
                    <a:pt x="27" y="487"/>
                  </a:lnTo>
                  <a:lnTo>
                    <a:pt x="21" y="471"/>
                  </a:lnTo>
                  <a:lnTo>
                    <a:pt x="15" y="455"/>
                  </a:lnTo>
                  <a:lnTo>
                    <a:pt x="11" y="439"/>
                  </a:lnTo>
                  <a:lnTo>
                    <a:pt x="7" y="422"/>
                  </a:lnTo>
                  <a:lnTo>
                    <a:pt x="4" y="405"/>
                  </a:lnTo>
                  <a:lnTo>
                    <a:pt x="2" y="387"/>
                  </a:lnTo>
                  <a:lnTo>
                    <a:pt x="0" y="369"/>
                  </a:lnTo>
                  <a:lnTo>
                    <a:pt x="0" y="352"/>
                  </a:lnTo>
                  <a:lnTo>
                    <a:pt x="0" y="352"/>
                  </a:lnTo>
                  <a:lnTo>
                    <a:pt x="0" y="333"/>
                  </a:lnTo>
                  <a:lnTo>
                    <a:pt x="2" y="316"/>
                  </a:lnTo>
                  <a:lnTo>
                    <a:pt x="4" y="297"/>
                  </a:lnTo>
                  <a:lnTo>
                    <a:pt x="7" y="280"/>
                  </a:lnTo>
                  <a:lnTo>
                    <a:pt x="11" y="264"/>
                  </a:lnTo>
                  <a:lnTo>
                    <a:pt x="15" y="247"/>
                  </a:lnTo>
                  <a:lnTo>
                    <a:pt x="21" y="231"/>
                  </a:lnTo>
                  <a:lnTo>
                    <a:pt x="27" y="215"/>
                  </a:lnTo>
                  <a:lnTo>
                    <a:pt x="35" y="199"/>
                  </a:lnTo>
                  <a:lnTo>
                    <a:pt x="42" y="184"/>
                  </a:lnTo>
                  <a:lnTo>
                    <a:pt x="51" y="169"/>
                  </a:lnTo>
                  <a:lnTo>
                    <a:pt x="60" y="155"/>
                  </a:lnTo>
                  <a:lnTo>
                    <a:pt x="69" y="142"/>
                  </a:lnTo>
                  <a:lnTo>
                    <a:pt x="81" y="128"/>
                  </a:lnTo>
                  <a:lnTo>
                    <a:pt x="90" y="116"/>
                  </a:lnTo>
                  <a:lnTo>
                    <a:pt x="103" y="104"/>
                  </a:lnTo>
                  <a:lnTo>
                    <a:pt x="115" y="91"/>
                  </a:lnTo>
                  <a:lnTo>
                    <a:pt x="127" y="80"/>
                  </a:lnTo>
                  <a:lnTo>
                    <a:pt x="141" y="70"/>
                  </a:lnTo>
                  <a:lnTo>
                    <a:pt x="155" y="60"/>
                  </a:lnTo>
                  <a:lnTo>
                    <a:pt x="168" y="52"/>
                  </a:lnTo>
                  <a:lnTo>
                    <a:pt x="183" y="43"/>
                  </a:lnTo>
                  <a:lnTo>
                    <a:pt x="199" y="35"/>
                  </a:lnTo>
                  <a:lnTo>
                    <a:pt x="214" y="28"/>
                  </a:lnTo>
                  <a:lnTo>
                    <a:pt x="230" y="22"/>
                  </a:lnTo>
                  <a:lnTo>
                    <a:pt x="246" y="16"/>
                  </a:lnTo>
                  <a:lnTo>
                    <a:pt x="263" y="11"/>
                  </a:lnTo>
                  <a:lnTo>
                    <a:pt x="280" y="7"/>
                  </a:lnTo>
                  <a:lnTo>
                    <a:pt x="298" y="5"/>
                  </a:lnTo>
                  <a:lnTo>
                    <a:pt x="315" y="2"/>
                  </a:lnTo>
                  <a:lnTo>
                    <a:pt x="332" y="1"/>
                  </a:lnTo>
                  <a:lnTo>
                    <a:pt x="351" y="0"/>
                  </a:lnTo>
                  <a:lnTo>
                    <a:pt x="351" y="0"/>
                  </a:lnTo>
                  <a:lnTo>
                    <a:pt x="368" y="1"/>
                  </a:lnTo>
                  <a:lnTo>
                    <a:pt x="386" y="2"/>
                  </a:lnTo>
                  <a:lnTo>
                    <a:pt x="404" y="5"/>
                  </a:lnTo>
                  <a:lnTo>
                    <a:pt x="421" y="7"/>
                  </a:lnTo>
                  <a:lnTo>
                    <a:pt x="438" y="11"/>
                  </a:lnTo>
                  <a:lnTo>
                    <a:pt x="454" y="16"/>
                  </a:lnTo>
                  <a:lnTo>
                    <a:pt x="470" y="22"/>
                  </a:lnTo>
                  <a:lnTo>
                    <a:pt x="486" y="28"/>
                  </a:lnTo>
                  <a:lnTo>
                    <a:pt x="502" y="35"/>
                  </a:lnTo>
                  <a:lnTo>
                    <a:pt x="517" y="43"/>
                  </a:lnTo>
                  <a:lnTo>
                    <a:pt x="532" y="52"/>
                  </a:lnTo>
                  <a:lnTo>
                    <a:pt x="547" y="60"/>
                  </a:lnTo>
                  <a:lnTo>
                    <a:pt x="560" y="70"/>
                  </a:lnTo>
                  <a:lnTo>
                    <a:pt x="574" y="80"/>
                  </a:lnTo>
                  <a:lnTo>
                    <a:pt x="586" y="91"/>
                  </a:lnTo>
                  <a:lnTo>
                    <a:pt x="599" y="104"/>
                  </a:lnTo>
                  <a:lnTo>
                    <a:pt x="610" y="116"/>
                  </a:lnTo>
                  <a:lnTo>
                    <a:pt x="621" y="128"/>
                  </a:lnTo>
                  <a:lnTo>
                    <a:pt x="631" y="142"/>
                  </a:lnTo>
                  <a:lnTo>
                    <a:pt x="640" y="155"/>
                  </a:lnTo>
                  <a:lnTo>
                    <a:pt x="650" y="169"/>
                  </a:lnTo>
                  <a:lnTo>
                    <a:pt x="659" y="184"/>
                  </a:lnTo>
                  <a:lnTo>
                    <a:pt x="666" y="199"/>
                  </a:lnTo>
                  <a:lnTo>
                    <a:pt x="674" y="215"/>
                  </a:lnTo>
                  <a:lnTo>
                    <a:pt x="680" y="231"/>
                  </a:lnTo>
                  <a:lnTo>
                    <a:pt x="685" y="247"/>
                  </a:lnTo>
                  <a:lnTo>
                    <a:pt x="690" y="264"/>
                  </a:lnTo>
                  <a:lnTo>
                    <a:pt x="693" y="280"/>
                  </a:lnTo>
                  <a:lnTo>
                    <a:pt x="697" y="297"/>
                  </a:lnTo>
                  <a:lnTo>
                    <a:pt x="698" y="316"/>
                  </a:lnTo>
                  <a:lnTo>
                    <a:pt x="701" y="333"/>
                  </a:lnTo>
                  <a:lnTo>
                    <a:pt x="701" y="352"/>
                  </a:lnTo>
                  <a:lnTo>
                    <a:pt x="701" y="352"/>
                  </a:lnTo>
                  <a:lnTo>
                    <a:pt x="701" y="369"/>
                  </a:lnTo>
                  <a:lnTo>
                    <a:pt x="698" y="387"/>
                  </a:lnTo>
                  <a:lnTo>
                    <a:pt x="697" y="405"/>
                  </a:lnTo>
                  <a:lnTo>
                    <a:pt x="693" y="422"/>
                  </a:lnTo>
                  <a:lnTo>
                    <a:pt x="690" y="439"/>
                  </a:lnTo>
                  <a:lnTo>
                    <a:pt x="685" y="455"/>
                  </a:lnTo>
                  <a:lnTo>
                    <a:pt x="680" y="471"/>
                  </a:lnTo>
                  <a:lnTo>
                    <a:pt x="674" y="487"/>
                  </a:lnTo>
                  <a:lnTo>
                    <a:pt x="666" y="503"/>
                  </a:lnTo>
                  <a:lnTo>
                    <a:pt x="659" y="518"/>
                  </a:lnTo>
                  <a:lnTo>
                    <a:pt x="650" y="533"/>
                  </a:lnTo>
                  <a:lnTo>
                    <a:pt x="640" y="546"/>
                  </a:lnTo>
                  <a:lnTo>
                    <a:pt x="631" y="561"/>
                  </a:lnTo>
                  <a:lnTo>
                    <a:pt x="621" y="574"/>
                  </a:lnTo>
                  <a:lnTo>
                    <a:pt x="610" y="587"/>
                  </a:lnTo>
                  <a:lnTo>
                    <a:pt x="599" y="598"/>
                  </a:lnTo>
                  <a:lnTo>
                    <a:pt x="586" y="611"/>
                  </a:lnTo>
                  <a:lnTo>
                    <a:pt x="574" y="622"/>
                  </a:lnTo>
                  <a:lnTo>
                    <a:pt x="560" y="632"/>
                  </a:lnTo>
                  <a:lnTo>
                    <a:pt x="547" y="641"/>
                  </a:lnTo>
                  <a:lnTo>
                    <a:pt x="532" y="651"/>
                  </a:lnTo>
                  <a:lnTo>
                    <a:pt x="517" y="659"/>
                  </a:lnTo>
                  <a:lnTo>
                    <a:pt x="502" y="667"/>
                  </a:lnTo>
                  <a:lnTo>
                    <a:pt x="486" y="674"/>
                  </a:lnTo>
                  <a:lnTo>
                    <a:pt x="470" y="680"/>
                  </a:lnTo>
                  <a:lnTo>
                    <a:pt x="454" y="686"/>
                  </a:lnTo>
                  <a:lnTo>
                    <a:pt x="438" y="691"/>
                  </a:lnTo>
                  <a:lnTo>
                    <a:pt x="421" y="695"/>
                  </a:lnTo>
                  <a:lnTo>
                    <a:pt x="404" y="697"/>
                  </a:lnTo>
                  <a:lnTo>
                    <a:pt x="386" y="699"/>
                  </a:lnTo>
                  <a:lnTo>
                    <a:pt x="368" y="701"/>
                  </a:lnTo>
                  <a:lnTo>
                    <a:pt x="351" y="702"/>
                  </a:lnTo>
                  <a:lnTo>
                    <a:pt x="351" y="702"/>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202">
              <a:extLst>
                <a:ext uri="{FF2B5EF4-FFF2-40B4-BE49-F238E27FC236}">
                  <a16:creationId xmlns:a16="http://schemas.microsoft.com/office/drawing/2014/main" id="{DEB2F8DB-7997-990A-3176-90B01AA70174}"/>
                </a:ext>
              </a:extLst>
            </p:cNvPr>
            <p:cNvSpPr>
              <a:spLocks/>
            </p:cNvSpPr>
            <p:nvPr/>
          </p:nvSpPr>
          <p:spPr bwMode="auto">
            <a:xfrm>
              <a:off x="3392488" y="244475"/>
              <a:ext cx="841375" cy="844550"/>
            </a:xfrm>
            <a:custGeom>
              <a:avLst/>
              <a:gdLst>
                <a:gd name="T0" fmla="*/ 343 w 530"/>
                <a:gd name="T1" fmla="*/ 110 h 532"/>
                <a:gd name="T2" fmla="*/ 340 w 530"/>
                <a:gd name="T3" fmla="*/ 109 h 532"/>
                <a:gd name="T4" fmla="*/ 311 w 530"/>
                <a:gd name="T5" fmla="*/ 79 h 532"/>
                <a:gd name="T6" fmla="*/ 277 w 530"/>
                <a:gd name="T7" fmla="*/ 58 h 532"/>
                <a:gd name="T8" fmla="*/ 275 w 530"/>
                <a:gd name="T9" fmla="*/ 58 h 532"/>
                <a:gd name="T10" fmla="*/ 269 w 530"/>
                <a:gd name="T11" fmla="*/ 59 h 532"/>
                <a:gd name="T12" fmla="*/ 260 w 530"/>
                <a:gd name="T13" fmla="*/ 72 h 532"/>
                <a:gd name="T14" fmla="*/ 234 w 530"/>
                <a:gd name="T15" fmla="*/ 46 h 532"/>
                <a:gd name="T16" fmla="*/ 229 w 530"/>
                <a:gd name="T17" fmla="*/ 40 h 532"/>
                <a:gd name="T18" fmla="*/ 208 w 530"/>
                <a:gd name="T19" fmla="*/ 24 h 532"/>
                <a:gd name="T20" fmla="*/ 185 w 530"/>
                <a:gd name="T21" fmla="*/ 11 h 532"/>
                <a:gd name="T22" fmla="*/ 160 w 530"/>
                <a:gd name="T23" fmla="*/ 4 h 532"/>
                <a:gd name="T24" fmla="*/ 134 w 530"/>
                <a:gd name="T25" fmla="*/ 0 h 532"/>
                <a:gd name="T26" fmla="*/ 121 w 530"/>
                <a:gd name="T27" fmla="*/ 1 h 532"/>
                <a:gd name="T28" fmla="*/ 95 w 530"/>
                <a:gd name="T29" fmla="*/ 6 h 532"/>
                <a:gd name="T30" fmla="*/ 70 w 530"/>
                <a:gd name="T31" fmla="*/ 16 h 532"/>
                <a:gd name="T32" fmla="*/ 49 w 530"/>
                <a:gd name="T33" fmla="*/ 31 h 532"/>
                <a:gd name="T34" fmla="*/ 39 w 530"/>
                <a:gd name="T35" fmla="*/ 40 h 532"/>
                <a:gd name="T36" fmla="*/ 22 w 530"/>
                <a:gd name="T37" fmla="*/ 61 h 532"/>
                <a:gd name="T38" fmla="*/ 10 w 530"/>
                <a:gd name="T39" fmla="*/ 84 h 532"/>
                <a:gd name="T40" fmla="*/ 2 w 530"/>
                <a:gd name="T41" fmla="*/ 109 h 532"/>
                <a:gd name="T42" fmla="*/ 0 w 530"/>
                <a:gd name="T43" fmla="*/ 135 h 532"/>
                <a:gd name="T44" fmla="*/ 0 w 530"/>
                <a:gd name="T45" fmla="*/ 149 h 532"/>
                <a:gd name="T46" fmla="*/ 6 w 530"/>
                <a:gd name="T47" fmla="*/ 177 h 532"/>
                <a:gd name="T48" fmla="*/ 17 w 530"/>
                <a:gd name="T49" fmla="*/ 201 h 532"/>
                <a:gd name="T50" fmla="*/ 33 w 530"/>
                <a:gd name="T51" fmla="*/ 223 h 532"/>
                <a:gd name="T52" fmla="*/ 74 w 530"/>
                <a:gd name="T53" fmla="*/ 264 h 532"/>
                <a:gd name="T54" fmla="*/ 63 w 530"/>
                <a:gd name="T55" fmla="*/ 270 h 532"/>
                <a:gd name="T56" fmla="*/ 59 w 530"/>
                <a:gd name="T57" fmla="*/ 275 h 532"/>
                <a:gd name="T58" fmla="*/ 59 w 530"/>
                <a:gd name="T59" fmla="*/ 283 h 532"/>
                <a:gd name="T60" fmla="*/ 76 w 530"/>
                <a:gd name="T61" fmla="*/ 312 h 532"/>
                <a:gd name="T62" fmla="*/ 79 w 530"/>
                <a:gd name="T63" fmla="*/ 315 h 532"/>
                <a:gd name="T64" fmla="*/ 296 w 530"/>
                <a:gd name="T65" fmla="*/ 532 h 532"/>
                <a:gd name="T66" fmla="*/ 336 w 530"/>
                <a:gd name="T67" fmla="*/ 517 h 532"/>
                <a:gd name="T68" fmla="*/ 375 w 530"/>
                <a:gd name="T69" fmla="*/ 496 h 532"/>
                <a:gd name="T70" fmla="*/ 410 w 530"/>
                <a:gd name="T71" fmla="*/ 473 h 532"/>
                <a:gd name="T72" fmla="*/ 443 w 530"/>
                <a:gd name="T73" fmla="*/ 443 h 532"/>
                <a:gd name="T74" fmla="*/ 471 w 530"/>
                <a:gd name="T75" fmla="*/ 411 h 532"/>
                <a:gd name="T76" fmla="*/ 494 w 530"/>
                <a:gd name="T77" fmla="*/ 375 h 532"/>
                <a:gd name="T78" fmla="*/ 514 w 530"/>
                <a:gd name="T79" fmla="*/ 337 h 532"/>
                <a:gd name="T80" fmla="*/ 530 w 530"/>
                <a:gd name="T81" fmla="*/ 296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0" h="532">
                  <a:moveTo>
                    <a:pt x="343" y="110"/>
                  </a:moveTo>
                  <a:lnTo>
                    <a:pt x="343" y="110"/>
                  </a:lnTo>
                  <a:lnTo>
                    <a:pt x="343" y="110"/>
                  </a:lnTo>
                  <a:lnTo>
                    <a:pt x="340" y="109"/>
                  </a:lnTo>
                  <a:lnTo>
                    <a:pt x="311" y="79"/>
                  </a:lnTo>
                  <a:lnTo>
                    <a:pt x="311" y="79"/>
                  </a:lnTo>
                  <a:lnTo>
                    <a:pt x="307" y="75"/>
                  </a:lnTo>
                  <a:lnTo>
                    <a:pt x="277" y="58"/>
                  </a:lnTo>
                  <a:lnTo>
                    <a:pt x="277" y="58"/>
                  </a:lnTo>
                  <a:lnTo>
                    <a:pt x="275" y="58"/>
                  </a:lnTo>
                  <a:lnTo>
                    <a:pt x="271" y="58"/>
                  </a:lnTo>
                  <a:lnTo>
                    <a:pt x="269" y="59"/>
                  </a:lnTo>
                  <a:lnTo>
                    <a:pt x="266" y="62"/>
                  </a:lnTo>
                  <a:lnTo>
                    <a:pt x="260" y="72"/>
                  </a:lnTo>
                  <a:lnTo>
                    <a:pt x="234" y="46"/>
                  </a:lnTo>
                  <a:lnTo>
                    <a:pt x="234" y="46"/>
                  </a:lnTo>
                  <a:lnTo>
                    <a:pt x="229" y="40"/>
                  </a:lnTo>
                  <a:lnTo>
                    <a:pt x="229" y="40"/>
                  </a:lnTo>
                  <a:lnTo>
                    <a:pt x="219" y="31"/>
                  </a:lnTo>
                  <a:lnTo>
                    <a:pt x="208" y="24"/>
                  </a:lnTo>
                  <a:lnTo>
                    <a:pt x="197" y="16"/>
                  </a:lnTo>
                  <a:lnTo>
                    <a:pt x="185" y="11"/>
                  </a:lnTo>
                  <a:lnTo>
                    <a:pt x="174" y="6"/>
                  </a:lnTo>
                  <a:lnTo>
                    <a:pt x="160" y="4"/>
                  </a:lnTo>
                  <a:lnTo>
                    <a:pt x="148" y="1"/>
                  </a:lnTo>
                  <a:lnTo>
                    <a:pt x="134" y="0"/>
                  </a:lnTo>
                  <a:lnTo>
                    <a:pt x="134" y="0"/>
                  </a:lnTo>
                  <a:lnTo>
                    <a:pt x="121" y="1"/>
                  </a:lnTo>
                  <a:lnTo>
                    <a:pt x="107" y="4"/>
                  </a:lnTo>
                  <a:lnTo>
                    <a:pt x="95" y="6"/>
                  </a:lnTo>
                  <a:lnTo>
                    <a:pt x="82" y="11"/>
                  </a:lnTo>
                  <a:lnTo>
                    <a:pt x="70" y="16"/>
                  </a:lnTo>
                  <a:lnTo>
                    <a:pt x="59" y="24"/>
                  </a:lnTo>
                  <a:lnTo>
                    <a:pt x="49" y="31"/>
                  </a:lnTo>
                  <a:lnTo>
                    <a:pt x="39" y="40"/>
                  </a:lnTo>
                  <a:lnTo>
                    <a:pt x="39" y="40"/>
                  </a:lnTo>
                  <a:lnTo>
                    <a:pt x="29" y="50"/>
                  </a:lnTo>
                  <a:lnTo>
                    <a:pt x="22" y="61"/>
                  </a:lnTo>
                  <a:lnTo>
                    <a:pt x="16" y="72"/>
                  </a:lnTo>
                  <a:lnTo>
                    <a:pt x="10" y="84"/>
                  </a:lnTo>
                  <a:lnTo>
                    <a:pt x="5" y="96"/>
                  </a:lnTo>
                  <a:lnTo>
                    <a:pt x="2" y="109"/>
                  </a:lnTo>
                  <a:lnTo>
                    <a:pt x="0" y="121"/>
                  </a:lnTo>
                  <a:lnTo>
                    <a:pt x="0" y="135"/>
                  </a:lnTo>
                  <a:lnTo>
                    <a:pt x="0" y="135"/>
                  </a:lnTo>
                  <a:lnTo>
                    <a:pt x="0" y="149"/>
                  </a:lnTo>
                  <a:lnTo>
                    <a:pt x="2" y="163"/>
                  </a:lnTo>
                  <a:lnTo>
                    <a:pt x="6" y="177"/>
                  </a:lnTo>
                  <a:lnTo>
                    <a:pt x="11" y="190"/>
                  </a:lnTo>
                  <a:lnTo>
                    <a:pt x="17" y="201"/>
                  </a:lnTo>
                  <a:lnTo>
                    <a:pt x="24" y="214"/>
                  </a:lnTo>
                  <a:lnTo>
                    <a:pt x="33" y="223"/>
                  </a:lnTo>
                  <a:lnTo>
                    <a:pt x="43" y="233"/>
                  </a:lnTo>
                  <a:lnTo>
                    <a:pt x="74" y="264"/>
                  </a:lnTo>
                  <a:lnTo>
                    <a:pt x="63" y="270"/>
                  </a:lnTo>
                  <a:lnTo>
                    <a:pt x="63" y="270"/>
                  </a:lnTo>
                  <a:lnTo>
                    <a:pt x="60" y="273"/>
                  </a:lnTo>
                  <a:lnTo>
                    <a:pt x="59" y="275"/>
                  </a:lnTo>
                  <a:lnTo>
                    <a:pt x="58" y="279"/>
                  </a:lnTo>
                  <a:lnTo>
                    <a:pt x="59" y="283"/>
                  </a:lnTo>
                  <a:lnTo>
                    <a:pt x="76" y="312"/>
                  </a:lnTo>
                  <a:lnTo>
                    <a:pt x="76" y="312"/>
                  </a:lnTo>
                  <a:lnTo>
                    <a:pt x="79" y="315"/>
                  </a:lnTo>
                  <a:lnTo>
                    <a:pt x="79" y="315"/>
                  </a:lnTo>
                  <a:lnTo>
                    <a:pt x="296" y="532"/>
                  </a:lnTo>
                  <a:lnTo>
                    <a:pt x="296" y="532"/>
                  </a:lnTo>
                  <a:lnTo>
                    <a:pt x="317" y="526"/>
                  </a:lnTo>
                  <a:lnTo>
                    <a:pt x="336" y="517"/>
                  </a:lnTo>
                  <a:lnTo>
                    <a:pt x="356" y="507"/>
                  </a:lnTo>
                  <a:lnTo>
                    <a:pt x="375" y="496"/>
                  </a:lnTo>
                  <a:lnTo>
                    <a:pt x="393" y="485"/>
                  </a:lnTo>
                  <a:lnTo>
                    <a:pt x="410" y="473"/>
                  </a:lnTo>
                  <a:lnTo>
                    <a:pt x="426" y="458"/>
                  </a:lnTo>
                  <a:lnTo>
                    <a:pt x="443" y="443"/>
                  </a:lnTo>
                  <a:lnTo>
                    <a:pt x="457" y="428"/>
                  </a:lnTo>
                  <a:lnTo>
                    <a:pt x="471" y="411"/>
                  </a:lnTo>
                  <a:lnTo>
                    <a:pt x="483" y="394"/>
                  </a:lnTo>
                  <a:lnTo>
                    <a:pt x="494" y="375"/>
                  </a:lnTo>
                  <a:lnTo>
                    <a:pt x="505" y="357"/>
                  </a:lnTo>
                  <a:lnTo>
                    <a:pt x="514" y="337"/>
                  </a:lnTo>
                  <a:lnTo>
                    <a:pt x="523" y="317"/>
                  </a:lnTo>
                  <a:lnTo>
                    <a:pt x="530" y="296"/>
                  </a:lnTo>
                  <a:lnTo>
                    <a:pt x="343" y="11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203">
              <a:extLst>
                <a:ext uri="{FF2B5EF4-FFF2-40B4-BE49-F238E27FC236}">
                  <a16:creationId xmlns:a16="http://schemas.microsoft.com/office/drawing/2014/main" id="{B48FCC30-53F9-E0F0-EBA4-1A25EFA0836F}"/>
                </a:ext>
              </a:extLst>
            </p:cNvPr>
            <p:cNvSpPr>
              <a:spLocks noEditPoints="1"/>
            </p:cNvSpPr>
            <p:nvPr/>
          </p:nvSpPr>
          <p:spPr bwMode="auto">
            <a:xfrm>
              <a:off x="3462338" y="317500"/>
              <a:ext cx="528638" cy="528638"/>
            </a:xfrm>
            <a:custGeom>
              <a:avLst/>
              <a:gdLst>
                <a:gd name="T0" fmla="*/ 299 w 333"/>
                <a:gd name="T1" fmla="*/ 118 h 333"/>
                <a:gd name="T2" fmla="*/ 320 w 333"/>
                <a:gd name="T3" fmla="*/ 100 h 333"/>
                <a:gd name="T4" fmla="*/ 296 w 333"/>
                <a:gd name="T5" fmla="*/ 63 h 333"/>
                <a:gd name="T6" fmla="*/ 264 w 333"/>
                <a:gd name="T7" fmla="*/ 66 h 333"/>
                <a:gd name="T8" fmla="*/ 268 w 333"/>
                <a:gd name="T9" fmla="*/ 36 h 333"/>
                <a:gd name="T10" fmla="*/ 231 w 333"/>
                <a:gd name="T11" fmla="*/ 12 h 333"/>
                <a:gd name="T12" fmla="*/ 212 w 333"/>
                <a:gd name="T13" fmla="*/ 33 h 333"/>
                <a:gd name="T14" fmla="*/ 190 w 333"/>
                <a:gd name="T15" fmla="*/ 5 h 333"/>
                <a:gd name="T16" fmla="*/ 148 w 333"/>
                <a:gd name="T17" fmla="*/ 0 h 333"/>
                <a:gd name="T18" fmla="*/ 140 w 333"/>
                <a:gd name="T19" fmla="*/ 29 h 333"/>
                <a:gd name="T20" fmla="*/ 109 w 333"/>
                <a:gd name="T21" fmla="*/ 18 h 333"/>
                <a:gd name="T22" fmla="*/ 67 w 333"/>
                <a:gd name="T23" fmla="*/ 32 h 333"/>
                <a:gd name="T24" fmla="*/ 64 w 333"/>
                <a:gd name="T25" fmla="*/ 43 h 333"/>
                <a:gd name="T26" fmla="*/ 42 w 333"/>
                <a:gd name="T27" fmla="*/ 66 h 333"/>
                <a:gd name="T28" fmla="*/ 31 w 333"/>
                <a:gd name="T29" fmla="*/ 70 h 333"/>
                <a:gd name="T30" fmla="*/ 14 w 333"/>
                <a:gd name="T31" fmla="*/ 108 h 333"/>
                <a:gd name="T32" fmla="*/ 29 w 333"/>
                <a:gd name="T33" fmla="*/ 143 h 333"/>
                <a:gd name="T34" fmla="*/ 1 w 333"/>
                <a:gd name="T35" fmla="*/ 148 h 333"/>
                <a:gd name="T36" fmla="*/ 3 w 333"/>
                <a:gd name="T37" fmla="*/ 191 h 333"/>
                <a:gd name="T38" fmla="*/ 32 w 333"/>
                <a:gd name="T39" fmla="*/ 205 h 333"/>
                <a:gd name="T40" fmla="*/ 15 w 333"/>
                <a:gd name="T41" fmla="*/ 229 h 333"/>
                <a:gd name="T42" fmla="*/ 35 w 333"/>
                <a:gd name="T43" fmla="*/ 269 h 333"/>
                <a:gd name="T44" fmla="*/ 62 w 333"/>
                <a:gd name="T45" fmla="*/ 259 h 333"/>
                <a:gd name="T46" fmla="*/ 67 w 333"/>
                <a:gd name="T47" fmla="*/ 295 h 333"/>
                <a:gd name="T48" fmla="*/ 100 w 333"/>
                <a:gd name="T49" fmla="*/ 319 h 333"/>
                <a:gd name="T50" fmla="*/ 122 w 333"/>
                <a:gd name="T51" fmla="*/ 298 h 333"/>
                <a:gd name="T52" fmla="*/ 143 w 333"/>
                <a:gd name="T53" fmla="*/ 324 h 333"/>
                <a:gd name="T54" fmla="*/ 186 w 333"/>
                <a:gd name="T55" fmla="*/ 333 h 333"/>
                <a:gd name="T56" fmla="*/ 195 w 333"/>
                <a:gd name="T57" fmla="*/ 324 h 333"/>
                <a:gd name="T58" fmla="*/ 226 w 333"/>
                <a:gd name="T59" fmla="*/ 314 h 333"/>
                <a:gd name="T60" fmla="*/ 237 w 333"/>
                <a:gd name="T61" fmla="*/ 318 h 333"/>
                <a:gd name="T62" fmla="*/ 270 w 333"/>
                <a:gd name="T63" fmla="*/ 292 h 333"/>
                <a:gd name="T64" fmla="*/ 275 w 333"/>
                <a:gd name="T65" fmla="*/ 256 h 333"/>
                <a:gd name="T66" fmla="*/ 301 w 333"/>
                <a:gd name="T67" fmla="*/ 265 h 333"/>
                <a:gd name="T68" fmla="*/ 321 w 333"/>
                <a:gd name="T69" fmla="*/ 227 h 333"/>
                <a:gd name="T70" fmla="*/ 302 w 333"/>
                <a:gd name="T71" fmla="*/ 201 h 333"/>
                <a:gd name="T72" fmla="*/ 331 w 333"/>
                <a:gd name="T73" fmla="*/ 187 h 333"/>
                <a:gd name="T74" fmla="*/ 333 w 333"/>
                <a:gd name="T75" fmla="*/ 144 h 333"/>
                <a:gd name="T76" fmla="*/ 167 w 333"/>
                <a:gd name="T77" fmla="*/ 255 h 333"/>
                <a:gd name="T78" fmla="*/ 132 w 333"/>
                <a:gd name="T79" fmla="*/ 248 h 333"/>
                <a:gd name="T80" fmla="*/ 99 w 333"/>
                <a:gd name="T81" fmla="*/ 223 h 333"/>
                <a:gd name="T82" fmla="*/ 80 w 333"/>
                <a:gd name="T83" fmla="*/ 184 h 333"/>
                <a:gd name="T84" fmla="*/ 80 w 333"/>
                <a:gd name="T85" fmla="*/ 148 h 333"/>
                <a:gd name="T86" fmla="*/ 99 w 333"/>
                <a:gd name="T87" fmla="*/ 110 h 333"/>
                <a:gd name="T88" fmla="*/ 132 w 333"/>
                <a:gd name="T89" fmla="*/ 85 h 333"/>
                <a:gd name="T90" fmla="*/ 167 w 333"/>
                <a:gd name="T91" fmla="*/ 78 h 333"/>
                <a:gd name="T92" fmla="*/ 210 w 333"/>
                <a:gd name="T93" fmla="*/ 89 h 333"/>
                <a:gd name="T94" fmla="*/ 241 w 333"/>
                <a:gd name="T95" fmla="*/ 117 h 333"/>
                <a:gd name="T96" fmla="*/ 255 w 333"/>
                <a:gd name="T97" fmla="*/ 158 h 333"/>
                <a:gd name="T98" fmla="*/ 252 w 333"/>
                <a:gd name="T99" fmla="*/ 192 h 333"/>
                <a:gd name="T100" fmla="*/ 230 w 333"/>
                <a:gd name="T101" fmla="*/ 229 h 333"/>
                <a:gd name="T102" fmla="*/ 194 w 333"/>
                <a:gd name="T103" fmla="*/ 25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3" h="333">
                  <a:moveTo>
                    <a:pt x="325" y="139"/>
                  </a:moveTo>
                  <a:lnTo>
                    <a:pt x="305" y="139"/>
                  </a:lnTo>
                  <a:lnTo>
                    <a:pt x="305" y="139"/>
                  </a:lnTo>
                  <a:lnTo>
                    <a:pt x="302" y="128"/>
                  </a:lnTo>
                  <a:lnTo>
                    <a:pt x="299" y="118"/>
                  </a:lnTo>
                  <a:lnTo>
                    <a:pt x="316" y="108"/>
                  </a:lnTo>
                  <a:lnTo>
                    <a:pt x="316" y="108"/>
                  </a:lnTo>
                  <a:lnTo>
                    <a:pt x="318" y="106"/>
                  </a:lnTo>
                  <a:lnTo>
                    <a:pt x="320" y="102"/>
                  </a:lnTo>
                  <a:lnTo>
                    <a:pt x="320" y="100"/>
                  </a:lnTo>
                  <a:lnTo>
                    <a:pt x="318" y="96"/>
                  </a:lnTo>
                  <a:lnTo>
                    <a:pt x="301" y="66"/>
                  </a:lnTo>
                  <a:lnTo>
                    <a:pt x="301" y="66"/>
                  </a:lnTo>
                  <a:lnTo>
                    <a:pt x="299" y="64"/>
                  </a:lnTo>
                  <a:lnTo>
                    <a:pt x="296" y="63"/>
                  </a:lnTo>
                  <a:lnTo>
                    <a:pt x="292" y="63"/>
                  </a:lnTo>
                  <a:lnTo>
                    <a:pt x="290" y="64"/>
                  </a:lnTo>
                  <a:lnTo>
                    <a:pt x="271" y="74"/>
                  </a:lnTo>
                  <a:lnTo>
                    <a:pt x="271" y="74"/>
                  </a:lnTo>
                  <a:lnTo>
                    <a:pt x="264" y="66"/>
                  </a:lnTo>
                  <a:lnTo>
                    <a:pt x="257" y="59"/>
                  </a:lnTo>
                  <a:lnTo>
                    <a:pt x="267" y="42"/>
                  </a:lnTo>
                  <a:lnTo>
                    <a:pt x="267" y="42"/>
                  </a:lnTo>
                  <a:lnTo>
                    <a:pt x="268" y="38"/>
                  </a:lnTo>
                  <a:lnTo>
                    <a:pt x="268" y="36"/>
                  </a:lnTo>
                  <a:lnTo>
                    <a:pt x="265" y="32"/>
                  </a:lnTo>
                  <a:lnTo>
                    <a:pt x="263" y="29"/>
                  </a:lnTo>
                  <a:lnTo>
                    <a:pt x="233" y="12"/>
                  </a:lnTo>
                  <a:lnTo>
                    <a:pt x="233" y="12"/>
                  </a:lnTo>
                  <a:lnTo>
                    <a:pt x="231" y="12"/>
                  </a:lnTo>
                  <a:lnTo>
                    <a:pt x="227" y="12"/>
                  </a:lnTo>
                  <a:lnTo>
                    <a:pt x="225" y="13"/>
                  </a:lnTo>
                  <a:lnTo>
                    <a:pt x="222" y="16"/>
                  </a:lnTo>
                  <a:lnTo>
                    <a:pt x="212" y="33"/>
                  </a:lnTo>
                  <a:lnTo>
                    <a:pt x="212" y="33"/>
                  </a:lnTo>
                  <a:lnTo>
                    <a:pt x="201" y="31"/>
                  </a:lnTo>
                  <a:lnTo>
                    <a:pt x="191" y="28"/>
                  </a:lnTo>
                  <a:lnTo>
                    <a:pt x="191" y="8"/>
                  </a:lnTo>
                  <a:lnTo>
                    <a:pt x="191" y="8"/>
                  </a:lnTo>
                  <a:lnTo>
                    <a:pt x="190" y="5"/>
                  </a:lnTo>
                  <a:lnTo>
                    <a:pt x="188" y="2"/>
                  </a:lnTo>
                  <a:lnTo>
                    <a:pt x="185" y="1"/>
                  </a:lnTo>
                  <a:lnTo>
                    <a:pt x="183" y="0"/>
                  </a:lnTo>
                  <a:lnTo>
                    <a:pt x="148" y="0"/>
                  </a:lnTo>
                  <a:lnTo>
                    <a:pt x="148" y="0"/>
                  </a:lnTo>
                  <a:lnTo>
                    <a:pt x="144" y="1"/>
                  </a:lnTo>
                  <a:lnTo>
                    <a:pt x="142" y="2"/>
                  </a:lnTo>
                  <a:lnTo>
                    <a:pt x="140" y="5"/>
                  </a:lnTo>
                  <a:lnTo>
                    <a:pt x="140" y="8"/>
                  </a:lnTo>
                  <a:lnTo>
                    <a:pt x="140" y="29"/>
                  </a:lnTo>
                  <a:lnTo>
                    <a:pt x="140" y="29"/>
                  </a:lnTo>
                  <a:lnTo>
                    <a:pt x="128" y="32"/>
                  </a:lnTo>
                  <a:lnTo>
                    <a:pt x="119" y="34"/>
                  </a:lnTo>
                  <a:lnTo>
                    <a:pt x="109" y="18"/>
                  </a:lnTo>
                  <a:lnTo>
                    <a:pt x="109" y="18"/>
                  </a:lnTo>
                  <a:lnTo>
                    <a:pt x="106" y="15"/>
                  </a:lnTo>
                  <a:lnTo>
                    <a:pt x="104" y="13"/>
                  </a:lnTo>
                  <a:lnTo>
                    <a:pt x="100" y="13"/>
                  </a:lnTo>
                  <a:lnTo>
                    <a:pt x="96" y="15"/>
                  </a:lnTo>
                  <a:lnTo>
                    <a:pt x="67" y="32"/>
                  </a:lnTo>
                  <a:lnTo>
                    <a:pt x="67" y="32"/>
                  </a:lnTo>
                  <a:lnTo>
                    <a:pt x="64" y="34"/>
                  </a:lnTo>
                  <a:lnTo>
                    <a:pt x="63" y="37"/>
                  </a:lnTo>
                  <a:lnTo>
                    <a:pt x="63" y="41"/>
                  </a:lnTo>
                  <a:lnTo>
                    <a:pt x="64" y="43"/>
                  </a:lnTo>
                  <a:lnTo>
                    <a:pt x="74" y="62"/>
                  </a:lnTo>
                  <a:lnTo>
                    <a:pt x="74" y="62"/>
                  </a:lnTo>
                  <a:lnTo>
                    <a:pt x="67" y="69"/>
                  </a:lnTo>
                  <a:lnTo>
                    <a:pt x="59" y="76"/>
                  </a:lnTo>
                  <a:lnTo>
                    <a:pt x="42" y="66"/>
                  </a:lnTo>
                  <a:lnTo>
                    <a:pt x="42" y="66"/>
                  </a:lnTo>
                  <a:lnTo>
                    <a:pt x="40" y="65"/>
                  </a:lnTo>
                  <a:lnTo>
                    <a:pt x="36" y="66"/>
                  </a:lnTo>
                  <a:lnTo>
                    <a:pt x="32" y="68"/>
                  </a:lnTo>
                  <a:lnTo>
                    <a:pt x="31" y="70"/>
                  </a:lnTo>
                  <a:lnTo>
                    <a:pt x="14" y="100"/>
                  </a:lnTo>
                  <a:lnTo>
                    <a:pt x="14" y="100"/>
                  </a:lnTo>
                  <a:lnTo>
                    <a:pt x="12" y="102"/>
                  </a:lnTo>
                  <a:lnTo>
                    <a:pt x="12" y="106"/>
                  </a:lnTo>
                  <a:lnTo>
                    <a:pt x="14" y="108"/>
                  </a:lnTo>
                  <a:lnTo>
                    <a:pt x="16" y="111"/>
                  </a:lnTo>
                  <a:lnTo>
                    <a:pt x="35" y="122"/>
                  </a:lnTo>
                  <a:lnTo>
                    <a:pt x="35" y="122"/>
                  </a:lnTo>
                  <a:lnTo>
                    <a:pt x="31" y="132"/>
                  </a:lnTo>
                  <a:lnTo>
                    <a:pt x="29" y="143"/>
                  </a:lnTo>
                  <a:lnTo>
                    <a:pt x="9" y="143"/>
                  </a:lnTo>
                  <a:lnTo>
                    <a:pt x="9" y="143"/>
                  </a:lnTo>
                  <a:lnTo>
                    <a:pt x="6" y="143"/>
                  </a:lnTo>
                  <a:lnTo>
                    <a:pt x="3" y="145"/>
                  </a:lnTo>
                  <a:lnTo>
                    <a:pt x="1" y="148"/>
                  </a:lnTo>
                  <a:lnTo>
                    <a:pt x="0" y="152"/>
                  </a:lnTo>
                  <a:lnTo>
                    <a:pt x="0" y="185"/>
                  </a:lnTo>
                  <a:lnTo>
                    <a:pt x="0" y="185"/>
                  </a:lnTo>
                  <a:lnTo>
                    <a:pt x="1" y="189"/>
                  </a:lnTo>
                  <a:lnTo>
                    <a:pt x="3" y="191"/>
                  </a:lnTo>
                  <a:lnTo>
                    <a:pt x="6" y="194"/>
                  </a:lnTo>
                  <a:lnTo>
                    <a:pt x="9" y="194"/>
                  </a:lnTo>
                  <a:lnTo>
                    <a:pt x="30" y="194"/>
                  </a:lnTo>
                  <a:lnTo>
                    <a:pt x="30" y="194"/>
                  </a:lnTo>
                  <a:lnTo>
                    <a:pt x="32" y="205"/>
                  </a:lnTo>
                  <a:lnTo>
                    <a:pt x="36" y="214"/>
                  </a:lnTo>
                  <a:lnTo>
                    <a:pt x="19" y="224"/>
                  </a:lnTo>
                  <a:lnTo>
                    <a:pt x="19" y="224"/>
                  </a:lnTo>
                  <a:lnTo>
                    <a:pt x="16" y="227"/>
                  </a:lnTo>
                  <a:lnTo>
                    <a:pt x="15" y="229"/>
                  </a:lnTo>
                  <a:lnTo>
                    <a:pt x="14" y="233"/>
                  </a:lnTo>
                  <a:lnTo>
                    <a:pt x="15" y="237"/>
                  </a:lnTo>
                  <a:lnTo>
                    <a:pt x="32" y="266"/>
                  </a:lnTo>
                  <a:lnTo>
                    <a:pt x="32" y="266"/>
                  </a:lnTo>
                  <a:lnTo>
                    <a:pt x="35" y="269"/>
                  </a:lnTo>
                  <a:lnTo>
                    <a:pt x="37" y="270"/>
                  </a:lnTo>
                  <a:lnTo>
                    <a:pt x="41" y="270"/>
                  </a:lnTo>
                  <a:lnTo>
                    <a:pt x="45" y="269"/>
                  </a:lnTo>
                  <a:lnTo>
                    <a:pt x="62" y="259"/>
                  </a:lnTo>
                  <a:lnTo>
                    <a:pt x="62" y="259"/>
                  </a:lnTo>
                  <a:lnTo>
                    <a:pt x="69" y="266"/>
                  </a:lnTo>
                  <a:lnTo>
                    <a:pt x="78" y="274"/>
                  </a:lnTo>
                  <a:lnTo>
                    <a:pt x="68" y="291"/>
                  </a:lnTo>
                  <a:lnTo>
                    <a:pt x="68" y="291"/>
                  </a:lnTo>
                  <a:lnTo>
                    <a:pt x="67" y="295"/>
                  </a:lnTo>
                  <a:lnTo>
                    <a:pt x="67" y="297"/>
                  </a:lnTo>
                  <a:lnTo>
                    <a:pt x="68" y="301"/>
                  </a:lnTo>
                  <a:lnTo>
                    <a:pt x="70" y="302"/>
                  </a:lnTo>
                  <a:lnTo>
                    <a:pt x="100" y="319"/>
                  </a:lnTo>
                  <a:lnTo>
                    <a:pt x="100" y="319"/>
                  </a:lnTo>
                  <a:lnTo>
                    <a:pt x="104" y="321"/>
                  </a:lnTo>
                  <a:lnTo>
                    <a:pt x="106" y="321"/>
                  </a:lnTo>
                  <a:lnTo>
                    <a:pt x="110" y="319"/>
                  </a:lnTo>
                  <a:lnTo>
                    <a:pt x="112" y="317"/>
                  </a:lnTo>
                  <a:lnTo>
                    <a:pt x="122" y="298"/>
                  </a:lnTo>
                  <a:lnTo>
                    <a:pt x="122" y="298"/>
                  </a:lnTo>
                  <a:lnTo>
                    <a:pt x="132" y="302"/>
                  </a:lnTo>
                  <a:lnTo>
                    <a:pt x="143" y="305"/>
                  </a:lnTo>
                  <a:lnTo>
                    <a:pt x="143" y="324"/>
                  </a:lnTo>
                  <a:lnTo>
                    <a:pt x="143" y="324"/>
                  </a:lnTo>
                  <a:lnTo>
                    <a:pt x="144" y="327"/>
                  </a:lnTo>
                  <a:lnTo>
                    <a:pt x="146" y="330"/>
                  </a:lnTo>
                  <a:lnTo>
                    <a:pt x="148" y="332"/>
                  </a:lnTo>
                  <a:lnTo>
                    <a:pt x="152" y="333"/>
                  </a:lnTo>
                  <a:lnTo>
                    <a:pt x="186" y="333"/>
                  </a:lnTo>
                  <a:lnTo>
                    <a:pt x="186" y="333"/>
                  </a:lnTo>
                  <a:lnTo>
                    <a:pt x="189" y="332"/>
                  </a:lnTo>
                  <a:lnTo>
                    <a:pt x="193" y="330"/>
                  </a:lnTo>
                  <a:lnTo>
                    <a:pt x="194" y="327"/>
                  </a:lnTo>
                  <a:lnTo>
                    <a:pt x="195" y="324"/>
                  </a:lnTo>
                  <a:lnTo>
                    <a:pt x="195" y="303"/>
                  </a:lnTo>
                  <a:lnTo>
                    <a:pt x="195" y="303"/>
                  </a:lnTo>
                  <a:lnTo>
                    <a:pt x="205" y="301"/>
                  </a:lnTo>
                  <a:lnTo>
                    <a:pt x="216" y="297"/>
                  </a:lnTo>
                  <a:lnTo>
                    <a:pt x="226" y="314"/>
                  </a:lnTo>
                  <a:lnTo>
                    <a:pt x="226" y="314"/>
                  </a:lnTo>
                  <a:lnTo>
                    <a:pt x="227" y="317"/>
                  </a:lnTo>
                  <a:lnTo>
                    <a:pt x="231" y="319"/>
                  </a:lnTo>
                  <a:lnTo>
                    <a:pt x="233" y="319"/>
                  </a:lnTo>
                  <a:lnTo>
                    <a:pt x="237" y="318"/>
                  </a:lnTo>
                  <a:lnTo>
                    <a:pt x="267" y="301"/>
                  </a:lnTo>
                  <a:lnTo>
                    <a:pt x="267" y="301"/>
                  </a:lnTo>
                  <a:lnTo>
                    <a:pt x="269" y="298"/>
                  </a:lnTo>
                  <a:lnTo>
                    <a:pt x="270" y="296"/>
                  </a:lnTo>
                  <a:lnTo>
                    <a:pt x="270" y="292"/>
                  </a:lnTo>
                  <a:lnTo>
                    <a:pt x="270" y="288"/>
                  </a:lnTo>
                  <a:lnTo>
                    <a:pt x="259" y="271"/>
                  </a:lnTo>
                  <a:lnTo>
                    <a:pt x="259" y="271"/>
                  </a:lnTo>
                  <a:lnTo>
                    <a:pt x="268" y="264"/>
                  </a:lnTo>
                  <a:lnTo>
                    <a:pt x="275" y="256"/>
                  </a:lnTo>
                  <a:lnTo>
                    <a:pt x="291" y="266"/>
                  </a:lnTo>
                  <a:lnTo>
                    <a:pt x="291" y="266"/>
                  </a:lnTo>
                  <a:lnTo>
                    <a:pt x="295" y="266"/>
                  </a:lnTo>
                  <a:lnTo>
                    <a:pt x="299" y="266"/>
                  </a:lnTo>
                  <a:lnTo>
                    <a:pt x="301" y="265"/>
                  </a:lnTo>
                  <a:lnTo>
                    <a:pt x="304" y="263"/>
                  </a:lnTo>
                  <a:lnTo>
                    <a:pt x="321" y="233"/>
                  </a:lnTo>
                  <a:lnTo>
                    <a:pt x="321" y="233"/>
                  </a:lnTo>
                  <a:lnTo>
                    <a:pt x="322" y="229"/>
                  </a:lnTo>
                  <a:lnTo>
                    <a:pt x="321" y="227"/>
                  </a:lnTo>
                  <a:lnTo>
                    <a:pt x="320" y="223"/>
                  </a:lnTo>
                  <a:lnTo>
                    <a:pt x="317" y="221"/>
                  </a:lnTo>
                  <a:lnTo>
                    <a:pt x="300" y="211"/>
                  </a:lnTo>
                  <a:lnTo>
                    <a:pt x="300" y="211"/>
                  </a:lnTo>
                  <a:lnTo>
                    <a:pt x="302" y="201"/>
                  </a:lnTo>
                  <a:lnTo>
                    <a:pt x="305" y="190"/>
                  </a:lnTo>
                  <a:lnTo>
                    <a:pt x="325" y="190"/>
                  </a:lnTo>
                  <a:lnTo>
                    <a:pt x="325" y="190"/>
                  </a:lnTo>
                  <a:lnTo>
                    <a:pt x="328" y="190"/>
                  </a:lnTo>
                  <a:lnTo>
                    <a:pt x="331" y="187"/>
                  </a:lnTo>
                  <a:lnTo>
                    <a:pt x="333" y="185"/>
                  </a:lnTo>
                  <a:lnTo>
                    <a:pt x="333" y="181"/>
                  </a:lnTo>
                  <a:lnTo>
                    <a:pt x="333" y="148"/>
                  </a:lnTo>
                  <a:lnTo>
                    <a:pt x="333" y="148"/>
                  </a:lnTo>
                  <a:lnTo>
                    <a:pt x="333" y="144"/>
                  </a:lnTo>
                  <a:lnTo>
                    <a:pt x="331" y="142"/>
                  </a:lnTo>
                  <a:lnTo>
                    <a:pt x="328" y="139"/>
                  </a:lnTo>
                  <a:lnTo>
                    <a:pt x="325" y="139"/>
                  </a:lnTo>
                  <a:lnTo>
                    <a:pt x="325" y="139"/>
                  </a:lnTo>
                  <a:close/>
                  <a:moveTo>
                    <a:pt x="167" y="255"/>
                  </a:moveTo>
                  <a:lnTo>
                    <a:pt x="167" y="255"/>
                  </a:lnTo>
                  <a:lnTo>
                    <a:pt x="158" y="254"/>
                  </a:lnTo>
                  <a:lnTo>
                    <a:pt x="149" y="253"/>
                  </a:lnTo>
                  <a:lnTo>
                    <a:pt x="141" y="251"/>
                  </a:lnTo>
                  <a:lnTo>
                    <a:pt x="132" y="248"/>
                  </a:lnTo>
                  <a:lnTo>
                    <a:pt x="125" y="244"/>
                  </a:lnTo>
                  <a:lnTo>
                    <a:pt x="117" y="240"/>
                  </a:lnTo>
                  <a:lnTo>
                    <a:pt x="110" y="234"/>
                  </a:lnTo>
                  <a:lnTo>
                    <a:pt x="104" y="229"/>
                  </a:lnTo>
                  <a:lnTo>
                    <a:pt x="99" y="223"/>
                  </a:lnTo>
                  <a:lnTo>
                    <a:pt x="94" y="216"/>
                  </a:lnTo>
                  <a:lnTo>
                    <a:pt x="89" y="208"/>
                  </a:lnTo>
                  <a:lnTo>
                    <a:pt x="85" y="201"/>
                  </a:lnTo>
                  <a:lnTo>
                    <a:pt x="83" y="192"/>
                  </a:lnTo>
                  <a:lnTo>
                    <a:pt x="80" y="184"/>
                  </a:lnTo>
                  <a:lnTo>
                    <a:pt x="79" y="175"/>
                  </a:lnTo>
                  <a:lnTo>
                    <a:pt x="78" y="166"/>
                  </a:lnTo>
                  <a:lnTo>
                    <a:pt x="78" y="166"/>
                  </a:lnTo>
                  <a:lnTo>
                    <a:pt x="79" y="158"/>
                  </a:lnTo>
                  <a:lnTo>
                    <a:pt x="80" y="148"/>
                  </a:lnTo>
                  <a:lnTo>
                    <a:pt x="83" y="140"/>
                  </a:lnTo>
                  <a:lnTo>
                    <a:pt x="85" y="132"/>
                  </a:lnTo>
                  <a:lnTo>
                    <a:pt x="89" y="124"/>
                  </a:lnTo>
                  <a:lnTo>
                    <a:pt x="94" y="117"/>
                  </a:lnTo>
                  <a:lnTo>
                    <a:pt x="99" y="110"/>
                  </a:lnTo>
                  <a:lnTo>
                    <a:pt x="104" y="103"/>
                  </a:lnTo>
                  <a:lnTo>
                    <a:pt x="110" y="97"/>
                  </a:lnTo>
                  <a:lnTo>
                    <a:pt x="117" y="92"/>
                  </a:lnTo>
                  <a:lnTo>
                    <a:pt x="125" y="89"/>
                  </a:lnTo>
                  <a:lnTo>
                    <a:pt x="132" y="85"/>
                  </a:lnTo>
                  <a:lnTo>
                    <a:pt x="141" y="81"/>
                  </a:lnTo>
                  <a:lnTo>
                    <a:pt x="149" y="79"/>
                  </a:lnTo>
                  <a:lnTo>
                    <a:pt x="158" y="78"/>
                  </a:lnTo>
                  <a:lnTo>
                    <a:pt x="167" y="78"/>
                  </a:lnTo>
                  <a:lnTo>
                    <a:pt x="167" y="78"/>
                  </a:lnTo>
                  <a:lnTo>
                    <a:pt x="177" y="78"/>
                  </a:lnTo>
                  <a:lnTo>
                    <a:pt x="185" y="79"/>
                  </a:lnTo>
                  <a:lnTo>
                    <a:pt x="194" y="81"/>
                  </a:lnTo>
                  <a:lnTo>
                    <a:pt x="201" y="85"/>
                  </a:lnTo>
                  <a:lnTo>
                    <a:pt x="210" y="89"/>
                  </a:lnTo>
                  <a:lnTo>
                    <a:pt x="216" y="92"/>
                  </a:lnTo>
                  <a:lnTo>
                    <a:pt x="223" y="97"/>
                  </a:lnTo>
                  <a:lnTo>
                    <a:pt x="230" y="103"/>
                  </a:lnTo>
                  <a:lnTo>
                    <a:pt x="236" y="110"/>
                  </a:lnTo>
                  <a:lnTo>
                    <a:pt x="241" y="117"/>
                  </a:lnTo>
                  <a:lnTo>
                    <a:pt x="246" y="124"/>
                  </a:lnTo>
                  <a:lnTo>
                    <a:pt x="249" y="132"/>
                  </a:lnTo>
                  <a:lnTo>
                    <a:pt x="252" y="140"/>
                  </a:lnTo>
                  <a:lnTo>
                    <a:pt x="254" y="148"/>
                  </a:lnTo>
                  <a:lnTo>
                    <a:pt x="255" y="158"/>
                  </a:lnTo>
                  <a:lnTo>
                    <a:pt x="255" y="166"/>
                  </a:lnTo>
                  <a:lnTo>
                    <a:pt x="255" y="166"/>
                  </a:lnTo>
                  <a:lnTo>
                    <a:pt x="255" y="175"/>
                  </a:lnTo>
                  <a:lnTo>
                    <a:pt x="254" y="184"/>
                  </a:lnTo>
                  <a:lnTo>
                    <a:pt x="252" y="192"/>
                  </a:lnTo>
                  <a:lnTo>
                    <a:pt x="249" y="201"/>
                  </a:lnTo>
                  <a:lnTo>
                    <a:pt x="246" y="208"/>
                  </a:lnTo>
                  <a:lnTo>
                    <a:pt x="241" y="216"/>
                  </a:lnTo>
                  <a:lnTo>
                    <a:pt x="236" y="223"/>
                  </a:lnTo>
                  <a:lnTo>
                    <a:pt x="230" y="229"/>
                  </a:lnTo>
                  <a:lnTo>
                    <a:pt x="223" y="234"/>
                  </a:lnTo>
                  <a:lnTo>
                    <a:pt x="216" y="240"/>
                  </a:lnTo>
                  <a:lnTo>
                    <a:pt x="210" y="244"/>
                  </a:lnTo>
                  <a:lnTo>
                    <a:pt x="201" y="248"/>
                  </a:lnTo>
                  <a:lnTo>
                    <a:pt x="194" y="251"/>
                  </a:lnTo>
                  <a:lnTo>
                    <a:pt x="185" y="253"/>
                  </a:lnTo>
                  <a:lnTo>
                    <a:pt x="177" y="254"/>
                  </a:lnTo>
                  <a:lnTo>
                    <a:pt x="167" y="255"/>
                  </a:lnTo>
                  <a:lnTo>
                    <a:pt x="167" y="255"/>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04">
              <a:extLst>
                <a:ext uri="{FF2B5EF4-FFF2-40B4-BE49-F238E27FC236}">
                  <a16:creationId xmlns:a16="http://schemas.microsoft.com/office/drawing/2014/main" id="{212D9579-100C-0246-0B17-94587ABE978B}"/>
                </a:ext>
              </a:extLst>
            </p:cNvPr>
            <p:cNvSpPr>
              <a:spLocks/>
            </p:cNvSpPr>
            <p:nvPr/>
          </p:nvSpPr>
          <p:spPr bwMode="auto">
            <a:xfrm>
              <a:off x="3462338" y="317500"/>
              <a:ext cx="260350" cy="528638"/>
            </a:xfrm>
            <a:custGeom>
              <a:avLst/>
              <a:gdLst>
                <a:gd name="T0" fmla="*/ 156 w 164"/>
                <a:gd name="T1" fmla="*/ 254 h 333"/>
                <a:gd name="T2" fmla="*/ 131 w 164"/>
                <a:gd name="T3" fmla="*/ 247 h 333"/>
                <a:gd name="T4" fmla="*/ 110 w 164"/>
                <a:gd name="T5" fmla="*/ 234 h 333"/>
                <a:gd name="T6" fmla="*/ 93 w 164"/>
                <a:gd name="T7" fmla="*/ 214 h 333"/>
                <a:gd name="T8" fmla="*/ 82 w 164"/>
                <a:gd name="T9" fmla="*/ 192 h 333"/>
                <a:gd name="T10" fmla="*/ 78 w 164"/>
                <a:gd name="T11" fmla="*/ 166 h 333"/>
                <a:gd name="T12" fmla="*/ 80 w 164"/>
                <a:gd name="T13" fmla="*/ 149 h 333"/>
                <a:gd name="T14" fmla="*/ 89 w 164"/>
                <a:gd name="T15" fmla="*/ 124 h 333"/>
                <a:gd name="T16" fmla="*/ 104 w 164"/>
                <a:gd name="T17" fmla="*/ 105 h 333"/>
                <a:gd name="T18" fmla="*/ 123 w 164"/>
                <a:gd name="T19" fmla="*/ 89 h 333"/>
                <a:gd name="T20" fmla="*/ 147 w 164"/>
                <a:gd name="T21" fmla="*/ 80 h 333"/>
                <a:gd name="T22" fmla="*/ 164 w 164"/>
                <a:gd name="T23" fmla="*/ 0 h 333"/>
                <a:gd name="T24" fmla="*/ 144 w 164"/>
                <a:gd name="T25" fmla="*/ 1 h 333"/>
                <a:gd name="T26" fmla="*/ 140 w 164"/>
                <a:gd name="T27" fmla="*/ 8 h 333"/>
                <a:gd name="T28" fmla="*/ 128 w 164"/>
                <a:gd name="T29" fmla="*/ 32 h 333"/>
                <a:gd name="T30" fmla="*/ 109 w 164"/>
                <a:gd name="T31" fmla="*/ 18 h 333"/>
                <a:gd name="T32" fmla="*/ 100 w 164"/>
                <a:gd name="T33" fmla="*/ 13 h 333"/>
                <a:gd name="T34" fmla="*/ 67 w 164"/>
                <a:gd name="T35" fmla="*/ 32 h 333"/>
                <a:gd name="T36" fmla="*/ 63 w 164"/>
                <a:gd name="T37" fmla="*/ 41 h 333"/>
                <a:gd name="T38" fmla="*/ 74 w 164"/>
                <a:gd name="T39" fmla="*/ 62 h 333"/>
                <a:gd name="T40" fmla="*/ 42 w 164"/>
                <a:gd name="T41" fmla="*/ 66 h 333"/>
                <a:gd name="T42" fmla="*/ 36 w 164"/>
                <a:gd name="T43" fmla="*/ 66 h 333"/>
                <a:gd name="T44" fmla="*/ 14 w 164"/>
                <a:gd name="T45" fmla="*/ 100 h 333"/>
                <a:gd name="T46" fmla="*/ 12 w 164"/>
                <a:gd name="T47" fmla="*/ 106 h 333"/>
                <a:gd name="T48" fmla="*/ 35 w 164"/>
                <a:gd name="T49" fmla="*/ 122 h 333"/>
                <a:gd name="T50" fmla="*/ 29 w 164"/>
                <a:gd name="T51" fmla="*/ 143 h 333"/>
                <a:gd name="T52" fmla="*/ 6 w 164"/>
                <a:gd name="T53" fmla="*/ 143 h 333"/>
                <a:gd name="T54" fmla="*/ 0 w 164"/>
                <a:gd name="T55" fmla="*/ 152 h 333"/>
                <a:gd name="T56" fmla="*/ 1 w 164"/>
                <a:gd name="T57" fmla="*/ 189 h 333"/>
                <a:gd name="T58" fmla="*/ 9 w 164"/>
                <a:gd name="T59" fmla="*/ 194 h 333"/>
                <a:gd name="T60" fmla="*/ 32 w 164"/>
                <a:gd name="T61" fmla="*/ 205 h 333"/>
                <a:gd name="T62" fmla="*/ 19 w 164"/>
                <a:gd name="T63" fmla="*/ 224 h 333"/>
                <a:gd name="T64" fmla="*/ 14 w 164"/>
                <a:gd name="T65" fmla="*/ 233 h 333"/>
                <a:gd name="T66" fmla="*/ 32 w 164"/>
                <a:gd name="T67" fmla="*/ 266 h 333"/>
                <a:gd name="T68" fmla="*/ 41 w 164"/>
                <a:gd name="T69" fmla="*/ 270 h 333"/>
                <a:gd name="T70" fmla="*/ 62 w 164"/>
                <a:gd name="T71" fmla="*/ 259 h 333"/>
                <a:gd name="T72" fmla="*/ 68 w 164"/>
                <a:gd name="T73" fmla="*/ 291 h 333"/>
                <a:gd name="T74" fmla="*/ 67 w 164"/>
                <a:gd name="T75" fmla="*/ 297 h 333"/>
                <a:gd name="T76" fmla="*/ 100 w 164"/>
                <a:gd name="T77" fmla="*/ 319 h 333"/>
                <a:gd name="T78" fmla="*/ 106 w 164"/>
                <a:gd name="T79" fmla="*/ 321 h 333"/>
                <a:gd name="T80" fmla="*/ 122 w 164"/>
                <a:gd name="T81" fmla="*/ 298 h 333"/>
                <a:gd name="T82" fmla="*/ 143 w 164"/>
                <a:gd name="T83" fmla="*/ 305 h 333"/>
                <a:gd name="T84" fmla="*/ 144 w 164"/>
                <a:gd name="T85" fmla="*/ 327 h 333"/>
                <a:gd name="T86" fmla="*/ 152 w 164"/>
                <a:gd name="T87"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333">
                  <a:moveTo>
                    <a:pt x="164" y="255"/>
                  </a:moveTo>
                  <a:lnTo>
                    <a:pt x="164" y="255"/>
                  </a:lnTo>
                  <a:lnTo>
                    <a:pt x="156" y="254"/>
                  </a:lnTo>
                  <a:lnTo>
                    <a:pt x="147" y="253"/>
                  </a:lnTo>
                  <a:lnTo>
                    <a:pt x="138" y="250"/>
                  </a:lnTo>
                  <a:lnTo>
                    <a:pt x="131" y="247"/>
                  </a:lnTo>
                  <a:lnTo>
                    <a:pt x="123" y="243"/>
                  </a:lnTo>
                  <a:lnTo>
                    <a:pt x="116" y="239"/>
                  </a:lnTo>
                  <a:lnTo>
                    <a:pt x="110" y="234"/>
                  </a:lnTo>
                  <a:lnTo>
                    <a:pt x="104" y="228"/>
                  </a:lnTo>
                  <a:lnTo>
                    <a:pt x="98" y="222"/>
                  </a:lnTo>
                  <a:lnTo>
                    <a:pt x="93" y="214"/>
                  </a:lnTo>
                  <a:lnTo>
                    <a:pt x="89" y="208"/>
                  </a:lnTo>
                  <a:lnTo>
                    <a:pt x="85" y="200"/>
                  </a:lnTo>
                  <a:lnTo>
                    <a:pt x="82" y="192"/>
                  </a:lnTo>
                  <a:lnTo>
                    <a:pt x="80" y="184"/>
                  </a:lnTo>
                  <a:lnTo>
                    <a:pt x="79" y="175"/>
                  </a:lnTo>
                  <a:lnTo>
                    <a:pt x="78" y="166"/>
                  </a:lnTo>
                  <a:lnTo>
                    <a:pt x="78" y="166"/>
                  </a:lnTo>
                  <a:lnTo>
                    <a:pt x="79" y="158"/>
                  </a:lnTo>
                  <a:lnTo>
                    <a:pt x="80" y="149"/>
                  </a:lnTo>
                  <a:lnTo>
                    <a:pt x="82" y="140"/>
                  </a:lnTo>
                  <a:lnTo>
                    <a:pt x="85" y="132"/>
                  </a:lnTo>
                  <a:lnTo>
                    <a:pt x="89" y="124"/>
                  </a:lnTo>
                  <a:lnTo>
                    <a:pt x="93" y="117"/>
                  </a:lnTo>
                  <a:lnTo>
                    <a:pt x="98" y="111"/>
                  </a:lnTo>
                  <a:lnTo>
                    <a:pt x="104" y="105"/>
                  </a:lnTo>
                  <a:lnTo>
                    <a:pt x="110" y="99"/>
                  </a:lnTo>
                  <a:lnTo>
                    <a:pt x="116" y="94"/>
                  </a:lnTo>
                  <a:lnTo>
                    <a:pt x="123" y="89"/>
                  </a:lnTo>
                  <a:lnTo>
                    <a:pt x="131" y="85"/>
                  </a:lnTo>
                  <a:lnTo>
                    <a:pt x="138" y="82"/>
                  </a:lnTo>
                  <a:lnTo>
                    <a:pt x="147" y="80"/>
                  </a:lnTo>
                  <a:lnTo>
                    <a:pt x="156" y="79"/>
                  </a:lnTo>
                  <a:lnTo>
                    <a:pt x="164" y="78"/>
                  </a:lnTo>
                  <a:lnTo>
                    <a:pt x="164" y="0"/>
                  </a:lnTo>
                  <a:lnTo>
                    <a:pt x="148" y="0"/>
                  </a:lnTo>
                  <a:lnTo>
                    <a:pt x="148" y="0"/>
                  </a:lnTo>
                  <a:lnTo>
                    <a:pt x="144" y="1"/>
                  </a:lnTo>
                  <a:lnTo>
                    <a:pt x="142" y="2"/>
                  </a:lnTo>
                  <a:lnTo>
                    <a:pt x="140" y="5"/>
                  </a:lnTo>
                  <a:lnTo>
                    <a:pt x="140" y="8"/>
                  </a:lnTo>
                  <a:lnTo>
                    <a:pt x="140" y="29"/>
                  </a:lnTo>
                  <a:lnTo>
                    <a:pt x="140" y="29"/>
                  </a:lnTo>
                  <a:lnTo>
                    <a:pt x="128" y="32"/>
                  </a:lnTo>
                  <a:lnTo>
                    <a:pt x="119" y="34"/>
                  </a:lnTo>
                  <a:lnTo>
                    <a:pt x="109" y="18"/>
                  </a:lnTo>
                  <a:lnTo>
                    <a:pt x="109" y="18"/>
                  </a:lnTo>
                  <a:lnTo>
                    <a:pt x="106" y="15"/>
                  </a:lnTo>
                  <a:lnTo>
                    <a:pt x="104" y="13"/>
                  </a:lnTo>
                  <a:lnTo>
                    <a:pt x="100" y="13"/>
                  </a:lnTo>
                  <a:lnTo>
                    <a:pt x="96" y="15"/>
                  </a:lnTo>
                  <a:lnTo>
                    <a:pt x="67" y="32"/>
                  </a:lnTo>
                  <a:lnTo>
                    <a:pt x="67" y="32"/>
                  </a:lnTo>
                  <a:lnTo>
                    <a:pt x="64" y="34"/>
                  </a:lnTo>
                  <a:lnTo>
                    <a:pt x="63" y="37"/>
                  </a:lnTo>
                  <a:lnTo>
                    <a:pt x="63" y="41"/>
                  </a:lnTo>
                  <a:lnTo>
                    <a:pt x="64" y="43"/>
                  </a:lnTo>
                  <a:lnTo>
                    <a:pt x="74" y="62"/>
                  </a:lnTo>
                  <a:lnTo>
                    <a:pt x="74" y="62"/>
                  </a:lnTo>
                  <a:lnTo>
                    <a:pt x="67" y="69"/>
                  </a:lnTo>
                  <a:lnTo>
                    <a:pt x="59" y="76"/>
                  </a:lnTo>
                  <a:lnTo>
                    <a:pt x="42" y="66"/>
                  </a:lnTo>
                  <a:lnTo>
                    <a:pt x="42" y="66"/>
                  </a:lnTo>
                  <a:lnTo>
                    <a:pt x="40" y="65"/>
                  </a:lnTo>
                  <a:lnTo>
                    <a:pt x="36" y="66"/>
                  </a:lnTo>
                  <a:lnTo>
                    <a:pt x="32" y="68"/>
                  </a:lnTo>
                  <a:lnTo>
                    <a:pt x="31" y="70"/>
                  </a:lnTo>
                  <a:lnTo>
                    <a:pt x="14" y="100"/>
                  </a:lnTo>
                  <a:lnTo>
                    <a:pt x="14" y="100"/>
                  </a:lnTo>
                  <a:lnTo>
                    <a:pt x="12" y="102"/>
                  </a:lnTo>
                  <a:lnTo>
                    <a:pt x="12" y="106"/>
                  </a:lnTo>
                  <a:lnTo>
                    <a:pt x="14" y="108"/>
                  </a:lnTo>
                  <a:lnTo>
                    <a:pt x="16" y="111"/>
                  </a:lnTo>
                  <a:lnTo>
                    <a:pt x="35" y="122"/>
                  </a:lnTo>
                  <a:lnTo>
                    <a:pt x="35" y="122"/>
                  </a:lnTo>
                  <a:lnTo>
                    <a:pt x="31" y="132"/>
                  </a:lnTo>
                  <a:lnTo>
                    <a:pt x="29" y="143"/>
                  </a:lnTo>
                  <a:lnTo>
                    <a:pt x="9" y="143"/>
                  </a:lnTo>
                  <a:lnTo>
                    <a:pt x="9" y="143"/>
                  </a:lnTo>
                  <a:lnTo>
                    <a:pt x="6" y="143"/>
                  </a:lnTo>
                  <a:lnTo>
                    <a:pt x="3" y="145"/>
                  </a:lnTo>
                  <a:lnTo>
                    <a:pt x="1" y="148"/>
                  </a:lnTo>
                  <a:lnTo>
                    <a:pt x="0" y="152"/>
                  </a:lnTo>
                  <a:lnTo>
                    <a:pt x="0" y="185"/>
                  </a:lnTo>
                  <a:lnTo>
                    <a:pt x="0" y="185"/>
                  </a:lnTo>
                  <a:lnTo>
                    <a:pt x="1" y="189"/>
                  </a:lnTo>
                  <a:lnTo>
                    <a:pt x="3" y="191"/>
                  </a:lnTo>
                  <a:lnTo>
                    <a:pt x="6" y="194"/>
                  </a:lnTo>
                  <a:lnTo>
                    <a:pt x="9" y="194"/>
                  </a:lnTo>
                  <a:lnTo>
                    <a:pt x="30" y="194"/>
                  </a:lnTo>
                  <a:lnTo>
                    <a:pt x="30" y="194"/>
                  </a:lnTo>
                  <a:lnTo>
                    <a:pt x="32" y="205"/>
                  </a:lnTo>
                  <a:lnTo>
                    <a:pt x="36" y="214"/>
                  </a:lnTo>
                  <a:lnTo>
                    <a:pt x="19" y="224"/>
                  </a:lnTo>
                  <a:lnTo>
                    <a:pt x="19" y="224"/>
                  </a:lnTo>
                  <a:lnTo>
                    <a:pt x="16" y="227"/>
                  </a:lnTo>
                  <a:lnTo>
                    <a:pt x="15" y="229"/>
                  </a:lnTo>
                  <a:lnTo>
                    <a:pt x="14" y="233"/>
                  </a:lnTo>
                  <a:lnTo>
                    <a:pt x="15" y="237"/>
                  </a:lnTo>
                  <a:lnTo>
                    <a:pt x="32" y="266"/>
                  </a:lnTo>
                  <a:lnTo>
                    <a:pt x="32" y="266"/>
                  </a:lnTo>
                  <a:lnTo>
                    <a:pt x="35" y="269"/>
                  </a:lnTo>
                  <a:lnTo>
                    <a:pt x="37" y="270"/>
                  </a:lnTo>
                  <a:lnTo>
                    <a:pt x="41" y="270"/>
                  </a:lnTo>
                  <a:lnTo>
                    <a:pt x="45" y="269"/>
                  </a:lnTo>
                  <a:lnTo>
                    <a:pt x="62" y="259"/>
                  </a:lnTo>
                  <a:lnTo>
                    <a:pt x="62" y="259"/>
                  </a:lnTo>
                  <a:lnTo>
                    <a:pt x="69" y="266"/>
                  </a:lnTo>
                  <a:lnTo>
                    <a:pt x="78" y="274"/>
                  </a:lnTo>
                  <a:lnTo>
                    <a:pt x="68" y="291"/>
                  </a:lnTo>
                  <a:lnTo>
                    <a:pt x="68" y="291"/>
                  </a:lnTo>
                  <a:lnTo>
                    <a:pt x="67" y="295"/>
                  </a:lnTo>
                  <a:lnTo>
                    <a:pt x="67" y="297"/>
                  </a:lnTo>
                  <a:lnTo>
                    <a:pt x="68" y="301"/>
                  </a:lnTo>
                  <a:lnTo>
                    <a:pt x="70" y="302"/>
                  </a:lnTo>
                  <a:lnTo>
                    <a:pt x="100" y="319"/>
                  </a:lnTo>
                  <a:lnTo>
                    <a:pt x="100" y="319"/>
                  </a:lnTo>
                  <a:lnTo>
                    <a:pt x="104" y="321"/>
                  </a:lnTo>
                  <a:lnTo>
                    <a:pt x="106" y="321"/>
                  </a:lnTo>
                  <a:lnTo>
                    <a:pt x="110" y="319"/>
                  </a:lnTo>
                  <a:lnTo>
                    <a:pt x="112" y="317"/>
                  </a:lnTo>
                  <a:lnTo>
                    <a:pt x="122" y="298"/>
                  </a:lnTo>
                  <a:lnTo>
                    <a:pt x="122" y="298"/>
                  </a:lnTo>
                  <a:lnTo>
                    <a:pt x="132" y="302"/>
                  </a:lnTo>
                  <a:lnTo>
                    <a:pt x="143" y="305"/>
                  </a:lnTo>
                  <a:lnTo>
                    <a:pt x="143" y="324"/>
                  </a:lnTo>
                  <a:lnTo>
                    <a:pt x="143" y="324"/>
                  </a:lnTo>
                  <a:lnTo>
                    <a:pt x="144" y="327"/>
                  </a:lnTo>
                  <a:lnTo>
                    <a:pt x="146" y="330"/>
                  </a:lnTo>
                  <a:lnTo>
                    <a:pt x="148" y="332"/>
                  </a:lnTo>
                  <a:lnTo>
                    <a:pt x="152" y="333"/>
                  </a:lnTo>
                  <a:lnTo>
                    <a:pt x="164" y="333"/>
                  </a:lnTo>
                  <a:lnTo>
                    <a:pt x="164" y="255"/>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06">
              <a:extLst>
                <a:ext uri="{FF2B5EF4-FFF2-40B4-BE49-F238E27FC236}">
                  <a16:creationId xmlns:a16="http://schemas.microsoft.com/office/drawing/2014/main" id="{73352D3C-EE2E-215A-5592-2C059E9636C5}"/>
                </a:ext>
              </a:extLst>
            </p:cNvPr>
            <p:cNvSpPr>
              <a:spLocks noEditPoints="1"/>
            </p:cNvSpPr>
            <p:nvPr/>
          </p:nvSpPr>
          <p:spPr bwMode="auto">
            <a:xfrm>
              <a:off x="3556000" y="409575"/>
              <a:ext cx="342900" cy="344488"/>
            </a:xfrm>
            <a:custGeom>
              <a:avLst/>
              <a:gdLst>
                <a:gd name="T0" fmla="*/ 97 w 216"/>
                <a:gd name="T1" fmla="*/ 1 h 217"/>
                <a:gd name="T2" fmla="*/ 66 w 216"/>
                <a:gd name="T3" fmla="*/ 8 h 217"/>
                <a:gd name="T4" fmla="*/ 40 w 216"/>
                <a:gd name="T5" fmla="*/ 24 h 217"/>
                <a:gd name="T6" fmla="*/ 19 w 216"/>
                <a:gd name="T7" fmla="*/ 48 h 217"/>
                <a:gd name="T8" fmla="*/ 5 w 216"/>
                <a:gd name="T9" fmla="*/ 76 h 217"/>
                <a:gd name="T10" fmla="*/ 0 w 216"/>
                <a:gd name="T11" fmla="*/ 108 h 217"/>
                <a:gd name="T12" fmla="*/ 2 w 216"/>
                <a:gd name="T13" fmla="*/ 131 h 217"/>
                <a:gd name="T14" fmla="*/ 13 w 216"/>
                <a:gd name="T15" fmla="*/ 160 h 217"/>
                <a:gd name="T16" fmla="*/ 31 w 216"/>
                <a:gd name="T17" fmla="*/ 185 h 217"/>
                <a:gd name="T18" fmla="*/ 56 w 216"/>
                <a:gd name="T19" fmla="*/ 203 h 217"/>
                <a:gd name="T20" fmla="*/ 87 w 216"/>
                <a:gd name="T21" fmla="*/ 214 h 217"/>
                <a:gd name="T22" fmla="*/ 108 w 216"/>
                <a:gd name="T23" fmla="*/ 217 h 217"/>
                <a:gd name="T24" fmla="*/ 140 w 216"/>
                <a:gd name="T25" fmla="*/ 212 h 217"/>
                <a:gd name="T26" fmla="*/ 168 w 216"/>
                <a:gd name="T27" fmla="*/ 198 h 217"/>
                <a:gd name="T28" fmla="*/ 192 w 216"/>
                <a:gd name="T29" fmla="*/ 177 h 217"/>
                <a:gd name="T30" fmla="*/ 208 w 216"/>
                <a:gd name="T31" fmla="*/ 150 h 217"/>
                <a:gd name="T32" fmla="*/ 215 w 216"/>
                <a:gd name="T33" fmla="*/ 119 h 217"/>
                <a:gd name="T34" fmla="*/ 215 w 216"/>
                <a:gd name="T35" fmla="*/ 97 h 217"/>
                <a:gd name="T36" fmla="*/ 208 w 216"/>
                <a:gd name="T37" fmla="*/ 66 h 217"/>
                <a:gd name="T38" fmla="*/ 192 w 216"/>
                <a:gd name="T39" fmla="*/ 39 h 217"/>
                <a:gd name="T40" fmla="*/ 168 w 216"/>
                <a:gd name="T41" fmla="*/ 18 h 217"/>
                <a:gd name="T42" fmla="*/ 140 w 216"/>
                <a:gd name="T43" fmla="*/ 5 h 217"/>
                <a:gd name="T44" fmla="*/ 108 w 216"/>
                <a:gd name="T45" fmla="*/ 0 h 217"/>
                <a:gd name="T46" fmla="*/ 108 w 216"/>
                <a:gd name="T47" fmla="*/ 197 h 217"/>
                <a:gd name="T48" fmla="*/ 82 w 216"/>
                <a:gd name="T49" fmla="*/ 193 h 217"/>
                <a:gd name="T50" fmla="*/ 58 w 216"/>
                <a:gd name="T51" fmla="*/ 182 h 217"/>
                <a:gd name="T52" fmla="*/ 40 w 216"/>
                <a:gd name="T53" fmla="*/ 165 h 217"/>
                <a:gd name="T54" fmla="*/ 26 w 216"/>
                <a:gd name="T55" fmla="*/ 143 h 217"/>
                <a:gd name="T56" fmla="*/ 20 w 216"/>
                <a:gd name="T57" fmla="*/ 117 h 217"/>
                <a:gd name="T58" fmla="*/ 20 w 216"/>
                <a:gd name="T59" fmla="*/ 100 h 217"/>
                <a:gd name="T60" fmla="*/ 26 w 216"/>
                <a:gd name="T61" fmla="*/ 74 h 217"/>
                <a:gd name="T62" fmla="*/ 40 w 216"/>
                <a:gd name="T63" fmla="*/ 52 h 217"/>
                <a:gd name="T64" fmla="*/ 58 w 216"/>
                <a:gd name="T65" fmla="*/ 34 h 217"/>
                <a:gd name="T66" fmla="*/ 82 w 216"/>
                <a:gd name="T67" fmla="*/ 23 h 217"/>
                <a:gd name="T68" fmla="*/ 108 w 216"/>
                <a:gd name="T69" fmla="*/ 20 h 217"/>
                <a:gd name="T70" fmla="*/ 126 w 216"/>
                <a:gd name="T71" fmla="*/ 21 h 217"/>
                <a:gd name="T72" fmla="*/ 151 w 216"/>
                <a:gd name="T73" fmla="*/ 31 h 217"/>
                <a:gd name="T74" fmla="*/ 171 w 216"/>
                <a:gd name="T75" fmla="*/ 45 h 217"/>
                <a:gd name="T76" fmla="*/ 187 w 216"/>
                <a:gd name="T77" fmla="*/ 66 h 217"/>
                <a:gd name="T78" fmla="*/ 195 w 216"/>
                <a:gd name="T79" fmla="*/ 90 h 217"/>
                <a:gd name="T80" fmla="*/ 196 w 216"/>
                <a:gd name="T81" fmla="*/ 108 h 217"/>
                <a:gd name="T82" fmla="*/ 193 w 216"/>
                <a:gd name="T83" fmla="*/ 134 h 217"/>
                <a:gd name="T84" fmla="*/ 182 w 216"/>
                <a:gd name="T85" fmla="*/ 158 h 217"/>
                <a:gd name="T86" fmla="*/ 164 w 216"/>
                <a:gd name="T87" fmla="*/ 176 h 217"/>
                <a:gd name="T88" fmla="*/ 142 w 216"/>
                <a:gd name="T89" fmla="*/ 190 h 217"/>
                <a:gd name="T90" fmla="*/ 118 w 216"/>
                <a:gd name="T91" fmla="*/ 19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6" h="217">
                  <a:moveTo>
                    <a:pt x="108" y="0"/>
                  </a:moveTo>
                  <a:lnTo>
                    <a:pt x="108" y="0"/>
                  </a:lnTo>
                  <a:lnTo>
                    <a:pt x="97" y="1"/>
                  </a:lnTo>
                  <a:lnTo>
                    <a:pt x="87" y="2"/>
                  </a:lnTo>
                  <a:lnTo>
                    <a:pt x="76" y="5"/>
                  </a:lnTo>
                  <a:lnTo>
                    <a:pt x="66" y="8"/>
                  </a:lnTo>
                  <a:lnTo>
                    <a:pt x="56" y="13"/>
                  </a:lnTo>
                  <a:lnTo>
                    <a:pt x="47" y="18"/>
                  </a:lnTo>
                  <a:lnTo>
                    <a:pt x="40" y="24"/>
                  </a:lnTo>
                  <a:lnTo>
                    <a:pt x="31" y="32"/>
                  </a:lnTo>
                  <a:lnTo>
                    <a:pt x="25" y="39"/>
                  </a:lnTo>
                  <a:lnTo>
                    <a:pt x="19" y="48"/>
                  </a:lnTo>
                  <a:lnTo>
                    <a:pt x="13" y="57"/>
                  </a:lnTo>
                  <a:lnTo>
                    <a:pt x="9" y="66"/>
                  </a:lnTo>
                  <a:lnTo>
                    <a:pt x="5" y="76"/>
                  </a:lnTo>
                  <a:lnTo>
                    <a:pt x="2" y="86"/>
                  </a:lnTo>
                  <a:lnTo>
                    <a:pt x="0" y="97"/>
                  </a:lnTo>
                  <a:lnTo>
                    <a:pt x="0" y="108"/>
                  </a:lnTo>
                  <a:lnTo>
                    <a:pt x="0" y="108"/>
                  </a:lnTo>
                  <a:lnTo>
                    <a:pt x="0" y="119"/>
                  </a:lnTo>
                  <a:lnTo>
                    <a:pt x="2" y="131"/>
                  </a:lnTo>
                  <a:lnTo>
                    <a:pt x="5" y="140"/>
                  </a:lnTo>
                  <a:lnTo>
                    <a:pt x="9" y="150"/>
                  </a:lnTo>
                  <a:lnTo>
                    <a:pt x="13" y="160"/>
                  </a:lnTo>
                  <a:lnTo>
                    <a:pt x="19" y="169"/>
                  </a:lnTo>
                  <a:lnTo>
                    <a:pt x="25" y="177"/>
                  </a:lnTo>
                  <a:lnTo>
                    <a:pt x="31" y="185"/>
                  </a:lnTo>
                  <a:lnTo>
                    <a:pt x="40" y="191"/>
                  </a:lnTo>
                  <a:lnTo>
                    <a:pt x="47" y="198"/>
                  </a:lnTo>
                  <a:lnTo>
                    <a:pt x="56" y="203"/>
                  </a:lnTo>
                  <a:lnTo>
                    <a:pt x="66" y="208"/>
                  </a:lnTo>
                  <a:lnTo>
                    <a:pt x="76" y="212"/>
                  </a:lnTo>
                  <a:lnTo>
                    <a:pt x="87" y="214"/>
                  </a:lnTo>
                  <a:lnTo>
                    <a:pt x="97" y="216"/>
                  </a:lnTo>
                  <a:lnTo>
                    <a:pt x="108" y="217"/>
                  </a:lnTo>
                  <a:lnTo>
                    <a:pt x="108" y="217"/>
                  </a:lnTo>
                  <a:lnTo>
                    <a:pt x="119" y="216"/>
                  </a:lnTo>
                  <a:lnTo>
                    <a:pt x="130" y="214"/>
                  </a:lnTo>
                  <a:lnTo>
                    <a:pt x="140" y="212"/>
                  </a:lnTo>
                  <a:lnTo>
                    <a:pt x="150" y="208"/>
                  </a:lnTo>
                  <a:lnTo>
                    <a:pt x="159" y="203"/>
                  </a:lnTo>
                  <a:lnTo>
                    <a:pt x="168" y="198"/>
                  </a:lnTo>
                  <a:lnTo>
                    <a:pt x="177" y="191"/>
                  </a:lnTo>
                  <a:lnTo>
                    <a:pt x="184" y="185"/>
                  </a:lnTo>
                  <a:lnTo>
                    <a:pt x="192" y="177"/>
                  </a:lnTo>
                  <a:lnTo>
                    <a:pt x="198" y="169"/>
                  </a:lnTo>
                  <a:lnTo>
                    <a:pt x="203" y="160"/>
                  </a:lnTo>
                  <a:lnTo>
                    <a:pt x="208" y="150"/>
                  </a:lnTo>
                  <a:lnTo>
                    <a:pt x="211" y="140"/>
                  </a:lnTo>
                  <a:lnTo>
                    <a:pt x="214" y="131"/>
                  </a:lnTo>
                  <a:lnTo>
                    <a:pt x="215" y="119"/>
                  </a:lnTo>
                  <a:lnTo>
                    <a:pt x="216" y="108"/>
                  </a:lnTo>
                  <a:lnTo>
                    <a:pt x="216" y="108"/>
                  </a:lnTo>
                  <a:lnTo>
                    <a:pt x="215" y="97"/>
                  </a:lnTo>
                  <a:lnTo>
                    <a:pt x="214" y="86"/>
                  </a:lnTo>
                  <a:lnTo>
                    <a:pt x="211" y="76"/>
                  </a:lnTo>
                  <a:lnTo>
                    <a:pt x="208" y="66"/>
                  </a:lnTo>
                  <a:lnTo>
                    <a:pt x="203" y="57"/>
                  </a:lnTo>
                  <a:lnTo>
                    <a:pt x="198" y="48"/>
                  </a:lnTo>
                  <a:lnTo>
                    <a:pt x="192" y="39"/>
                  </a:lnTo>
                  <a:lnTo>
                    <a:pt x="184" y="32"/>
                  </a:lnTo>
                  <a:lnTo>
                    <a:pt x="177" y="24"/>
                  </a:lnTo>
                  <a:lnTo>
                    <a:pt x="168" y="18"/>
                  </a:lnTo>
                  <a:lnTo>
                    <a:pt x="159" y="13"/>
                  </a:lnTo>
                  <a:lnTo>
                    <a:pt x="150" y="8"/>
                  </a:lnTo>
                  <a:lnTo>
                    <a:pt x="140" y="5"/>
                  </a:lnTo>
                  <a:lnTo>
                    <a:pt x="130" y="2"/>
                  </a:lnTo>
                  <a:lnTo>
                    <a:pt x="119" y="1"/>
                  </a:lnTo>
                  <a:lnTo>
                    <a:pt x="108" y="0"/>
                  </a:lnTo>
                  <a:lnTo>
                    <a:pt x="108" y="0"/>
                  </a:lnTo>
                  <a:close/>
                  <a:moveTo>
                    <a:pt x="108" y="197"/>
                  </a:moveTo>
                  <a:lnTo>
                    <a:pt x="108" y="197"/>
                  </a:lnTo>
                  <a:lnTo>
                    <a:pt x="99" y="196"/>
                  </a:lnTo>
                  <a:lnTo>
                    <a:pt x="90" y="195"/>
                  </a:lnTo>
                  <a:lnTo>
                    <a:pt x="82" y="193"/>
                  </a:lnTo>
                  <a:lnTo>
                    <a:pt x="73" y="190"/>
                  </a:lnTo>
                  <a:lnTo>
                    <a:pt x="66" y="186"/>
                  </a:lnTo>
                  <a:lnTo>
                    <a:pt x="58" y="182"/>
                  </a:lnTo>
                  <a:lnTo>
                    <a:pt x="51" y="176"/>
                  </a:lnTo>
                  <a:lnTo>
                    <a:pt x="45" y="171"/>
                  </a:lnTo>
                  <a:lnTo>
                    <a:pt x="40" y="165"/>
                  </a:lnTo>
                  <a:lnTo>
                    <a:pt x="35" y="158"/>
                  </a:lnTo>
                  <a:lnTo>
                    <a:pt x="30" y="150"/>
                  </a:lnTo>
                  <a:lnTo>
                    <a:pt x="26" y="143"/>
                  </a:lnTo>
                  <a:lnTo>
                    <a:pt x="24" y="134"/>
                  </a:lnTo>
                  <a:lnTo>
                    <a:pt x="21" y="126"/>
                  </a:lnTo>
                  <a:lnTo>
                    <a:pt x="20" y="117"/>
                  </a:lnTo>
                  <a:lnTo>
                    <a:pt x="19" y="108"/>
                  </a:lnTo>
                  <a:lnTo>
                    <a:pt x="19" y="108"/>
                  </a:lnTo>
                  <a:lnTo>
                    <a:pt x="20" y="100"/>
                  </a:lnTo>
                  <a:lnTo>
                    <a:pt x="21" y="90"/>
                  </a:lnTo>
                  <a:lnTo>
                    <a:pt x="24" y="82"/>
                  </a:lnTo>
                  <a:lnTo>
                    <a:pt x="26" y="74"/>
                  </a:lnTo>
                  <a:lnTo>
                    <a:pt x="30" y="66"/>
                  </a:lnTo>
                  <a:lnTo>
                    <a:pt x="35" y="59"/>
                  </a:lnTo>
                  <a:lnTo>
                    <a:pt x="40" y="52"/>
                  </a:lnTo>
                  <a:lnTo>
                    <a:pt x="45" y="45"/>
                  </a:lnTo>
                  <a:lnTo>
                    <a:pt x="51" y="39"/>
                  </a:lnTo>
                  <a:lnTo>
                    <a:pt x="58" y="34"/>
                  </a:lnTo>
                  <a:lnTo>
                    <a:pt x="66" y="31"/>
                  </a:lnTo>
                  <a:lnTo>
                    <a:pt x="73" y="27"/>
                  </a:lnTo>
                  <a:lnTo>
                    <a:pt x="82" y="23"/>
                  </a:lnTo>
                  <a:lnTo>
                    <a:pt x="90" y="21"/>
                  </a:lnTo>
                  <a:lnTo>
                    <a:pt x="99" y="20"/>
                  </a:lnTo>
                  <a:lnTo>
                    <a:pt x="108" y="20"/>
                  </a:lnTo>
                  <a:lnTo>
                    <a:pt x="108" y="20"/>
                  </a:lnTo>
                  <a:lnTo>
                    <a:pt x="118" y="20"/>
                  </a:lnTo>
                  <a:lnTo>
                    <a:pt x="126" y="21"/>
                  </a:lnTo>
                  <a:lnTo>
                    <a:pt x="135" y="23"/>
                  </a:lnTo>
                  <a:lnTo>
                    <a:pt x="142" y="27"/>
                  </a:lnTo>
                  <a:lnTo>
                    <a:pt x="151" y="31"/>
                  </a:lnTo>
                  <a:lnTo>
                    <a:pt x="157" y="34"/>
                  </a:lnTo>
                  <a:lnTo>
                    <a:pt x="164" y="39"/>
                  </a:lnTo>
                  <a:lnTo>
                    <a:pt x="171" y="45"/>
                  </a:lnTo>
                  <a:lnTo>
                    <a:pt x="177" y="52"/>
                  </a:lnTo>
                  <a:lnTo>
                    <a:pt x="182" y="59"/>
                  </a:lnTo>
                  <a:lnTo>
                    <a:pt x="187" y="66"/>
                  </a:lnTo>
                  <a:lnTo>
                    <a:pt x="190" y="74"/>
                  </a:lnTo>
                  <a:lnTo>
                    <a:pt x="193" y="82"/>
                  </a:lnTo>
                  <a:lnTo>
                    <a:pt x="195" y="90"/>
                  </a:lnTo>
                  <a:lnTo>
                    <a:pt x="196" y="100"/>
                  </a:lnTo>
                  <a:lnTo>
                    <a:pt x="196" y="108"/>
                  </a:lnTo>
                  <a:lnTo>
                    <a:pt x="196" y="108"/>
                  </a:lnTo>
                  <a:lnTo>
                    <a:pt x="196" y="117"/>
                  </a:lnTo>
                  <a:lnTo>
                    <a:pt x="195" y="126"/>
                  </a:lnTo>
                  <a:lnTo>
                    <a:pt x="193" y="134"/>
                  </a:lnTo>
                  <a:lnTo>
                    <a:pt x="190" y="143"/>
                  </a:lnTo>
                  <a:lnTo>
                    <a:pt x="187" y="150"/>
                  </a:lnTo>
                  <a:lnTo>
                    <a:pt x="182" y="158"/>
                  </a:lnTo>
                  <a:lnTo>
                    <a:pt x="177" y="165"/>
                  </a:lnTo>
                  <a:lnTo>
                    <a:pt x="171" y="171"/>
                  </a:lnTo>
                  <a:lnTo>
                    <a:pt x="164" y="176"/>
                  </a:lnTo>
                  <a:lnTo>
                    <a:pt x="157" y="182"/>
                  </a:lnTo>
                  <a:lnTo>
                    <a:pt x="151" y="186"/>
                  </a:lnTo>
                  <a:lnTo>
                    <a:pt x="142" y="190"/>
                  </a:lnTo>
                  <a:lnTo>
                    <a:pt x="135" y="193"/>
                  </a:lnTo>
                  <a:lnTo>
                    <a:pt x="126" y="195"/>
                  </a:lnTo>
                  <a:lnTo>
                    <a:pt x="118" y="196"/>
                  </a:lnTo>
                  <a:lnTo>
                    <a:pt x="108" y="197"/>
                  </a:lnTo>
                  <a:lnTo>
                    <a:pt x="108" y="197"/>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07">
              <a:extLst>
                <a:ext uri="{FF2B5EF4-FFF2-40B4-BE49-F238E27FC236}">
                  <a16:creationId xmlns:a16="http://schemas.microsoft.com/office/drawing/2014/main" id="{CD163A3D-DDAF-3FFF-C685-813C483A93EB}"/>
                </a:ext>
              </a:extLst>
            </p:cNvPr>
            <p:cNvSpPr>
              <a:spLocks/>
            </p:cNvSpPr>
            <p:nvPr/>
          </p:nvSpPr>
          <p:spPr bwMode="auto">
            <a:xfrm>
              <a:off x="3722688" y="409575"/>
              <a:ext cx="176213" cy="344488"/>
            </a:xfrm>
            <a:custGeom>
              <a:avLst/>
              <a:gdLst>
                <a:gd name="T0" fmla="*/ 3 w 111"/>
                <a:gd name="T1" fmla="*/ 0 h 217"/>
                <a:gd name="T2" fmla="*/ 0 w 111"/>
                <a:gd name="T3" fmla="*/ 20 h 217"/>
                <a:gd name="T4" fmla="*/ 3 w 111"/>
                <a:gd name="T5" fmla="*/ 20 h 217"/>
                <a:gd name="T6" fmla="*/ 13 w 111"/>
                <a:gd name="T7" fmla="*/ 20 h 217"/>
                <a:gd name="T8" fmla="*/ 30 w 111"/>
                <a:gd name="T9" fmla="*/ 23 h 217"/>
                <a:gd name="T10" fmla="*/ 46 w 111"/>
                <a:gd name="T11" fmla="*/ 31 h 217"/>
                <a:gd name="T12" fmla="*/ 59 w 111"/>
                <a:gd name="T13" fmla="*/ 39 h 217"/>
                <a:gd name="T14" fmla="*/ 72 w 111"/>
                <a:gd name="T15" fmla="*/ 52 h 217"/>
                <a:gd name="T16" fmla="*/ 82 w 111"/>
                <a:gd name="T17" fmla="*/ 66 h 217"/>
                <a:gd name="T18" fmla="*/ 88 w 111"/>
                <a:gd name="T19" fmla="*/ 82 h 217"/>
                <a:gd name="T20" fmla="*/ 91 w 111"/>
                <a:gd name="T21" fmla="*/ 100 h 217"/>
                <a:gd name="T22" fmla="*/ 91 w 111"/>
                <a:gd name="T23" fmla="*/ 108 h 217"/>
                <a:gd name="T24" fmla="*/ 90 w 111"/>
                <a:gd name="T25" fmla="*/ 126 h 217"/>
                <a:gd name="T26" fmla="*/ 85 w 111"/>
                <a:gd name="T27" fmla="*/ 143 h 217"/>
                <a:gd name="T28" fmla="*/ 77 w 111"/>
                <a:gd name="T29" fmla="*/ 158 h 217"/>
                <a:gd name="T30" fmla="*/ 66 w 111"/>
                <a:gd name="T31" fmla="*/ 171 h 217"/>
                <a:gd name="T32" fmla="*/ 52 w 111"/>
                <a:gd name="T33" fmla="*/ 182 h 217"/>
                <a:gd name="T34" fmla="*/ 37 w 111"/>
                <a:gd name="T35" fmla="*/ 190 h 217"/>
                <a:gd name="T36" fmla="*/ 21 w 111"/>
                <a:gd name="T37" fmla="*/ 195 h 217"/>
                <a:gd name="T38" fmla="*/ 3 w 111"/>
                <a:gd name="T39" fmla="*/ 197 h 217"/>
                <a:gd name="T40" fmla="*/ 0 w 111"/>
                <a:gd name="T41" fmla="*/ 197 h 217"/>
                <a:gd name="T42" fmla="*/ 0 w 111"/>
                <a:gd name="T43" fmla="*/ 216 h 217"/>
                <a:gd name="T44" fmla="*/ 3 w 111"/>
                <a:gd name="T45" fmla="*/ 217 h 217"/>
                <a:gd name="T46" fmla="*/ 25 w 111"/>
                <a:gd name="T47" fmla="*/ 214 h 217"/>
                <a:gd name="T48" fmla="*/ 45 w 111"/>
                <a:gd name="T49" fmla="*/ 208 h 217"/>
                <a:gd name="T50" fmla="*/ 63 w 111"/>
                <a:gd name="T51" fmla="*/ 198 h 217"/>
                <a:gd name="T52" fmla="*/ 79 w 111"/>
                <a:gd name="T53" fmla="*/ 185 h 217"/>
                <a:gd name="T54" fmla="*/ 93 w 111"/>
                <a:gd name="T55" fmla="*/ 169 h 217"/>
                <a:gd name="T56" fmla="*/ 103 w 111"/>
                <a:gd name="T57" fmla="*/ 150 h 217"/>
                <a:gd name="T58" fmla="*/ 109 w 111"/>
                <a:gd name="T59" fmla="*/ 131 h 217"/>
                <a:gd name="T60" fmla="*/ 111 w 111"/>
                <a:gd name="T61" fmla="*/ 108 h 217"/>
                <a:gd name="T62" fmla="*/ 110 w 111"/>
                <a:gd name="T63" fmla="*/ 97 h 217"/>
                <a:gd name="T64" fmla="*/ 106 w 111"/>
                <a:gd name="T65" fmla="*/ 76 h 217"/>
                <a:gd name="T66" fmla="*/ 98 w 111"/>
                <a:gd name="T67" fmla="*/ 57 h 217"/>
                <a:gd name="T68" fmla="*/ 87 w 111"/>
                <a:gd name="T69" fmla="*/ 39 h 217"/>
                <a:gd name="T70" fmla="*/ 72 w 111"/>
                <a:gd name="T71" fmla="*/ 24 h 217"/>
                <a:gd name="T72" fmla="*/ 54 w 111"/>
                <a:gd name="T73" fmla="*/ 13 h 217"/>
                <a:gd name="T74" fmla="*/ 35 w 111"/>
                <a:gd name="T75" fmla="*/ 5 h 217"/>
                <a:gd name="T76" fmla="*/ 14 w 111"/>
                <a:gd name="T77" fmla="*/ 1 h 217"/>
                <a:gd name="T78" fmla="*/ 3 w 111"/>
                <a:gd name="T7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1" h="217">
                  <a:moveTo>
                    <a:pt x="3" y="0"/>
                  </a:moveTo>
                  <a:lnTo>
                    <a:pt x="3" y="0"/>
                  </a:lnTo>
                  <a:lnTo>
                    <a:pt x="0" y="0"/>
                  </a:lnTo>
                  <a:lnTo>
                    <a:pt x="0" y="20"/>
                  </a:lnTo>
                  <a:lnTo>
                    <a:pt x="0" y="20"/>
                  </a:lnTo>
                  <a:lnTo>
                    <a:pt x="3" y="20"/>
                  </a:lnTo>
                  <a:lnTo>
                    <a:pt x="3" y="20"/>
                  </a:lnTo>
                  <a:lnTo>
                    <a:pt x="13" y="20"/>
                  </a:lnTo>
                  <a:lnTo>
                    <a:pt x="21" y="21"/>
                  </a:lnTo>
                  <a:lnTo>
                    <a:pt x="30" y="23"/>
                  </a:lnTo>
                  <a:lnTo>
                    <a:pt x="37" y="27"/>
                  </a:lnTo>
                  <a:lnTo>
                    <a:pt x="46" y="31"/>
                  </a:lnTo>
                  <a:lnTo>
                    <a:pt x="52" y="34"/>
                  </a:lnTo>
                  <a:lnTo>
                    <a:pt x="59" y="39"/>
                  </a:lnTo>
                  <a:lnTo>
                    <a:pt x="66" y="45"/>
                  </a:lnTo>
                  <a:lnTo>
                    <a:pt x="72" y="52"/>
                  </a:lnTo>
                  <a:lnTo>
                    <a:pt x="77" y="59"/>
                  </a:lnTo>
                  <a:lnTo>
                    <a:pt x="82" y="66"/>
                  </a:lnTo>
                  <a:lnTo>
                    <a:pt x="85" y="74"/>
                  </a:lnTo>
                  <a:lnTo>
                    <a:pt x="88" y="82"/>
                  </a:lnTo>
                  <a:lnTo>
                    <a:pt x="90" y="90"/>
                  </a:lnTo>
                  <a:lnTo>
                    <a:pt x="91" y="100"/>
                  </a:lnTo>
                  <a:lnTo>
                    <a:pt x="91" y="108"/>
                  </a:lnTo>
                  <a:lnTo>
                    <a:pt x="91" y="108"/>
                  </a:lnTo>
                  <a:lnTo>
                    <a:pt x="91" y="117"/>
                  </a:lnTo>
                  <a:lnTo>
                    <a:pt x="90" y="126"/>
                  </a:lnTo>
                  <a:lnTo>
                    <a:pt x="88" y="134"/>
                  </a:lnTo>
                  <a:lnTo>
                    <a:pt x="85" y="143"/>
                  </a:lnTo>
                  <a:lnTo>
                    <a:pt x="82" y="150"/>
                  </a:lnTo>
                  <a:lnTo>
                    <a:pt x="77" y="158"/>
                  </a:lnTo>
                  <a:lnTo>
                    <a:pt x="72" y="165"/>
                  </a:lnTo>
                  <a:lnTo>
                    <a:pt x="66" y="171"/>
                  </a:lnTo>
                  <a:lnTo>
                    <a:pt x="59" y="176"/>
                  </a:lnTo>
                  <a:lnTo>
                    <a:pt x="52" y="182"/>
                  </a:lnTo>
                  <a:lnTo>
                    <a:pt x="46" y="186"/>
                  </a:lnTo>
                  <a:lnTo>
                    <a:pt x="37" y="190"/>
                  </a:lnTo>
                  <a:lnTo>
                    <a:pt x="30" y="193"/>
                  </a:lnTo>
                  <a:lnTo>
                    <a:pt x="21" y="195"/>
                  </a:lnTo>
                  <a:lnTo>
                    <a:pt x="13" y="196"/>
                  </a:lnTo>
                  <a:lnTo>
                    <a:pt x="3" y="197"/>
                  </a:lnTo>
                  <a:lnTo>
                    <a:pt x="3" y="197"/>
                  </a:lnTo>
                  <a:lnTo>
                    <a:pt x="0" y="197"/>
                  </a:lnTo>
                  <a:lnTo>
                    <a:pt x="0" y="216"/>
                  </a:lnTo>
                  <a:lnTo>
                    <a:pt x="0" y="216"/>
                  </a:lnTo>
                  <a:lnTo>
                    <a:pt x="3" y="217"/>
                  </a:lnTo>
                  <a:lnTo>
                    <a:pt x="3" y="217"/>
                  </a:lnTo>
                  <a:lnTo>
                    <a:pt x="14" y="216"/>
                  </a:lnTo>
                  <a:lnTo>
                    <a:pt x="25" y="214"/>
                  </a:lnTo>
                  <a:lnTo>
                    <a:pt x="35" y="212"/>
                  </a:lnTo>
                  <a:lnTo>
                    <a:pt x="45" y="208"/>
                  </a:lnTo>
                  <a:lnTo>
                    <a:pt x="54" y="203"/>
                  </a:lnTo>
                  <a:lnTo>
                    <a:pt x="63" y="198"/>
                  </a:lnTo>
                  <a:lnTo>
                    <a:pt x="72" y="191"/>
                  </a:lnTo>
                  <a:lnTo>
                    <a:pt x="79" y="185"/>
                  </a:lnTo>
                  <a:lnTo>
                    <a:pt x="87" y="177"/>
                  </a:lnTo>
                  <a:lnTo>
                    <a:pt x="93" y="169"/>
                  </a:lnTo>
                  <a:lnTo>
                    <a:pt x="98" y="160"/>
                  </a:lnTo>
                  <a:lnTo>
                    <a:pt x="103" y="150"/>
                  </a:lnTo>
                  <a:lnTo>
                    <a:pt x="106" y="140"/>
                  </a:lnTo>
                  <a:lnTo>
                    <a:pt x="109" y="131"/>
                  </a:lnTo>
                  <a:lnTo>
                    <a:pt x="110" y="119"/>
                  </a:lnTo>
                  <a:lnTo>
                    <a:pt x="111" y="108"/>
                  </a:lnTo>
                  <a:lnTo>
                    <a:pt x="111" y="108"/>
                  </a:lnTo>
                  <a:lnTo>
                    <a:pt x="110" y="97"/>
                  </a:lnTo>
                  <a:lnTo>
                    <a:pt x="109" y="86"/>
                  </a:lnTo>
                  <a:lnTo>
                    <a:pt x="106" y="76"/>
                  </a:lnTo>
                  <a:lnTo>
                    <a:pt x="103" y="66"/>
                  </a:lnTo>
                  <a:lnTo>
                    <a:pt x="98" y="57"/>
                  </a:lnTo>
                  <a:lnTo>
                    <a:pt x="93" y="48"/>
                  </a:lnTo>
                  <a:lnTo>
                    <a:pt x="87" y="39"/>
                  </a:lnTo>
                  <a:lnTo>
                    <a:pt x="79" y="32"/>
                  </a:lnTo>
                  <a:lnTo>
                    <a:pt x="72" y="24"/>
                  </a:lnTo>
                  <a:lnTo>
                    <a:pt x="63" y="18"/>
                  </a:lnTo>
                  <a:lnTo>
                    <a:pt x="54" y="13"/>
                  </a:lnTo>
                  <a:lnTo>
                    <a:pt x="45" y="8"/>
                  </a:lnTo>
                  <a:lnTo>
                    <a:pt x="35" y="5"/>
                  </a:lnTo>
                  <a:lnTo>
                    <a:pt x="25" y="2"/>
                  </a:lnTo>
                  <a:lnTo>
                    <a:pt x="14" y="1"/>
                  </a:lnTo>
                  <a:lnTo>
                    <a:pt x="3" y="0"/>
                  </a:lnTo>
                  <a:lnTo>
                    <a:pt x="3" y="0"/>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208">
              <a:extLst>
                <a:ext uri="{FF2B5EF4-FFF2-40B4-BE49-F238E27FC236}">
                  <a16:creationId xmlns:a16="http://schemas.microsoft.com/office/drawing/2014/main" id="{2D03EF4D-F073-0A86-6395-20BCDFF04B39}"/>
                </a:ext>
              </a:extLst>
            </p:cNvPr>
            <p:cNvSpPr>
              <a:spLocks/>
            </p:cNvSpPr>
            <p:nvPr/>
          </p:nvSpPr>
          <p:spPr bwMode="auto">
            <a:xfrm>
              <a:off x="3762375" y="617538"/>
              <a:ext cx="276225" cy="276225"/>
            </a:xfrm>
            <a:custGeom>
              <a:avLst/>
              <a:gdLst>
                <a:gd name="T0" fmla="*/ 164 w 174"/>
                <a:gd name="T1" fmla="*/ 164 h 174"/>
                <a:gd name="T2" fmla="*/ 164 w 174"/>
                <a:gd name="T3" fmla="*/ 164 h 174"/>
                <a:gd name="T4" fmla="*/ 164 w 174"/>
                <a:gd name="T5" fmla="*/ 164 h 174"/>
                <a:gd name="T6" fmla="*/ 164 w 174"/>
                <a:gd name="T7" fmla="*/ 164 h 174"/>
                <a:gd name="T8" fmla="*/ 158 w 174"/>
                <a:gd name="T9" fmla="*/ 169 h 174"/>
                <a:gd name="T10" fmla="*/ 152 w 174"/>
                <a:gd name="T11" fmla="*/ 171 h 174"/>
                <a:gd name="T12" fmla="*/ 145 w 174"/>
                <a:gd name="T13" fmla="*/ 174 h 174"/>
                <a:gd name="T14" fmla="*/ 139 w 174"/>
                <a:gd name="T15" fmla="*/ 174 h 174"/>
                <a:gd name="T16" fmla="*/ 133 w 174"/>
                <a:gd name="T17" fmla="*/ 174 h 174"/>
                <a:gd name="T18" fmla="*/ 127 w 174"/>
                <a:gd name="T19" fmla="*/ 171 h 174"/>
                <a:gd name="T20" fmla="*/ 121 w 174"/>
                <a:gd name="T21" fmla="*/ 169 h 174"/>
                <a:gd name="T22" fmla="*/ 115 w 174"/>
                <a:gd name="T23" fmla="*/ 164 h 174"/>
                <a:gd name="T24" fmla="*/ 10 w 174"/>
                <a:gd name="T25" fmla="*/ 59 h 174"/>
                <a:gd name="T26" fmla="*/ 10 w 174"/>
                <a:gd name="T27" fmla="*/ 59 h 174"/>
                <a:gd name="T28" fmla="*/ 6 w 174"/>
                <a:gd name="T29" fmla="*/ 53 h 174"/>
                <a:gd name="T30" fmla="*/ 2 w 174"/>
                <a:gd name="T31" fmla="*/ 48 h 174"/>
                <a:gd name="T32" fmla="*/ 1 w 174"/>
                <a:gd name="T33" fmla="*/ 40 h 174"/>
                <a:gd name="T34" fmla="*/ 0 w 174"/>
                <a:gd name="T35" fmla="*/ 34 h 174"/>
                <a:gd name="T36" fmla="*/ 1 w 174"/>
                <a:gd name="T37" fmla="*/ 28 h 174"/>
                <a:gd name="T38" fmla="*/ 2 w 174"/>
                <a:gd name="T39" fmla="*/ 22 h 174"/>
                <a:gd name="T40" fmla="*/ 6 w 174"/>
                <a:gd name="T41" fmla="*/ 16 h 174"/>
                <a:gd name="T42" fmla="*/ 10 w 174"/>
                <a:gd name="T43" fmla="*/ 9 h 174"/>
                <a:gd name="T44" fmla="*/ 10 w 174"/>
                <a:gd name="T45" fmla="*/ 9 h 174"/>
                <a:gd name="T46" fmla="*/ 10 w 174"/>
                <a:gd name="T47" fmla="*/ 9 h 174"/>
                <a:gd name="T48" fmla="*/ 10 w 174"/>
                <a:gd name="T49" fmla="*/ 9 h 174"/>
                <a:gd name="T50" fmla="*/ 16 w 174"/>
                <a:gd name="T51" fmla="*/ 6 h 174"/>
                <a:gd name="T52" fmla="*/ 22 w 174"/>
                <a:gd name="T53" fmla="*/ 2 h 174"/>
                <a:gd name="T54" fmla="*/ 28 w 174"/>
                <a:gd name="T55" fmla="*/ 1 h 174"/>
                <a:gd name="T56" fmla="*/ 34 w 174"/>
                <a:gd name="T57" fmla="*/ 0 h 174"/>
                <a:gd name="T58" fmla="*/ 42 w 174"/>
                <a:gd name="T59" fmla="*/ 1 h 174"/>
                <a:gd name="T60" fmla="*/ 48 w 174"/>
                <a:gd name="T61" fmla="*/ 2 h 174"/>
                <a:gd name="T62" fmla="*/ 53 w 174"/>
                <a:gd name="T63" fmla="*/ 6 h 174"/>
                <a:gd name="T64" fmla="*/ 59 w 174"/>
                <a:gd name="T65" fmla="*/ 11 h 174"/>
                <a:gd name="T66" fmla="*/ 164 w 174"/>
                <a:gd name="T67" fmla="*/ 116 h 174"/>
                <a:gd name="T68" fmla="*/ 164 w 174"/>
                <a:gd name="T69" fmla="*/ 116 h 174"/>
                <a:gd name="T70" fmla="*/ 168 w 174"/>
                <a:gd name="T71" fmla="*/ 120 h 174"/>
                <a:gd name="T72" fmla="*/ 171 w 174"/>
                <a:gd name="T73" fmla="*/ 127 h 174"/>
                <a:gd name="T74" fmla="*/ 173 w 174"/>
                <a:gd name="T75" fmla="*/ 133 h 174"/>
                <a:gd name="T76" fmla="*/ 174 w 174"/>
                <a:gd name="T77" fmla="*/ 140 h 174"/>
                <a:gd name="T78" fmla="*/ 173 w 174"/>
                <a:gd name="T79" fmla="*/ 146 h 174"/>
                <a:gd name="T80" fmla="*/ 171 w 174"/>
                <a:gd name="T81" fmla="*/ 153 h 174"/>
                <a:gd name="T82" fmla="*/ 168 w 174"/>
                <a:gd name="T83" fmla="*/ 159 h 174"/>
                <a:gd name="T84" fmla="*/ 164 w 174"/>
                <a:gd name="T85" fmla="*/ 164 h 174"/>
                <a:gd name="T86" fmla="*/ 164 w 174"/>
                <a:gd name="T87" fmla="*/ 16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4" h="174">
                  <a:moveTo>
                    <a:pt x="164" y="164"/>
                  </a:moveTo>
                  <a:lnTo>
                    <a:pt x="164" y="164"/>
                  </a:lnTo>
                  <a:lnTo>
                    <a:pt x="164" y="164"/>
                  </a:lnTo>
                  <a:lnTo>
                    <a:pt x="164" y="164"/>
                  </a:lnTo>
                  <a:lnTo>
                    <a:pt x="158" y="169"/>
                  </a:lnTo>
                  <a:lnTo>
                    <a:pt x="152" y="171"/>
                  </a:lnTo>
                  <a:lnTo>
                    <a:pt x="145" y="174"/>
                  </a:lnTo>
                  <a:lnTo>
                    <a:pt x="139" y="174"/>
                  </a:lnTo>
                  <a:lnTo>
                    <a:pt x="133" y="174"/>
                  </a:lnTo>
                  <a:lnTo>
                    <a:pt x="127" y="171"/>
                  </a:lnTo>
                  <a:lnTo>
                    <a:pt x="121" y="169"/>
                  </a:lnTo>
                  <a:lnTo>
                    <a:pt x="115" y="164"/>
                  </a:lnTo>
                  <a:lnTo>
                    <a:pt x="10" y="59"/>
                  </a:lnTo>
                  <a:lnTo>
                    <a:pt x="10" y="59"/>
                  </a:lnTo>
                  <a:lnTo>
                    <a:pt x="6" y="53"/>
                  </a:lnTo>
                  <a:lnTo>
                    <a:pt x="2" y="48"/>
                  </a:lnTo>
                  <a:lnTo>
                    <a:pt x="1" y="40"/>
                  </a:lnTo>
                  <a:lnTo>
                    <a:pt x="0" y="34"/>
                  </a:lnTo>
                  <a:lnTo>
                    <a:pt x="1" y="28"/>
                  </a:lnTo>
                  <a:lnTo>
                    <a:pt x="2" y="22"/>
                  </a:lnTo>
                  <a:lnTo>
                    <a:pt x="6" y="16"/>
                  </a:lnTo>
                  <a:lnTo>
                    <a:pt x="10" y="9"/>
                  </a:lnTo>
                  <a:lnTo>
                    <a:pt x="10" y="9"/>
                  </a:lnTo>
                  <a:lnTo>
                    <a:pt x="10" y="9"/>
                  </a:lnTo>
                  <a:lnTo>
                    <a:pt x="10" y="9"/>
                  </a:lnTo>
                  <a:lnTo>
                    <a:pt x="16" y="6"/>
                  </a:lnTo>
                  <a:lnTo>
                    <a:pt x="22" y="2"/>
                  </a:lnTo>
                  <a:lnTo>
                    <a:pt x="28" y="1"/>
                  </a:lnTo>
                  <a:lnTo>
                    <a:pt x="34" y="0"/>
                  </a:lnTo>
                  <a:lnTo>
                    <a:pt x="42" y="1"/>
                  </a:lnTo>
                  <a:lnTo>
                    <a:pt x="48" y="2"/>
                  </a:lnTo>
                  <a:lnTo>
                    <a:pt x="53" y="6"/>
                  </a:lnTo>
                  <a:lnTo>
                    <a:pt x="59" y="11"/>
                  </a:lnTo>
                  <a:lnTo>
                    <a:pt x="164" y="116"/>
                  </a:lnTo>
                  <a:lnTo>
                    <a:pt x="164" y="116"/>
                  </a:lnTo>
                  <a:lnTo>
                    <a:pt x="168" y="120"/>
                  </a:lnTo>
                  <a:lnTo>
                    <a:pt x="171" y="127"/>
                  </a:lnTo>
                  <a:lnTo>
                    <a:pt x="173" y="133"/>
                  </a:lnTo>
                  <a:lnTo>
                    <a:pt x="174" y="140"/>
                  </a:lnTo>
                  <a:lnTo>
                    <a:pt x="173" y="146"/>
                  </a:lnTo>
                  <a:lnTo>
                    <a:pt x="171" y="153"/>
                  </a:lnTo>
                  <a:lnTo>
                    <a:pt x="168" y="159"/>
                  </a:lnTo>
                  <a:lnTo>
                    <a:pt x="164" y="164"/>
                  </a:lnTo>
                  <a:lnTo>
                    <a:pt x="164" y="164"/>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09">
              <a:extLst>
                <a:ext uri="{FF2B5EF4-FFF2-40B4-BE49-F238E27FC236}">
                  <a16:creationId xmlns:a16="http://schemas.microsoft.com/office/drawing/2014/main" id="{E7005477-D9BF-1096-6C5F-F8F93AB4E8CB}"/>
                </a:ext>
              </a:extLst>
            </p:cNvPr>
            <p:cNvSpPr>
              <a:spLocks/>
            </p:cNvSpPr>
            <p:nvPr/>
          </p:nvSpPr>
          <p:spPr bwMode="auto">
            <a:xfrm>
              <a:off x="3795713" y="673100"/>
              <a:ext cx="209550" cy="209550"/>
            </a:xfrm>
            <a:custGeom>
              <a:avLst/>
              <a:gdLst>
                <a:gd name="T0" fmla="*/ 128 w 132"/>
                <a:gd name="T1" fmla="*/ 129 h 132"/>
                <a:gd name="T2" fmla="*/ 128 w 132"/>
                <a:gd name="T3" fmla="*/ 129 h 132"/>
                <a:gd name="T4" fmla="*/ 123 w 132"/>
                <a:gd name="T5" fmla="*/ 131 h 132"/>
                <a:gd name="T6" fmla="*/ 118 w 132"/>
                <a:gd name="T7" fmla="*/ 132 h 132"/>
                <a:gd name="T8" fmla="*/ 113 w 132"/>
                <a:gd name="T9" fmla="*/ 131 h 132"/>
                <a:gd name="T10" fmla="*/ 108 w 132"/>
                <a:gd name="T11" fmla="*/ 129 h 132"/>
                <a:gd name="T12" fmla="*/ 4 w 132"/>
                <a:gd name="T13" fmla="*/ 23 h 132"/>
                <a:gd name="T14" fmla="*/ 4 w 132"/>
                <a:gd name="T15" fmla="*/ 23 h 132"/>
                <a:gd name="T16" fmla="*/ 1 w 132"/>
                <a:gd name="T17" fmla="*/ 19 h 132"/>
                <a:gd name="T18" fmla="*/ 0 w 132"/>
                <a:gd name="T19" fmla="*/ 14 h 132"/>
                <a:gd name="T20" fmla="*/ 1 w 132"/>
                <a:gd name="T21" fmla="*/ 9 h 132"/>
                <a:gd name="T22" fmla="*/ 4 w 132"/>
                <a:gd name="T23" fmla="*/ 4 h 132"/>
                <a:gd name="T24" fmla="*/ 4 w 132"/>
                <a:gd name="T25" fmla="*/ 4 h 132"/>
                <a:gd name="T26" fmla="*/ 8 w 132"/>
                <a:gd name="T27" fmla="*/ 2 h 132"/>
                <a:gd name="T28" fmla="*/ 13 w 132"/>
                <a:gd name="T29" fmla="*/ 0 h 132"/>
                <a:gd name="T30" fmla="*/ 18 w 132"/>
                <a:gd name="T31" fmla="*/ 2 h 132"/>
                <a:gd name="T32" fmla="*/ 23 w 132"/>
                <a:gd name="T33" fmla="*/ 4 h 132"/>
                <a:gd name="T34" fmla="*/ 128 w 132"/>
                <a:gd name="T35" fmla="*/ 109 h 132"/>
                <a:gd name="T36" fmla="*/ 128 w 132"/>
                <a:gd name="T37" fmla="*/ 109 h 132"/>
                <a:gd name="T38" fmla="*/ 131 w 132"/>
                <a:gd name="T39" fmla="*/ 114 h 132"/>
                <a:gd name="T40" fmla="*/ 132 w 132"/>
                <a:gd name="T41" fmla="*/ 119 h 132"/>
                <a:gd name="T42" fmla="*/ 131 w 132"/>
                <a:gd name="T43" fmla="*/ 124 h 132"/>
                <a:gd name="T44" fmla="*/ 128 w 132"/>
                <a:gd name="T45" fmla="*/ 129 h 132"/>
                <a:gd name="T46" fmla="*/ 128 w 132"/>
                <a:gd name="T47"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32">
                  <a:moveTo>
                    <a:pt x="128" y="129"/>
                  </a:moveTo>
                  <a:lnTo>
                    <a:pt x="128" y="129"/>
                  </a:lnTo>
                  <a:lnTo>
                    <a:pt x="123" y="131"/>
                  </a:lnTo>
                  <a:lnTo>
                    <a:pt x="118" y="132"/>
                  </a:lnTo>
                  <a:lnTo>
                    <a:pt x="113" y="131"/>
                  </a:lnTo>
                  <a:lnTo>
                    <a:pt x="108" y="129"/>
                  </a:lnTo>
                  <a:lnTo>
                    <a:pt x="4" y="23"/>
                  </a:lnTo>
                  <a:lnTo>
                    <a:pt x="4" y="23"/>
                  </a:lnTo>
                  <a:lnTo>
                    <a:pt x="1" y="19"/>
                  </a:lnTo>
                  <a:lnTo>
                    <a:pt x="0" y="14"/>
                  </a:lnTo>
                  <a:lnTo>
                    <a:pt x="1" y="9"/>
                  </a:lnTo>
                  <a:lnTo>
                    <a:pt x="4" y="4"/>
                  </a:lnTo>
                  <a:lnTo>
                    <a:pt x="4" y="4"/>
                  </a:lnTo>
                  <a:lnTo>
                    <a:pt x="8" y="2"/>
                  </a:lnTo>
                  <a:lnTo>
                    <a:pt x="13" y="0"/>
                  </a:lnTo>
                  <a:lnTo>
                    <a:pt x="18" y="2"/>
                  </a:lnTo>
                  <a:lnTo>
                    <a:pt x="23" y="4"/>
                  </a:lnTo>
                  <a:lnTo>
                    <a:pt x="128" y="109"/>
                  </a:lnTo>
                  <a:lnTo>
                    <a:pt x="128" y="109"/>
                  </a:lnTo>
                  <a:lnTo>
                    <a:pt x="131" y="114"/>
                  </a:lnTo>
                  <a:lnTo>
                    <a:pt x="132" y="119"/>
                  </a:lnTo>
                  <a:lnTo>
                    <a:pt x="131" y="124"/>
                  </a:lnTo>
                  <a:lnTo>
                    <a:pt x="128" y="129"/>
                  </a:lnTo>
                  <a:lnTo>
                    <a:pt x="128" y="129"/>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10">
              <a:extLst>
                <a:ext uri="{FF2B5EF4-FFF2-40B4-BE49-F238E27FC236}">
                  <a16:creationId xmlns:a16="http://schemas.microsoft.com/office/drawing/2014/main" id="{D87D917F-F12B-A4A5-F6E9-78DAB7075217}"/>
                </a:ext>
              </a:extLst>
            </p:cNvPr>
            <p:cNvSpPr>
              <a:spLocks/>
            </p:cNvSpPr>
            <p:nvPr/>
          </p:nvSpPr>
          <p:spPr bwMode="auto">
            <a:xfrm>
              <a:off x="3392488" y="244475"/>
              <a:ext cx="427038" cy="427038"/>
            </a:xfrm>
            <a:custGeom>
              <a:avLst/>
              <a:gdLst>
                <a:gd name="T0" fmla="*/ 39 w 269"/>
                <a:gd name="T1" fmla="*/ 40 h 269"/>
                <a:gd name="T2" fmla="*/ 39 w 269"/>
                <a:gd name="T3" fmla="*/ 40 h 269"/>
                <a:gd name="T4" fmla="*/ 59 w 269"/>
                <a:gd name="T5" fmla="*/ 24 h 269"/>
                <a:gd name="T6" fmla="*/ 82 w 269"/>
                <a:gd name="T7" fmla="*/ 11 h 269"/>
                <a:gd name="T8" fmla="*/ 107 w 269"/>
                <a:gd name="T9" fmla="*/ 4 h 269"/>
                <a:gd name="T10" fmla="*/ 134 w 269"/>
                <a:gd name="T11" fmla="*/ 0 h 269"/>
                <a:gd name="T12" fmla="*/ 148 w 269"/>
                <a:gd name="T13" fmla="*/ 1 h 269"/>
                <a:gd name="T14" fmla="*/ 174 w 269"/>
                <a:gd name="T15" fmla="*/ 6 h 269"/>
                <a:gd name="T16" fmla="*/ 198 w 269"/>
                <a:gd name="T17" fmla="*/ 17 h 269"/>
                <a:gd name="T18" fmla="*/ 219 w 269"/>
                <a:gd name="T19" fmla="*/ 31 h 269"/>
                <a:gd name="T20" fmla="*/ 238 w 269"/>
                <a:gd name="T21" fmla="*/ 50 h 269"/>
                <a:gd name="T22" fmla="*/ 251 w 269"/>
                <a:gd name="T23" fmla="*/ 72 h 269"/>
                <a:gd name="T24" fmla="*/ 262 w 269"/>
                <a:gd name="T25" fmla="*/ 95 h 269"/>
                <a:gd name="T26" fmla="*/ 267 w 269"/>
                <a:gd name="T27" fmla="*/ 121 h 269"/>
                <a:gd name="T28" fmla="*/ 269 w 269"/>
                <a:gd name="T29" fmla="*/ 136 h 269"/>
                <a:gd name="T30" fmla="*/ 265 w 269"/>
                <a:gd name="T31" fmla="*/ 162 h 269"/>
                <a:gd name="T32" fmla="*/ 258 w 269"/>
                <a:gd name="T33" fmla="*/ 186 h 269"/>
                <a:gd name="T34" fmla="*/ 245 w 269"/>
                <a:gd name="T35" fmla="*/ 210 h 269"/>
                <a:gd name="T36" fmla="*/ 229 w 269"/>
                <a:gd name="T37" fmla="*/ 230 h 269"/>
                <a:gd name="T38" fmla="*/ 219 w 269"/>
                <a:gd name="T39" fmla="*/ 240 h 269"/>
                <a:gd name="T40" fmla="*/ 197 w 269"/>
                <a:gd name="T41" fmla="*/ 253 h 269"/>
                <a:gd name="T42" fmla="*/ 172 w 269"/>
                <a:gd name="T43" fmla="*/ 264 h 269"/>
                <a:gd name="T44" fmla="*/ 147 w 269"/>
                <a:gd name="T45" fmla="*/ 269 h 269"/>
                <a:gd name="T46" fmla="*/ 133 w 269"/>
                <a:gd name="T47" fmla="*/ 269 h 269"/>
                <a:gd name="T48" fmla="*/ 107 w 269"/>
                <a:gd name="T49" fmla="*/ 267 h 269"/>
                <a:gd name="T50" fmla="*/ 82 w 269"/>
                <a:gd name="T51" fmla="*/ 259 h 269"/>
                <a:gd name="T52" fmla="*/ 59 w 269"/>
                <a:gd name="T53" fmla="*/ 247 h 269"/>
                <a:gd name="T54" fmla="*/ 39 w 269"/>
                <a:gd name="T55" fmla="*/ 230 h 269"/>
                <a:gd name="T56" fmla="*/ 29 w 269"/>
                <a:gd name="T57" fmla="*/ 220 h 269"/>
                <a:gd name="T58" fmla="*/ 15 w 269"/>
                <a:gd name="T59" fmla="*/ 198 h 269"/>
                <a:gd name="T60" fmla="*/ 5 w 269"/>
                <a:gd name="T61" fmla="*/ 174 h 269"/>
                <a:gd name="T62" fmla="*/ 0 w 269"/>
                <a:gd name="T63" fmla="*/ 148 h 269"/>
                <a:gd name="T64" fmla="*/ 0 w 269"/>
                <a:gd name="T65" fmla="*/ 135 h 269"/>
                <a:gd name="T66" fmla="*/ 2 w 269"/>
                <a:gd name="T67" fmla="*/ 109 h 269"/>
                <a:gd name="T68" fmla="*/ 10 w 269"/>
                <a:gd name="T69" fmla="*/ 84 h 269"/>
                <a:gd name="T70" fmla="*/ 22 w 269"/>
                <a:gd name="T71" fmla="*/ 61 h 269"/>
                <a:gd name="T72" fmla="*/ 39 w 269"/>
                <a:gd name="T73" fmla="*/ 4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9" h="269">
                  <a:moveTo>
                    <a:pt x="39" y="40"/>
                  </a:moveTo>
                  <a:lnTo>
                    <a:pt x="39" y="40"/>
                  </a:lnTo>
                  <a:lnTo>
                    <a:pt x="39" y="40"/>
                  </a:lnTo>
                  <a:lnTo>
                    <a:pt x="39" y="40"/>
                  </a:lnTo>
                  <a:lnTo>
                    <a:pt x="49" y="31"/>
                  </a:lnTo>
                  <a:lnTo>
                    <a:pt x="59" y="24"/>
                  </a:lnTo>
                  <a:lnTo>
                    <a:pt x="70" y="16"/>
                  </a:lnTo>
                  <a:lnTo>
                    <a:pt x="82" y="11"/>
                  </a:lnTo>
                  <a:lnTo>
                    <a:pt x="95" y="6"/>
                  </a:lnTo>
                  <a:lnTo>
                    <a:pt x="107" y="4"/>
                  </a:lnTo>
                  <a:lnTo>
                    <a:pt x="121" y="1"/>
                  </a:lnTo>
                  <a:lnTo>
                    <a:pt x="134" y="0"/>
                  </a:lnTo>
                  <a:lnTo>
                    <a:pt x="134" y="0"/>
                  </a:lnTo>
                  <a:lnTo>
                    <a:pt x="148" y="1"/>
                  </a:lnTo>
                  <a:lnTo>
                    <a:pt x="161" y="4"/>
                  </a:lnTo>
                  <a:lnTo>
                    <a:pt x="174" y="6"/>
                  </a:lnTo>
                  <a:lnTo>
                    <a:pt x="186" y="11"/>
                  </a:lnTo>
                  <a:lnTo>
                    <a:pt x="198" y="17"/>
                  </a:lnTo>
                  <a:lnTo>
                    <a:pt x="209" y="24"/>
                  </a:lnTo>
                  <a:lnTo>
                    <a:pt x="219" y="31"/>
                  </a:lnTo>
                  <a:lnTo>
                    <a:pt x="229" y="40"/>
                  </a:lnTo>
                  <a:lnTo>
                    <a:pt x="238" y="50"/>
                  </a:lnTo>
                  <a:lnTo>
                    <a:pt x="245" y="61"/>
                  </a:lnTo>
                  <a:lnTo>
                    <a:pt x="251" y="72"/>
                  </a:lnTo>
                  <a:lnTo>
                    <a:pt x="258" y="83"/>
                  </a:lnTo>
                  <a:lnTo>
                    <a:pt x="262" y="95"/>
                  </a:lnTo>
                  <a:lnTo>
                    <a:pt x="265" y="109"/>
                  </a:lnTo>
                  <a:lnTo>
                    <a:pt x="267" y="121"/>
                  </a:lnTo>
                  <a:lnTo>
                    <a:pt x="269" y="136"/>
                  </a:lnTo>
                  <a:lnTo>
                    <a:pt x="269" y="136"/>
                  </a:lnTo>
                  <a:lnTo>
                    <a:pt x="267" y="148"/>
                  </a:lnTo>
                  <a:lnTo>
                    <a:pt x="265" y="162"/>
                  </a:lnTo>
                  <a:lnTo>
                    <a:pt x="262" y="174"/>
                  </a:lnTo>
                  <a:lnTo>
                    <a:pt x="258" y="186"/>
                  </a:lnTo>
                  <a:lnTo>
                    <a:pt x="253" y="199"/>
                  </a:lnTo>
                  <a:lnTo>
                    <a:pt x="245" y="210"/>
                  </a:lnTo>
                  <a:lnTo>
                    <a:pt x="238" y="220"/>
                  </a:lnTo>
                  <a:lnTo>
                    <a:pt x="229" y="230"/>
                  </a:lnTo>
                  <a:lnTo>
                    <a:pt x="229" y="230"/>
                  </a:lnTo>
                  <a:lnTo>
                    <a:pt x="219" y="240"/>
                  </a:lnTo>
                  <a:lnTo>
                    <a:pt x="208" y="247"/>
                  </a:lnTo>
                  <a:lnTo>
                    <a:pt x="197" y="253"/>
                  </a:lnTo>
                  <a:lnTo>
                    <a:pt x="185" y="259"/>
                  </a:lnTo>
                  <a:lnTo>
                    <a:pt x="172" y="264"/>
                  </a:lnTo>
                  <a:lnTo>
                    <a:pt x="160" y="267"/>
                  </a:lnTo>
                  <a:lnTo>
                    <a:pt x="147" y="269"/>
                  </a:lnTo>
                  <a:lnTo>
                    <a:pt x="133" y="269"/>
                  </a:lnTo>
                  <a:lnTo>
                    <a:pt x="133" y="269"/>
                  </a:lnTo>
                  <a:lnTo>
                    <a:pt x="121" y="269"/>
                  </a:lnTo>
                  <a:lnTo>
                    <a:pt x="107" y="267"/>
                  </a:lnTo>
                  <a:lnTo>
                    <a:pt x="95" y="263"/>
                  </a:lnTo>
                  <a:lnTo>
                    <a:pt x="82" y="259"/>
                  </a:lnTo>
                  <a:lnTo>
                    <a:pt x="70" y="253"/>
                  </a:lnTo>
                  <a:lnTo>
                    <a:pt x="59" y="247"/>
                  </a:lnTo>
                  <a:lnTo>
                    <a:pt x="49" y="238"/>
                  </a:lnTo>
                  <a:lnTo>
                    <a:pt x="39" y="230"/>
                  </a:lnTo>
                  <a:lnTo>
                    <a:pt x="39" y="230"/>
                  </a:lnTo>
                  <a:lnTo>
                    <a:pt x="29" y="220"/>
                  </a:lnTo>
                  <a:lnTo>
                    <a:pt x="22" y="209"/>
                  </a:lnTo>
                  <a:lnTo>
                    <a:pt x="15" y="198"/>
                  </a:lnTo>
                  <a:lnTo>
                    <a:pt x="10" y="186"/>
                  </a:lnTo>
                  <a:lnTo>
                    <a:pt x="5" y="174"/>
                  </a:lnTo>
                  <a:lnTo>
                    <a:pt x="2" y="162"/>
                  </a:lnTo>
                  <a:lnTo>
                    <a:pt x="0" y="148"/>
                  </a:lnTo>
                  <a:lnTo>
                    <a:pt x="0" y="135"/>
                  </a:lnTo>
                  <a:lnTo>
                    <a:pt x="0" y="135"/>
                  </a:lnTo>
                  <a:lnTo>
                    <a:pt x="0" y="121"/>
                  </a:lnTo>
                  <a:lnTo>
                    <a:pt x="2" y="109"/>
                  </a:lnTo>
                  <a:lnTo>
                    <a:pt x="5" y="96"/>
                  </a:lnTo>
                  <a:lnTo>
                    <a:pt x="10" y="84"/>
                  </a:lnTo>
                  <a:lnTo>
                    <a:pt x="16" y="72"/>
                  </a:lnTo>
                  <a:lnTo>
                    <a:pt x="22" y="61"/>
                  </a:lnTo>
                  <a:lnTo>
                    <a:pt x="29" y="50"/>
                  </a:lnTo>
                  <a:lnTo>
                    <a:pt x="39" y="40"/>
                  </a:lnTo>
                  <a:lnTo>
                    <a:pt x="39" y="40"/>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11">
              <a:extLst>
                <a:ext uri="{FF2B5EF4-FFF2-40B4-BE49-F238E27FC236}">
                  <a16:creationId xmlns:a16="http://schemas.microsoft.com/office/drawing/2014/main" id="{50119B51-EB47-A31D-B90D-EFD882E776A7}"/>
                </a:ext>
              </a:extLst>
            </p:cNvPr>
            <p:cNvSpPr>
              <a:spLocks/>
            </p:cNvSpPr>
            <p:nvPr/>
          </p:nvSpPr>
          <p:spPr bwMode="auto">
            <a:xfrm>
              <a:off x="3446463" y="300038"/>
              <a:ext cx="317500" cy="317500"/>
            </a:xfrm>
            <a:custGeom>
              <a:avLst/>
              <a:gdLst>
                <a:gd name="T0" fmla="*/ 29 w 200"/>
                <a:gd name="T1" fmla="*/ 29 h 200"/>
                <a:gd name="T2" fmla="*/ 16 w 200"/>
                <a:gd name="T3" fmla="*/ 44 h 200"/>
                <a:gd name="T4" fmla="*/ 8 w 200"/>
                <a:gd name="T5" fmla="*/ 61 h 200"/>
                <a:gd name="T6" fmla="*/ 2 w 200"/>
                <a:gd name="T7" fmla="*/ 80 h 200"/>
                <a:gd name="T8" fmla="*/ 0 w 200"/>
                <a:gd name="T9" fmla="*/ 100 h 200"/>
                <a:gd name="T10" fmla="*/ 0 w 200"/>
                <a:gd name="T11" fmla="*/ 110 h 200"/>
                <a:gd name="T12" fmla="*/ 4 w 200"/>
                <a:gd name="T13" fmla="*/ 129 h 200"/>
                <a:gd name="T14" fmla="*/ 11 w 200"/>
                <a:gd name="T15" fmla="*/ 148 h 200"/>
                <a:gd name="T16" fmla="*/ 22 w 200"/>
                <a:gd name="T17" fmla="*/ 164 h 200"/>
                <a:gd name="T18" fmla="*/ 36 w 200"/>
                <a:gd name="T19" fmla="*/ 177 h 200"/>
                <a:gd name="T20" fmla="*/ 52 w 200"/>
                <a:gd name="T21" fmla="*/ 187 h 200"/>
                <a:gd name="T22" fmla="*/ 69 w 200"/>
                <a:gd name="T23" fmla="*/ 196 h 200"/>
                <a:gd name="T24" fmla="*/ 89 w 200"/>
                <a:gd name="T25" fmla="*/ 200 h 200"/>
                <a:gd name="T26" fmla="*/ 99 w 200"/>
                <a:gd name="T27" fmla="*/ 200 h 200"/>
                <a:gd name="T28" fmla="*/ 119 w 200"/>
                <a:gd name="T29" fmla="*/ 198 h 200"/>
                <a:gd name="T30" fmla="*/ 138 w 200"/>
                <a:gd name="T31" fmla="*/ 192 h 200"/>
                <a:gd name="T32" fmla="*/ 156 w 200"/>
                <a:gd name="T33" fmla="*/ 184 h 200"/>
                <a:gd name="T34" fmla="*/ 170 w 200"/>
                <a:gd name="T35" fmla="*/ 171 h 200"/>
                <a:gd name="T36" fmla="*/ 170 w 200"/>
                <a:gd name="T37" fmla="*/ 171 h 200"/>
                <a:gd name="T38" fmla="*/ 183 w 200"/>
                <a:gd name="T39" fmla="*/ 155 h 200"/>
                <a:gd name="T40" fmla="*/ 193 w 200"/>
                <a:gd name="T41" fmla="*/ 138 h 200"/>
                <a:gd name="T42" fmla="*/ 198 w 200"/>
                <a:gd name="T43" fmla="*/ 119 h 200"/>
                <a:gd name="T44" fmla="*/ 200 w 200"/>
                <a:gd name="T45" fmla="*/ 100 h 200"/>
                <a:gd name="T46" fmla="*/ 199 w 200"/>
                <a:gd name="T47" fmla="*/ 90 h 200"/>
                <a:gd name="T48" fmla="*/ 195 w 200"/>
                <a:gd name="T49" fmla="*/ 71 h 200"/>
                <a:gd name="T50" fmla="*/ 188 w 200"/>
                <a:gd name="T51" fmla="*/ 53 h 200"/>
                <a:gd name="T52" fmla="*/ 177 w 200"/>
                <a:gd name="T53" fmla="*/ 37 h 200"/>
                <a:gd name="T54" fmla="*/ 170 w 200"/>
                <a:gd name="T55" fmla="*/ 29 h 200"/>
                <a:gd name="T56" fmla="*/ 156 w 200"/>
                <a:gd name="T57" fmla="*/ 17 h 200"/>
                <a:gd name="T58" fmla="*/ 138 w 200"/>
                <a:gd name="T59" fmla="*/ 7 h 200"/>
                <a:gd name="T60" fmla="*/ 120 w 200"/>
                <a:gd name="T61" fmla="*/ 2 h 200"/>
                <a:gd name="T62" fmla="*/ 100 w 200"/>
                <a:gd name="T63" fmla="*/ 0 h 200"/>
                <a:gd name="T64" fmla="*/ 90 w 200"/>
                <a:gd name="T65" fmla="*/ 1 h 200"/>
                <a:gd name="T66" fmla="*/ 71 w 200"/>
                <a:gd name="T67" fmla="*/ 5 h 200"/>
                <a:gd name="T68" fmla="*/ 53 w 200"/>
                <a:gd name="T69" fmla="*/ 12 h 200"/>
                <a:gd name="T70" fmla="*/ 36 w 200"/>
                <a:gd name="T71" fmla="*/ 23 h 200"/>
                <a:gd name="T72" fmla="*/ 29 w 200"/>
                <a:gd name="T73" fmla="*/ 2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200">
                  <a:moveTo>
                    <a:pt x="29" y="29"/>
                  </a:moveTo>
                  <a:lnTo>
                    <a:pt x="29" y="29"/>
                  </a:lnTo>
                  <a:lnTo>
                    <a:pt x="22" y="37"/>
                  </a:lnTo>
                  <a:lnTo>
                    <a:pt x="16" y="44"/>
                  </a:lnTo>
                  <a:lnTo>
                    <a:pt x="11" y="53"/>
                  </a:lnTo>
                  <a:lnTo>
                    <a:pt x="8" y="61"/>
                  </a:lnTo>
                  <a:lnTo>
                    <a:pt x="4" y="71"/>
                  </a:lnTo>
                  <a:lnTo>
                    <a:pt x="2" y="80"/>
                  </a:lnTo>
                  <a:lnTo>
                    <a:pt x="0" y="90"/>
                  </a:lnTo>
                  <a:lnTo>
                    <a:pt x="0" y="100"/>
                  </a:lnTo>
                  <a:lnTo>
                    <a:pt x="0" y="100"/>
                  </a:lnTo>
                  <a:lnTo>
                    <a:pt x="0" y="110"/>
                  </a:lnTo>
                  <a:lnTo>
                    <a:pt x="2" y="119"/>
                  </a:lnTo>
                  <a:lnTo>
                    <a:pt x="4" y="129"/>
                  </a:lnTo>
                  <a:lnTo>
                    <a:pt x="8" y="139"/>
                  </a:lnTo>
                  <a:lnTo>
                    <a:pt x="11" y="148"/>
                  </a:lnTo>
                  <a:lnTo>
                    <a:pt x="16" y="155"/>
                  </a:lnTo>
                  <a:lnTo>
                    <a:pt x="22" y="164"/>
                  </a:lnTo>
                  <a:lnTo>
                    <a:pt x="29" y="170"/>
                  </a:lnTo>
                  <a:lnTo>
                    <a:pt x="36" y="177"/>
                  </a:lnTo>
                  <a:lnTo>
                    <a:pt x="43" y="182"/>
                  </a:lnTo>
                  <a:lnTo>
                    <a:pt x="52" y="187"/>
                  </a:lnTo>
                  <a:lnTo>
                    <a:pt x="61" y="192"/>
                  </a:lnTo>
                  <a:lnTo>
                    <a:pt x="69" y="196"/>
                  </a:lnTo>
                  <a:lnTo>
                    <a:pt x="79" y="198"/>
                  </a:lnTo>
                  <a:lnTo>
                    <a:pt x="89" y="200"/>
                  </a:lnTo>
                  <a:lnTo>
                    <a:pt x="99" y="200"/>
                  </a:lnTo>
                  <a:lnTo>
                    <a:pt x="99" y="200"/>
                  </a:lnTo>
                  <a:lnTo>
                    <a:pt x="110" y="200"/>
                  </a:lnTo>
                  <a:lnTo>
                    <a:pt x="119" y="198"/>
                  </a:lnTo>
                  <a:lnTo>
                    <a:pt x="129" y="196"/>
                  </a:lnTo>
                  <a:lnTo>
                    <a:pt x="138" y="192"/>
                  </a:lnTo>
                  <a:lnTo>
                    <a:pt x="147" y="188"/>
                  </a:lnTo>
                  <a:lnTo>
                    <a:pt x="156" y="184"/>
                  </a:lnTo>
                  <a:lnTo>
                    <a:pt x="163" y="177"/>
                  </a:lnTo>
                  <a:lnTo>
                    <a:pt x="170" y="171"/>
                  </a:lnTo>
                  <a:lnTo>
                    <a:pt x="170" y="171"/>
                  </a:lnTo>
                  <a:lnTo>
                    <a:pt x="170" y="171"/>
                  </a:lnTo>
                  <a:lnTo>
                    <a:pt x="177" y="164"/>
                  </a:lnTo>
                  <a:lnTo>
                    <a:pt x="183" y="155"/>
                  </a:lnTo>
                  <a:lnTo>
                    <a:pt x="188" y="147"/>
                  </a:lnTo>
                  <a:lnTo>
                    <a:pt x="193" y="138"/>
                  </a:lnTo>
                  <a:lnTo>
                    <a:pt x="195" y="129"/>
                  </a:lnTo>
                  <a:lnTo>
                    <a:pt x="198" y="119"/>
                  </a:lnTo>
                  <a:lnTo>
                    <a:pt x="199" y="110"/>
                  </a:lnTo>
                  <a:lnTo>
                    <a:pt x="200" y="100"/>
                  </a:lnTo>
                  <a:lnTo>
                    <a:pt x="200" y="100"/>
                  </a:lnTo>
                  <a:lnTo>
                    <a:pt x="199" y="90"/>
                  </a:lnTo>
                  <a:lnTo>
                    <a:pt x="198" y="81"/>
                  </a:lnTo>
                  <a:lnTo>
                    <a:pt x="195" y="71"/>
                  </a:lnTo>
                  <a:lnTo>
                    <a:pt x="193" y="61"/>
                  </a:lnTo>
                  <a:lnTo>
                    <a:pt x="188" y="53"/>
                  </a:lnTo>
                  <a:lnTo>
                    <a:pt x="183" y="45"/>
                  </a:lnTo>
                  <a:lnTo>
                    <a:pt x="177" y="37"/>
                  </a:lnTo>
                  <a:lnTo>
                    <a:pt x="170" y="29"/>
                  </a:lnTo>
                  <a:lnTo>
                    <a:pt x="170" y="29"/>
                  </a:lnTo>
                  <a:lnTo>
                    <a:pt x="163" y="23"/>
                  </a:lnTo>
                  <a:lnTo>
                    <a:pt x="156" y="17"/>
                  </a:lnTo>
                  <a:lnTo>
                    <a:pt x="147" y="12"/>
                  </a:lnTo>
                  <a:lnTo>
                    <a:pt x="138" y="7"/>
                  </a:lnTo>
                  <a:lnTo>
                    <a:pt x="129" y="5"/>
                  </a:lnTo>
                  <a:lnTo>
                    <a:pt x="120" y="2"/>
                  </a:lnTo>
                  <a:lnTo>
                    <a:pt x="110" y="1"/>
                  </a:lnTo>
                  <a:lnTo>
                    <a:pt x="100" y="0"/>
                  </a:lnTo>
                  <a:lnTo>
                    <a:pt x="100" y="0"/>
                  </a:lnTo>
                  <a:lnTo>
                    <a:pt x="90" y="1"/>
                  </a:lnTo>
                  <a:lnTo>
                    <a:pt x="80" y="2"/>
                  </a:lnTo>
                  <a:lnTo>
                    <a:pt x="71" y="5"/>
                  </a:lnTo>
                  <a:lnTo>
                    <a:pt x="62" y="7"/>
                  </a:lnTo>
                  <a:lnTo>
                    <a:pt x="53" y="12"/>
                  </a:lnTo>
                  <a:lnTo>
                    <a:pt x="45" y="17"/>
                  </a:lnTo>
                  <a:lnTo>
                    <a:pt x="36" y="23"/>
                  </a:lnTo>
                  <a:lnTo>
                    <a:pt x="29" y="29"/>
                  </a:lnTo>
                  <a:lnTo>
                    <a:pt x="29" y="29"/>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12">
              <a:extLst>
                <a:ext uri="{FF2B5EF4-FFF2-40B4-BE49-F238E27FC236}">
                  <a16:creationId xmlns:a16="http://schemas.microsoft.com/office/drawing/2014/main" id="{0CABE279-8C1E-C504-1A15-D21D32002E25}"/>
                </a:ext>
              </a:extLst>
            </p:cNvPr>
            <p:cNvSpPr>
              <a:spLocks/>
            </p:cNvSpPr>
            <p:nvPr/>
          </p:nvSpPr>
          <p:spPr bwMode="auto">
            <a:xfrm>
              <a:off x="3476625" y="300038"/>
              <a:ext cx="287338" cy="306388"/>
            </a:xfrm>
            <a:custGeom>
              <a:avLst/>
              <a:gdLst>
                <a:gd name="T0" fmla="*/ 151 w 181"/>
                <a:gd name="T1" fmla="*/ 29 h 193"/>
                <a:gd name="T2" fmla="*/ 137 w 181"/>
                <a:gd name="T3" fmla="*/ 17 h 193"/>
                <a:gd name="T4" fmla="*/ 119 w 181"/>
                <a:gd name="T5" fmla="*/ 7 h 193"/>
                <a:gd name="T6" fmla="*/ 101 w 181"/>
                <a:gd name="T7" fmla="*/ 2 h 193"/>
                <a:gd name="T8" fmla="*/ 81 w 181"/>
                <a:gd name="T9" fmla="*/ 0 h 193"/>
                <a:gd name="T10" fmla="*/ 70 w 181"/>
                <a:gd name="T11" fmla="*/ 1 h 193"/>
                <a:gd name="T12" fmla="*/ 59 w 181"/>
                <a:gd name="T13" fmla="*/ 2 h 193"/>
                <a:gd name="T14" fmla="*/ 43 w 181"/>
                <a:gd name="T15" fmla="*/ 11 h 193"/>
                <a:gd name="T16" fmla="*/ 29 w 181"/>
                <a:gd name="T17" fmla="*/ 23 h 193"/>
                <a:gd name="T18" fmla="*/ 23 w 181"/>
                <a:gd name="T19" fmla="*/ 31 h 193"/>
                <a:gd name="T20" fmla="*/ 12 w 181"/>
                <a:gd name="T21" fmla="*/ 47 h 193"/>
                <a:gd name="T22" fmla="*/ 5 w 181"/>
                <a:gd name="T23" fmla="*/ 64 h 193"/>
                <a:gd name="T24" fmla="*/ 1 w 181"/>
                <a:gd name="T25" fmla="*/ 84 h 193"/>
                <a:gd name="T26" fmla="*/ 0 w 181"/>
                <a:gd name="T27" fmla="*/ 93 h 193"/>
                <a:gd name="T28" fmla="*/ 2 w 181"/>
                <a:gd name="T29" fmla="*/ 113 h 193"/>
                <a:gd name="T30" fmla="*/ 7 w 181"/>
                <a:gd name="T31" fmla="*/ 133 h 193"/>
                <a:gd name="T32" fmla="*/ 17 w 181"/>
                <a:gd name="T33" fmla="*/ 149 h 193"/>
                <a:gd name="T34" fmla="*/ 29 w 181"/>
                <a:gd name="T35" fmla="*/ 164 h 193"/>
                <a:gd name="T36" fmla="*/ 44 w 181"/>
                <a:gd name="T37" fmla="*/ 176 h 193"/>
                <a:gd name="T38" fmla="*/ 61 w 181"/>
                <a:gd name="T39" fmla="*/ 186 h 193"/>
                <a:gd name="T40" fmla="*/ 80 w 181"/>
                <a:gd name="T41" fmla="*/ 191 h 193"/>
                <a:gd name="T42" fmla="*/ 100 w 181"/>
                <a:gd name="T43" fmla="*/ 193 h 193"/>
                <a:gd name="T44" fmla="*/ 111 w 181"/>
                <a:gd name="T45" fmla="*/ 193 h 193"/>
                <a:gd name="T46" fmla="*/ 122 w 181"/>
                <a:gd name="T47" fmla="*/ 191 h 193"/>
                <a:gd name="T48" fmla="*/ 138 w 181"/>
                <a:gd name="T49" fmla="*/ 182 h 193"/>
                <a:gd name="T50" fmla="*/ 151 w 181"/>
                <a:gd name="T51" fmla="*/ 171 h 193"/>
                <a:gd name="T52" fmla="*/ 151 w 181"/>
                <a:gd name="T53" fmla="*/ 171 h 193"/>
                <a:gd name="T54" fmla="*/ 164 w 181"/>
                <a:gd name="T55" fmla="*/ 155 h 193"/>
                <a:gd name="T56" fmla="*/ 174 w 181"/>
                <a:gd name="T57" fmla="*/ 138 h 193"/>
                <a:gd name="T58" fmla="*/ 179 w 181"/>
                <a:gd name="T59" fmla="*/ 119 h 193"/>
                <a:gd name="T60" fmla="*/ 181 w 181"/>
                <a:gd name="T61" fmla="*/ 100 h 193"/>
                <a:gd name="T62" fmla="*/ 180 w 181"/>
                <a:gd name="T63" fmla="*/ 90 h 193"/>
                <a:gd name="T64" fmla="*/ 176 w 181"/>
                <a:gd name="T65" fmla="*/ 71 h 193"/>
                <a:gd name="T66" fmla="*/ 169 w 181"/>
                <a:gd name="T67" fmla="*/ 53 h 193"/>
                <a:gd name="T68" fmla="*/ 158 w 181"/>
                <a:gd name="T69" fmla="*/ 37 h 193"/>
                <a:gd name="T70" fmla="*/ 151 w 181"/>
                <a:gd name="T71" fmla="*/ 2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193">
                  <a:moveTo>
                    <a:pt x="151" y="29"/>
                  </a:moveTo>
                  <a:lnTo>
                    <a:pt x="151" y="29"/>
                  </a:lnTo>
                  <a:lnTo>
                    <a:pt x="144" y="23"/>
                  </a:lnTo>
                  <a:lnTo>
                    <a:pt x="137" y="17"/>
                  </a:lnTo>
                  <a:lnTo>
                    <a:pt x="128" y="12"/>
                  </a:lnTo>
                  <a:lnTo>
                    <a:pt x="119" y="7"/>
                  </a:lnTo>
                  <a:lnTo>
                    <a:pt x="110" y="5"/>
                  </a:lnTo>
                  <a:lnTo>
                    <a:pt x="101" y="2"/>
                  </a:lnTo>
                  <a:lnTo>
                    <a:pt x="91" y="1"/>
                  </a:lnTo>
                  <a:lnTo>
                    <a:pt x="81" y="0"/>
                  </a:lnTo>
                  <a:lnTo>
                    <a:pt x="81" y="0"/>
                  </a:lnTo>
                  <a:lnTo>
                    <a:pt x="70" y="1"/>
                  </a:lnTo>
                  <a:lnTo>
                    <a:pt x="59" y="2"/>
                  </a:lnTo>
                  <a:lnTo>
                    <a:pt x="59" y="2"/>
                  </a:lnTo>
                  <a:lnTo>
                    <a:pt x="50" y="7"/>
                  </a:lnTo>
                  <a:lnTo>
                    <a:pt x="43" y="11"/>
                  </a:lnTo>
                  <a:lnTo>
                    <a:pt x="36" y="17"/>
                  </a:lnTo>
                  <a:lnTo>
                    <a:pt x="29" y="23"/>
                  </a:lnTo>
                  <a:lnTo>
                    <a:pt x="29" y="23"/>
                  </a:lnTo>
                  <a:lnTo>
                    <a:pt x="23" y="31"/>
                  </a:lnTo>
                  <a:lnTo>
                    <a:pt x="17" y="38"/>
                  </a:lnTo>
                  <a:lnTo>
                    <a:pt x="12" y="47"/>
                  </a:lnTo>
                  <a:lnTo>
                    <a:pt x="7" y="55"/>
                  </a:lnTo>
                  <a:lnTo>
                    <a:pt x="5" y="64"/>
                  </a:lnTo>
                  <a:lnTo>
                    <a:pt x="2" y="74"/>
                  </a:lnTo>
                  <a:lnTo>
                    <a:pt x="1" y="84"/>
                  </a:lnTo>
                  <a:lnTo>
                    <a:pt x="0" y="93"/>
                  </a:lnTo>
                  <a:lnTo>
                    <a:pt x="0" y="93"/>
                  </a:lnTo>
                  <a:lnTo>
                    <a:pt x="1" y="103"/>
                  </a:lnTo>
                  <a:lnTo>
                    <a:pt x="2" y="113"/>
                  </a:lnTo>
                  <a:lnTo>
                    <a:pt x="5" y="123"/>
                  </a:lnTo>
                  <a:lnTo>
                    <a:pt x="7" y="133"/>
                  </a:lnTo>
                  <a:lnTo>
                    <a:pt x="12" y="142"/>
                  </a:lnTo>
                  <a:lnTo>
                    <a:pt x="17" y="149"/>
                  </a:lnTo>
                  <a:lnTo>
                    <a:pt x="23" y="158"/>
                  </a:lnTo>
                  <a:lnTo>
                    <a:pt x="29" y="164"/>
                  </a:lnTo>
                  <a:lnTo>
                    <a:pt x="37" y="171"/>
                  </a:lnTo>
                  <a:lnTo>
                    <a:pt x="44" y="176"/>
                  </a:lnTo>
                  <a:lnTo>
                    <a:pt x="52" y="181"/>
                  </a:lnTo>
                  <a:lnTo>
                    <a:pt x="61" y="186"/>
                  </a:lnTo>
                  <a:lnTo>
                    <a:pt x="70" y="188"/>
                  </a:lnTo>
                  <a:lnTo>
                    <a:pt x="80" y="191"/>
                  </a:lnTo>
                  <a:lnTo>
                    <a:pt x="90" y="193"/>
                  </a:lnTo>
                  <a:lnTo>
                    <a:pt x="100" y="193"/>
                  </a:lnTo>
                  <a:lnTo>
                    <a:pt x="100" y="193"/>
                  </a:lnTo>
                  <a:lnTo>
                    <a:pt x="111" y="193"/>
                  </a:lnTo>
                  <a:lnTo>
                    <a:pt x="122" y="191"/>
                  </a:lnTo>
                  <a:lnTo>
                    <a:pt x="122" y="191"/>
                  </a:lnTo>
                  <a:lnTo>
                    <a:pt x="129" y="187"/>
                  </a:lnTo>
                  <a:lnTo>
                    <a:pt x="138" y="182"/>
                  </a:lnTo>
                  <a:lnTo>
                    <a:pt x="144" y="177"/>
                  </a:lnTo>
                  <a:lnTo>
                    <a:pt x="151" y="171"/>
                  </a:lnTo>
                  <a:lnTo>
                    <a:pt x="151" y="171"/>
                  </a:lnTo>
                  <a:lnTo>
                    <a:pt x="151" y="171"/>
                  </a:lnTo>
                  <a:lnTo>
                    <a:pt x="158" y="164"/>
                  </a:lnTo>
                  <a:lnTo>
                    <a:pt x="164" y="155"/>
                  </a:lnTo>
                  <a:lnTo>
                    <a:pt x="169" y="147"/>
                  </a:lnTo>
                  <a:lnTo>
                    <a:pt x="174" y="138"/>
                  </a:lnTo>
                  <a:lnTo>
                    <a:pt x="176" y="129"/>
                  </a:lnTo>
                  <a:lnTo>
                    <a:pt x="179" y="119"/>
                  </a:lnTo>
                  <a:lnTo>
                    <a:pt x="180" y="110"/>
                  </a:lnTo>
                  <a:lnTo>
                    <a:pt x="181" y="100"/>
                  </a:lnTo>
                  <a:lnTo>
                    <a:pt x="181" y="100"/>
                  </a:lnTo>
                  <a:lnTo>
                    <a:pt x="180" y="90"/>
                  </a:lnTo>
                  <a:lnTo>
                    <a:pt x="179" y="81"/>
                  </a:lnTo>
                  <a:lnTo>
                    <a:pt x="176" y="71"/>
                  </a:lnTo>
                  <a:lnTo>
                    <a:pt x="174" y="61"/>
                  </a:lnTo>
                  <a:lnTo>
                    <a:pt x="169" y="53"/>
                  </a:lnTo>
                  <a:lnTo>
                    <a:pt x="164" y="45"/>
                  </a:lnTo>
                  <a:lnTo>
                    <a:pt x="158" y="37"/>
                  </a:lnTo>
                  <a:lnTo>
                    <a:pt x="151" y="29"/>
                  </a:lnTo>
                  <a:lnTo>
                    <a:pt x="151"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213">
              <a:extLst>
                <a:ext uri="{FF2B5EF4-FFF2-40B4-BE49-F238E27FC236}">
                  <a16:creationId xmlns:a16="http://schemas.microsoft.com/office/drawing/2014/main" id="{40A17687-49D4-9783-F887-1CB91CCB75EA}"/>
                </a:ext>
              </a:extLst>
            </p:cNvPr>
            <p:cNvSpPr>
              <a:spLocks/>
            </p:cNvSpPr>
            <p:nvPr/>
          </p:nvSpPr>
          <p:spPr bwMode="auto">
            <a:xfrm>
              <a:off x="3719513" y="573088"/>
              <a:ext cx="87313" cy="90488"/>
            </a:xfrm>
            <a:custGeom>
              <a:avLst/>
              <a:gdLst>
                <a:gd name="T0" fmla="*/ 50 w 55"/>
                <a:gd name="T1" fmla="*/ 52 h 57"/>
                <a:gd name="T2" fmla="*/ 50 w 55"/>
                <a:gd name="T3" fmla="*/ 52 h 57"/>
                <a:gd name="T4" fmla="*/ 45 w 55"/>
                <a:gd name="T5" fmla="*/ 56 h 57"/>
                <a:gd name="T6" fmla="*/ 39 w 55"/>
                <a:gd name="T7" fmla="*/ 57 h 57"/>
                <a:gd name="T8" fmla="*/ 32 w 55"/>
                <a:gd name="T9" fmla="*/ 56 h 57"/>
                <a:gd name="T10" fmla="*/ 27 w 55"/>
                <a:gd name="T11" fmla="*/ 52 h 57"/>
                <a:gd name="T12" fmla="*/ 5 w 55"/>
                <a:gd name="T13" fmla="*/ 30 h 57"/>
                <a:gd name="T14" fmla="*/ 5 w 55"/>
                <a:gd name="T15" fmla="*/ 30 h 57"/>
                <a:gd name="T16" fmla="*/ 1 w 55"/>
                <a:gd name="T17" fmla="*/ 24 h 57"/>
                <a:gd name="T18" fmla="*/ 0 w 55"/>
                <a:gd name="T19" fmla="*/ 18 h 57"/>
                <a:gd name="T20" fmla="*/ 1 w 55"/>
                <a:gd name="T21" fmla="*/ 12 h 57"/>
                <a:gd name="T22" fmla="*/ 5 w 55"/>
                <a:gd name="T23" fmla="*/ 5 h 57"/>
                <a:gd name="T24" fmla="*/ 5 w 55"/>
                <a:gd name="T25" fmla="*/ 5 h 57"/>
                <a:gd name="T26" fmla="*/ 5 w 55"/>
                <a:gd name="T27" fmla="*/ 5 h 57"/>
                <a:gd name="T28" fmla="*/ 5 w 55"/>
                <a:gd name="T29" fmla="*/ 5 h 57"/>
                <a:gd name="T30" fmla="*/ 11 w 55"/>
                <a:gd name="T31" fmla="*/ 2 h 57"/>
                <a:gd name="T32" fmla="*/ 17 w 55"/>
                <a:gd name="T33" fmla="*/ 0 h 57"/>
                <a:gd name="T34" fmla="*/ 23 w 55"/>
                <a:gd name="T35" fmla="*/ 2 h 57"/>
                <a:gd name="T36" fmla="*/ 29 w 55"/>
                <a:gd name="T37" fmla="*/ 5 h 57"/>
                <a:gd name="T38" fmla="*/ 50 w 55"/>
                <a:gd name="T39" fmla="*/ 28 h 57"/>
                <a:gd name="T40" fmla="*/ 50 w 55"/>
                <a:gd name="T41" fmla="*/ 28 h 57"/>
                <a:gd name="T42" fmla="*/ 54 w 55"/>
                <a:gd name="T43" fmla="*/ 34 h 57"/>
                <a:gd name="T44" fmla="*/ 55 w 55"/>
                <a:gd name="T45" fmla="*/ 40 h 57"/>
                <a:gd name="T46" fmla="*/ 54 w 55"/>
                <a:gd name="T47" fmla="*/ 46 h 57"/>
                <a:gd name="T48" fmla="*/ 50 w 55"/>
                <a:gd name="T49" fmla="*/ 52 h 57"/>
                <a:gd name="T50" fmla="*/ 50 w 55"/>
                <a:gd name="T51" fmla="*/ 52 h 57"/>
                <a:gd name="T52" fmla="*/ 50 w 55"/>
                <a:gd name="T53" fmla="*/ 52 h 57"/>
                <a:gd name="T54" fmla="*/ 50 w 55"/>
                <a:gd name="T55" fmla="*/ 5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5" h="57">
                  <a:moveTo>
                    <a:pt x="50" y="52"/>
                  </a:moveTo>
                  <a:lnTo>
                    <a:pt x="50" y="52"/>
                  </a:lnTo>
                  <a:lnTo>
                    <a:pt x="45" y="56"/>
                  </a:lnTo>
                  <a:lnTo>
                    <a:pt x="39" y="57"/>
                  </a:lnTo>
                  <a:lnTo>
                    <a:pt x="32" y="56"/>
                  </a:lnTo>
                  <a:lnTo>
                    <a:pt x="27" y="52"/>
                  </a:lnTo>
                  <a:lnTo>
                    <a:pt x="5" y="30"/>
                  </a:lnTo>
                  <a:lnTo>
                    <a:pt x="5" y="30"/>
                  </a:lnTo>
                  <a:lnTo>
                    <a:pt x="1" y="24"/>
                  </a:lnTo>
                  <a:lnTo>
                    <a:pt x="0" y="18"/>
                  </a:lnTo>
                  <a:lnTo>
                    <a:pt x="1" y="12"/>
                  </a:lnTo>
                  <a:lnTo>
                    <a:pt x="5" y="5"/>
                  </a:lnTo>
                  <a:lnTo>
                    <a:pt x="5" y="5"/>
                  </a:lnTo>
                  <a:lnTo>
                    <a:pt x="5" y="5"/>
                  </a:lnTo>
                  <a:lnTo>
                    <a:pt x="5" y="5"/>
                  </a:lnTo>
                  <a:lnTo>
                    <a:pt x="11" y="2"/>
                  </a:lnTo>
                  <a:lnTo>
                    <a:pt x="17" y="0"/>
                  </a:lnTo>
                  <a:lnTo>
                    <a:pt x="23" y="2"/>
                  </a:lnTo>
                  <a:lnTo>
                    <a:pt x="29" y="5"/>
                  </a:lnTo>
                  <a:lnTo>
                    <a:pt x="50" y="28"/>
                  </a:lnTo>
                  <a:lnTo>
                    <a:pt x="50" y="28"/>
                  </a:lnTo>
                  <a:lnTo>
                    <a:pt x="54" y="34"/>
                  </a:lnTo>
                  <a:lnTo>
                    <a:pt x="55" y="40"/>
                  </a:lnTo>
                  <a:lnTo>
                    <a:pt x="54" y="46"/>
                  </a:lnTo>
                  <a:lnTo>
                    <a:pt x="50" y="52"/>
                  </a:lnTo>
                  <a:lnTo>
                    <a:pt x="50" y="52"/>
                  </a:lnTo>
                  <a:lnTo>
                    <a:pt x="50" y="52"/>
                  </a:lnTo>
                  <a:lnTo>
                    <a:pt x="50" y="52"/>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14">
              <a:extLst>
                <a:ext uri="{FF2B5EF4-FFF2-40B4-BE49-F238E27FC236}">
                  <a16:creationId xmlns:a16="http://schemas.microsoft.com/office/drawing/2014/main" id="{003FA250-BFD8-B68A-AAED-A43A8ED2C534}"/>
                </a:ext>
              </a:extLst>
            </p:cNvPr>
            <p:cNvSpPr>
              <a:spLocks/>
            </p:cNvSpPr>
            <p:nvPr/>
          </p:nvSpPr>
          <p:spPr bwMode="auto">
            <a:xfrm>
              <a:off x="3603625" y="258763"/>
              <a:ext cx="201613" cy="401638"/>
            </a:xfrm>
            <a:custGeom>
              <a:avLst/>
              <a:gdLst>
                <a:gd name="T0" fmla="*/ 1 w 127"/>
                <a:gd name="T1" fmla="*/ 0 h 253"/>
                <a:gd name="T2" fmla="*/ 27 w 127"/>
                <a:gd name="T3" fmla="*/ 2 h 253"/>
                <a:gd name="T4" fmla="*/ 51 w 127"/>
                <a:gd name="T5" fmla="*/ 10 h 253"/>
                <a:gd name="T6" fmla="*/ 71 w 127"/>
                <a:gd name="T7" fmla="*/ 21 h 253"/>
                <a:gd name="T8" fmla="*/ 90 w 127"/>
                <a:gd name="T9" fmla="*/ 37 h 253"/>
                <a:gd name="T10" fmla="*/ 106 w 127"/>
                <a:gd name="T11" fmla="*/ 55 h 253"/>
                <a:gd name="T12" fmla="*/ 117 w 127"/>
                <a:gd name="T13" fmla="*/ 78 h 253"/>
                <a:gd name="T14" fmla="*/ 125 w 127"/>
                <a:gd name="T15" fmla="*/ 101 h 253"/>
                <a:gd name="T16" fmla="*/ 127 w 127"/>
                <a:gd name="T17" fmla="*/ 126 h 253"/>
                <a:gd name="T18" fmla="*/ 127 w 127"/>
                <a:gd name="T19" fmla="*/ 139 h 253"/>
                <a:gd name="T20" fmla="*/ 122 w 127"/>
                <a:gd name="T21" fmla="*/ 163 h 253"/>
                <a:gd name="T22" fmla="*/ 112 w 127"/>
                <a:gd name="T23" fmla="*/ 186 h 253"/>
                <a:gd name="T24" fmla="*/ 99 w 127"/>
                <a:gd name="T25" fmla="*/ 206 h 253"/>
                <a:gd name="T26" fmla="*/ 90 w 127"/>
                <a:gd name="T27" fmla="*/ 216 h 253"/>
                <a:gd name="T28" fmla="*/ 71 w 127"/>
                <a:gd name="T29" fmla="*/ 232 h 253"/>
                <a:gd name="T30" fmla="*/ 49 w 127"/>
                <a:gd name="T31" fmla="*/ 243 h 253"/>
                <a:gd name="T32" fmla="*/ 26 w 127"/>
                <a:gd name="T33" fmla="*/ 250 h 253"/>
                <a:gd name="T34" fmla="*/ 1 w 127"/>
                <a:gd name="T35" fmla="*/ 253 h 253"/>
                <a:gd name="T36" fmla="*/ 0 w 127"/>
                <a:gd name="T37" fmla="*/ 253 h 253"/>
                <a:gd name="T38" fmla="*/ 1 w 127"/>
                <a:gd name="T39" fmla="*/ 235 h 253"/>
                <a:gd name="T40" fmla="*/ 1 w 127"/>
                <a:gd name="T41" fmla="*/ 235 h 253"/>
                <a:gd name="T42" fmla="*/ 22 w 127"/>
                <a:gd name="T43" fmla="*/ 234 h 253"/>
                <a:gd name="T44" fmla="*/ 43 w 127"/>
                <a:gd name="T45" fmla="*/ 228 h 253"/>
                <a:gd name="T46" fmla="*/ 62 w 127"/>
                <a:gd name="T47" fmla="*/ 217 h 253"/>
                <a:gd name="T48" fmla="*/ 79 w 127"/>
                <a:gd name="T49" fmla="*/ 203 h 253"/>
                <a:gd name="T50" fmla="*/ 86 w 127"/>
                <a:gd name="T51" fmla="*/ 196 h 253"/>
                <a:gd name="T52" fmla="*/ 97 w 127"/>
                <a:gd name="T53" fmla="*/ 177 h 253"/>
                <a:gd name="T54" fmla="*/ 106 w 127"/>
                <a:gd name="T55" fmla="*/ 158 h 253"/>
                <a:gd name="T56" fmla="*/ 110 w 127"/>
                <a:gd name="T57" fmla="*/ 137 h 253"/>
                <a:gd name="T58" fmla="*/ 111 w 127"/>
                <a:gd name="T59" fmla="*/ 126 h 253"/>
                <a:gd name="T60" fmla="*/ 108 w 127"/>
                <a:gd name="T61" fmla="*/ 105 h 253"/>
                <a:gd name="T62" fmla="*/ 102 w 127"/>
                <a:gd name="T63" fmla="*/ 84 h 253"/>
                <a:gd name="T64" fmla="*/ 92 w 127"/>
                <a:gd name="T65" fmla="*/ 65 h 253"/>
                <a:gd name="T66" fmla="*/ 79 w 127"/>
                <a:gd name="T67" fmla="*/ 49 h 253"/>
                <a:gd name="T68" fmla="*/ 63 w 127"/>
                <a:gd name="T69" fmla="*/ 36 h 253"/>
                <a:gd name="T70" fmla="*/ 43 w 127"/>
                <a:gd name="T71" fmla="*/ 25 h 253"/>
                <a:gd name="T72" fmla="*/ 23 w 127"/>
                <a:gd name="T73" fmla="*/ 18 h 253"/>
                <a:gd name="T74" fmla="*/ 1 w 127"/>
                <a:gd name="T75" fmla="*/ 16 h 253"/>
                <a:gd name="T76" fmla="*/ 1 w 127"/>
                <a:gd name="T77"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7" h="253">
                  <a:moveTo>
                    <a:pt x="1" y="0"/>
                  </a:moveTo>
                  <a:lnTo>
                    <a:pt x="1" y="0"/>
                  </a:lnTo>
                  <a:lnTo>
                    <a:pt x="14" y="0"/>
                  </a:lnTo>
                  <a:lnTo>
                    <a:pt x="27" y="2"/>
                  </a:lnTo>
                  <a:lnTo>
                    <a:pt x="38" y="5"/>
                  </a:lnTo>
                  <a:lnTo>
                    <a:pt x="51" y="10"/>
                  </a:lnTo>
                  <a:lnTo>
                    <a:pt x="62" y="15"/>
                  </a:lnTo>
                  <a:lnTo>
                    <a:pt x="71" y="21"/>
                  </a:lnTo>
                  <a:lnTo>
                    <a:pt x="81" y="28"/>
                  </a:lnTo>
                  <a:lnTo>
                    <a:pt x="90" y="37"/>
                  </a:lnTo>
                  <a:lnTo>
                    <a:pt x="99" y="45"/>
                  </a:lnTo>
                  <a:lnTo>
                    <a:pt x="106" y="55"/>
                  </a:lnTo>
                  <a:lnTo>
                    <a:pt x="112" y="66"/>
                  </a:lnTo>
                  <a:lnTo>
                    <a:pt x="117" y="78"/>
                  </a:lnTo>
                  <a:lnTo>
                    <a:pt x="122" y="89"/>
                  </a:lnTo>
                  <a:lnTo>
                    <a:pt x="125" y="101"/>
                  </a:lnTo>
                  <a:lnTo>
                    <a:pt x="127" y="113"/>
                  </a:lnTo>
                  <a:lnTo>
                    <a:pt x="127" y="126"/>
                  </a:lnTo>
                  <a:lnTo>
                    <a:pt x="127" y="126"/>
                  </a:lnTo>
                  <a:lnTo>
                    <a:pt x="127" y="139"/>
                  </a:lnTo>
                  <a:lnTo>
                    <a:pt x="125" y="152"/>
                  </a:lnTo>
                  <a:lnTo>
                    <a:pt x="122" y="163"/>
                  </a:lnTo>
                  <a:lnTo>
                    <a:pt x="118" y="175"/>
                  </a:lnTo>
                  <a:lnTo>
                    <a:pt x="112" y="186"/>
                  </a:lnTo>
                  <a:lnTo>
                    <a:pt x="106" y="196"/>
                  </a:lnTo>
                  <a:lnTo>
                    <a:pt x="99" y="206"/>
                  </a:lnTo>
                  <a:lnTo>
                    <a:pt x="90" y="216"/>
                  </a:lnTo>
                  <a:lnTo>
                    <a:pt x="90" y="216"/>
                  </a:lnTo>
                  <a:lnTo>
                    <a:pt x="81" y="224"/>
                  </a:lnTo>
                  <a:lnTo>
                    <a:pt x="71" y="232"/>
                  </a:lnTo>
                  <a:lnTo>
                    <a:pt x="60" y="238"/>
                  </a:lnTo>
                  <a:lnTo>
                    <a:pt x="49" y="243"/>
                  </a:lnTo>
                  <a:lnTo>
                    <a:pt x="38" y="248"/>
                  </a:lnTo>
                  <a:lnTo>
                    <a:pt x="26" y="250"/>
                  </a:lnTo>
                  <a:lnTo>
                    <a:pt x="14" y="253"/>
                  </a:lnTo>
                  <a:lnTo>
                    <a:pt x="1" y="253"/>
                  </a:lnTo>
                  <a:lnTo>
                    <a:pt x="1" y="253"/>
                  </a:lnTo>
                  <a:lnTo>
                    <a:pt x="0" y="253"/>
                  </a:lnTo>
                  <a:lnTo>
                    <a:pt x="1" y="235"/>
                  </a:lnTo>
                  <a:lnTo>
                    <a:pt x="1" y="235"/>
                  </a:lnTo>
                  <a:lnTo>
                    <a:pt x="1" y="235"/>
                  </a:lnTo>
                  <a:lnTo>
                    <a:pt x="1" y="235"/>
                  </a:lnTo>
                  <a:lnTo>
                    <a:pt x="12" y="235"/>
                  </a:lnTo>
                  <a:lnTo>
                    <a:pt x="22" y="234"/>
                  </a:lnTo>
                  <a:lnTo>
                    <a:pt x="33" y="232"/>
                  </a:lnTo>
                  <a:lnTo>
                    <a:pt x="43" y="228"/>
                  </a:lnTo>
                  <a:lnTo>
                    <a:pt x="53" y="223"/>
                  </a:lnTo>
                  <a:lnTo>
                    <a:pt x="62" y="217"/>
                  </a:lnTo>
                  <a:lnTo>
                    <a:pt x="70" y="211"/>
                  </a:lnTo>
                  <a:lnTo>
                    <a:pt x="79" y="203"/>
                  </a:lnTo>
                  <a:lnTo>
                    <a:pt x="79" y="203"/>
                  </a:lnTo>
                  <a:lnTo>
                    <a:pt x="86" y="196"/>
                  </a:lnTo>
                  <a:lnTo>
                    <a:pt x="92" y="187"/>
                  </a:lnTo>
                  <a:lnTo>
                    <a:pt x="97" y="177"/>
                  </a:lnTo>
                  <a:lnTo>
                    <a:pt x="102" y="168"/>
                  </a:lnTo>
                  <a:lnTo>
                    <a:pt x="106" y="158"/>
                  </a:lnTo>
                  <a:lnTo>
                    <a:pt x="108" y="148"/>
                  </a:lnTo>
                  <a:lnTo>
                    <a:pt x="110" y="137"/>
                  </a:lnTo>
                  <a:lnTo>
                    <a:pt x="111" y="126"/>
                  </a:lnTo>
                  <a:lnTo>
                    <a:pt x="111" y="126"/>
                  </a:lnTo>
                  <a:lnTo>
                    <a:pt x="110" y="115"/>
                  </a:lnTo>
                  <a:lnTo>
                    <a:pt x="108" y="105"/>
                  </a:lnTo>
                  <a:lnTo>
                    <a:pt x="106" y="94"/>
                  </a:lnTo>
                  <a:lnTo>
                    <a:pt x="102" y="84"/>
                  </a:lnTo>
                  <a:lnTo>
                    <a:pt x="97" y="74"/>
                  </a:lnTo>
                  <a:lnTo>
                    <a:pt x="92" y="65"/>
                  </a:lnTo>
                  <a:lnTo>
                    <a:pt x="85" y="57"/>
                  </a:lnTo>
                  <a:lnTo>
                    <a:pt x="79" y="49"/>
                  </a:lnTo>
                  <a:lnTo>
                    <a:pt x="70" y="42"/>
                  </a:lnTo>
                  <a:lnTo>
                    <a:pt x="63" y="36"/>
                  </a:lnTo>
                  <a:lnTo>
                    <a:pt x="53" y="29"/>
                  </a:lnTo>
                  <a:lnTo>
                    <a:pt x="43" y="25"/>
                  </a:lnTo>
                  <a:lnTo>
                    <a:pt x="33" y="21"/>
                  </a:lnTo>
                  <a:lnTo>
                    <a:pt x="23" y="18"/>
                  </a:lnTo>
                  <a:lnTo>
                    <a:pt x="12" y="17"/>
                  </a:lnTo>
                  <a:lnTo>
                    <a:pt x="1" y="16"/>
                  </a:lnTo>
                  <a:lnTo>
                    <a:pt x="1" y="0"/>
                  </a:lnTo>
                  <a:lnTo>
                    <a:pt x="1" y="0"/>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215">
              <a:extLst>
                <a:ext uri="{FF2B5EF4-FFF2-40B4-BE49-F238E27FC236}">
                  <a16:creationId xmlns:a16="http://schemas.microsoft.com/office/drawing/2014/main" id="{D7FD749B-3159-3A3C-4F9C-C59178BB1FBD}"/>
                </a:ext>
              </a:extLst>
            </p:cNvPr>
            <p:cNvSpPr>
              <a:spLocks/>
            </p:cNvSpPr>
            <p:nvPr/>
          </p:nvSpPr>
          <p:spPr bwMode="auto">
            <a:xfrm>
              <a:off x="3471863" y="323850"/>
              <a:ext cx="290513" cy="293688"/>
            </a:xfrm>
            <a:custGeom>
              <a:avLst/>
              <a:gdLst>
                <a:gd name="T0" fmla="*/ 72 w 183"/>
                <a:gd name="T1" fmla="*/ 162 h 185"/>
                <a:gd name="T2" fmla="*/ 74 w 183"/>
                <a:gd name="T3" fmla="*/ 144 h 185"/>
                <a:gd name="T4" fmla="*/ 79 w 183"/>
                <a:gd name="T5" fmla="*/ 128 h 185"/>
                <a:gd name="T6" fmla="*/ 88 w 183"/>
                <a:gd name="T7" fmla="*/ 113 h 185"/>
                <a:gd name="T8" fmla="*/ 98 w 183"/>
                <a:gd name="T9" fmla="*/ 99 h 185"/>
                <a:gd name="T10" fmla="*/ 111 w 183"/>
                <a:gd name="T11" fmla="*/ 88 h 185"/>
                <a:gd name="T12" fmla="*/ 126 w 183"/>
                <a:gd name="T13" fmla="*/ 81 h 185"/>
                <a:gd name="T14" fmla="*/ 143 w 183"/>
                <a:gd name="T15" fmla="*/ 75 h 185"/>
                <a:gd name="T16" fmla="*/ 161 w 183"/>
                <a:gd name="T17" fmla="*/ 74 h 185"/>
                <a:gd name="T18" fmla="*/ 172 w 183"/>
                <a:gd name="T19" fmla="*/ 75 h 185"/>
                <a:gd name="T20" fmla="*/ 183 w 183"/>
                <a:gd name="T21" fmla="*/ 76 h 185"/>
                <a:gd name="T22" fmla="*/ 180 w 183"/>
                <a:gd name="T23" fmla="*/ 59 h 185"/>
                <a:gd name="T24" fmla="*/ 174 w 183"/>
                <a:gd name="T25" fmla="*/ 43 h 185"/>
                <a:gd name="T26" fmla="*/ 166 w 183"/>
                <a:gd name="T27" fmla="*/ 28 h 185"/>
                <a:gd name="T28" fmla="*/ 154 w 183"/>
                <a:gd name="T29" fmla="*/ 14 h 185"/>
                <a:gd name="T30" fmla="*/ 145 w 183"/>
                <a:gd name="T31" fmla="*/ 7 h 185"/>
                <a:gd name="T32" fmla="*/ 135 w 183"/>
                <a:gd name="T33" fmla="*/ 0 h 185"/>
                <a:gd name="T34" fmla="*/ 134 w 183"/>
                <a:gd name="T35" fmla="*/ 4 h 185"/>
                <a:gd name="T36" fmla="*/ 134 w 183"/>
                <a:gd name="T37" fmla="*/ 25 h 185"/>
                <a:gd name="T38" fmla="*/ 113 w 183"/>
                <a:gd name="T39" fmla="*/ 30 h 185"/>
                <a:gd name="T40" fmla="*/ 103 w 183"/>
                <a:gd name="T41" fmla="*/ 14 h 185"/>
                <a:gd name="T42" fmla="*/ 98 w 183"/>
                <a:gd name="T43" fmla="*/ 9 h 185"/>
                <a:gd name="T44" fmla="*/ 90 w 183"/>
                <a:gd name="T45" fmla="*/ 11 h 185"/>
                <a:gd name="T46" fmla="*/ 61 w 183"/>
                <a:gd name="T47" fmla="*/ 28 h 185"/>
                <a:gd name="T48" fmla="*/ 57 w 183"/>
                <a:gd name="T49" fmla="*/ 33 h 185"/>
                <a:gd name="T50" fmla="*/ 58 w 183"/>
                <a:gd name="T51" fmla="*/ 39 h 185"/>
                <a:gd name="T52" fmla="*/ 68 w 183"/>
                <a:gd name="T53" fmla="*/ 58 h 185"/>
                <a:gd name="T54" fmla="*/ 53 w 183"/>
                <a:gd name="T55" fmla="*/ 72 h 185"/>
                <a:gd name="T56" fmla="*/ 36 w 183"/>
                <a:gd name="T57" fmla="*/ 62 h 185"/>
                <a:gd name="T58" fmla="*/ 30 w 183"/>
                <a:gd name="T59" fmla="*/ 62 h 185"/>
                <a:gd name="T60" fmla="*/ 25 w 183"/>
                <a:gd name="T61" fmla="*/ 66 h 185"/>
                <a:gd name="T62" fmla="*/ 8 w 183"/>
                <a:gd name="T63" fmla="*/ 96 h 185"/>
                <a:gd name="T64" fmla="*/ 6 w 183"/>
                <a:gd name="T65" fmla="*/ 102 h 185"/>
                <a:gd name="T66" fmla="*/ 10 w 183"/>
                <a:gd name="T67" fmla="*/ 107 h 185"/>
                <a:gd name="T68" fmla="*/ 29 w 183"/>
                <a:gd name="T69" fmla="*/ 118 h 185"/>
                <a:gd name="T70" fmla="*/ 23 w 183"/>
                <a:gd name="T71" fmla="*/ 139 h 185"/>
                <a:gd name="T72" fmla="*/ 3 w 183"/>
                <a:gd name="T73" fmla="*/ 139 h 185"/>
                <a:gd name="T74" fmla="*/ 0 w 183"/>
                <a:gd name="T75" fmla="*/ 139 h 185"/>
                <a:gd name="T76" fmla="*/ 14 w 183"/>
                <a:gd name="T77" fmla="*/ 156 h 185"/>
                <a:gd name="T78" fmla="*/ 32 w 183"/>
                <a:gd name="T79" fmla="*/ 170 h 185"/>
                <a:gd name="T80" fmla="*/ 52 w 183"/>
                <a:gd name="T81" fmla="*/ 180 h 185"/>
                <a:gd name="T82" fmla="*/ 76 w 183"/>
                <a:gd name="T83" fmla="*/ 185 h 185"/>
                <a:gd name="T84" fmla="*/ 73 w 183"/>
                <a:gd name="T85" fmla="*/ 173 h 185"/>
                <a:gd name="T86" fmla="*/ 72 w 183"/>
                <a:gd name="T87" fmla="*/ 16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3" h="185">
                  <a:moveTo>
                    <a:pt x="72" y="162"/>
                  </a:moveTo>
                  <a:lnTo>
                    <a:pt x="72" y="162"/>
                  </a:lnTo>
                  <a:lnTo>
                    <a:pt x="73" y="154"/>
                  </a:lnTo>
                  <a:lnTo>
                    <a:pt x="74" y="144"/>
                  </a:lnTo>
                  <a:lnTo>
                    <a:pt x="77" y="136"/>
                  </a:lnTo>
                  <a:lnTo>
                    <a:pt x="79" y="128"/>
                  </a:lnTo>
                  <a:lnTo>
                    <a:pt x="83" y="120"/>
                  </a:lnTo>
                  <a:lnTo>
                    <a:pt x="88" y="113"/>
                  </a:lnTo>
                  <a:lnTo>
                    <a:pt x="93" y="106"/>
                  </a:lnTo>
                  <a:lnTo>
                    <a:pt x="98" y="99"/>
                  </a:lnTo>
                  <a:lnTo>
                    <a:pt x="104" y="93"/>
                  </a:lnTo>
                  <a:lnTo>
                    <a:pt x="111" y="88"/>
                  </a:lnTo>
                  <a:lnTo>
                    <a:pt x="119" y="85"/>
                  </a:lnTo>
                  <a:lnTo>
                    <a:pt x="126" y="81"/>
                  </a:lnTo>
                  <a:lnTo>
                    <a:pt x="135" y="77"/>
                  </a:lnTo>
                  <a:lnTo>
                    <a:pt x="143" y="75"/>
                  </a:lnTo>
                  <a:lnTo>
                    <a:pt x="152" y="74"/>
                  </a:lnTo>
                  <a:lnTo>
                    <a:pt x="161" y="74"/>
                  </a:lnTo>
                  <a:lnTo>
                    <a:pt x="161" y="74"/>
                  </a:lnTo>
                  <a:lnTo>
                    <a:pt x="172" y="75"/>
                  </a:lnTo>
                  <a:lnTo>
                    <a:pt x="183" y="76"/>
                  </a:lnTo>
                  <a:lnTo>
                    <a:pt x="183" y="76"/>
                  </a:lnTo>
                  <a:lnTo>
                    <a:pt x="182" y="67"/>
                  </a:lnTo>
                  <a:lnTo>
                    <a:pt x="180" y="59"/>
                  </a:lnTo>
                  <a:lnTo>
                    <a:pt x="178" y="51"/>
                  </a:lnTo>
                  <a:lnTo>
                    <a:pt x="174" y="43"/>
                  </a:lnTo>
                  <a:lnTo>
                    <a:pt x="171" y="35"/>
                  </a:lnTo>
                  <a:lnTo>
                    <a:pt x="166" y="28"/>
                  </a:lnTo>
                  <a:lnTo>
                    <a:pt x="161" y="21"/>
                  </a:lnTo>
                  <a:lnTo>
                    <a:pt x="154" y="14"/>
                  </a:lnTo>
                  <a:lnTo>
                    <a:pt x="154" y="14"/>
                  </a:lnTo>
                  <a:lnTo>
                    <a:pt x="145" y="7"/>
                  </a:lnTo>
                  <a:lnTo>
                    <a:pt x="135" y="0"/>
                  </a:lnTo>
                  <a:lnTo>
                    <a:pt x="135" y="0"/>
                  </a:lnTo>
                  <a:lnTo>
                    <a:pt x="134" y="2"/>
                  </a:lnTo>
                  <a:lnTo>
                    <a:pt x="134" y="4"/>
                  </a:lnTo>
                  <a:lnTo>
                    <a:pt x="134" y="25"/>
                  </a:lnTo>
                  <a:lnTo>
                    <a:pt x="134" y="25"/>
                  </a:lnTo>
                  <a:lnTo>
                    <a:pt x="122" y="28"/>
                  </a:lnTo>
                  <a:lnTo>
                    <a:pt x="113" y="30"/>
                  </a:lnTo>
                  <a:lnTo>
                    <a:pt x="103" y="14"/>
                  </a:lnTo>
                  <a:lnTo>
                    <a:pt x="103" y="14"/>
                  </a:lnTo>
                  <a:lnTo>
                    <a:pt x="100" y="11"/>
                  </a:lnTo>
                  <a:lnTo>
                    <a:pt x="98" y="9"/>
                  </a:lnTo>
                  <a:lnTo>
                    <a:pt x="94" y="9"/>
                  </a:lnTo>
                  <a:lnTo>
                    <a:pt x="90" y="11"/>
                  </a:lnTo>
                  <a:lnTo>
                    <a:pt x="61" y="28"/>
                  </a:lnTo>
                  <a:lnTo>
                    <a:pt x="61" y="28"/>
                  </a:lnTo>
                  <a:lnTo>
                    <a:pt x="58" y="30"/>
                  </a:lnTo>
                  <a:lnTo>
                    <a:pt x="57" y="33"/>
                  </a:lnTo>
                  <a:lnTo>
                    <a:pt x="57" y="37"/>
                  </a:lnTo>
                  <a:lnTo>
                    <a:pt x="58" y="39"/>
                  </a:lnTo>
                  <a:lnTo>
                    <a:pt x="68" y="58"/>
                  </a:lnTo>
                  <a:lnTo>
                    <a:pt x="68" y="58"/>
                  </a:lnTo>
                  <a:lnTo>
                    <a:pt x="61" y="65"/>
                  </a:lnTo>
                  <a:lnTo>
                    <a:pt x="53" y="72"/>
                  </a:lnTo>
                  <a:lnTo>
                    <a:pt x="36" y="62"/>
                  </a:lnTo>
                  <a:lnTo>
                    <a:pt x="36" y="62"/>
                  </a:lnTo>
                  <a:lnTo>
                    <a:pt x="34" y="61"/>
                  </a:lnTo>
                  <a:lnTo>
                    <a:pt x="30" y="62"/>
                  </a:lnTo>
                  <a:lnTo>
                    <a:pt x="26" y="64"/>
                  </a:lnTo>
                  <a:lnTo>
                    <a:pt x="25" y="66"/>
                  </a:lnTo>
                  <a:lnTo>
                    <a:pt x="8" y="96"/>
                  </a:lnTo>
                  <a:lnTo>
                    <a:pt x="8" y="96"/>
                  </a:lnTo>
                  <a:lnTo>
                    <a:pt x="6" y="98"/>
                  </a:lnTo>
                  <a:lnTo>
                    <a:pt x="6" y="102"/>
                  </a:lnTo>
                  <a:lnTo>
                    <a:pt x="8" y="104"/>
                  </a:lnTo>
                  <a:lnTo>
                    <a:pt x="10" y="107"/>
                  </a:lnTo>
                  <a:lnTo>
                    <a:pt x="29" y="118"/>
                  </a:lnTo>
                  <a:lnTo>
                    <a:pt x="29" y="118"/>
                  </a:lnTo>
                  <a:lnTo>
                    <a:pt x="25" y="128"/>
                  </a:lnTo>
                  <a:lnTo>
                    <a:pt x="23" y="139"/>
                  </a:lnTo>
                  <a:lnTo>
                    <a:pt x="3" y="139"/>
                  </a:lnTo>
                  <a:lnTo>
                    <a:pt x="3" y="139"/>
                  </a:lnTo>
                  <a:lnTo>
                    <a:pt x="0" y="139"/>
                  </a:lnTo>
                  <a:lnTo>
                    <a:pt x="0" y="139"/>
                  </a:lnTo>
                  <a:lnTo>
                    <a:pt x="6" y="149"/>
                  </a:lnTo>
                  <a:lnTo>
                    <a:pt x="14" y="156"/>
                  </a:lnTo>
                  <a:lnTo>
                    <a:pt x="23" y="164"/>
                  </a:lnTo>
                  <a:lnTo>
                    <a:pt x="32" y="170"/>
                  </a:lnTo>
                  <a:lnTo>
                    <a:pt x="42" y="176"/>
                  </a:lnTo>
                  <a:lnTo>
                    <a:pt x="52" y="180"/>
                  </a:lnTo>
                  <a:lnTo>
                    <a:pt x="63" y="183"/>
                  </a:lnTo>
                  <a:lnTo>
                    <a:pt x="76" y="185"/>
                  </a:lnTo>
                  <a:lnTo>
                    <a:pt x="76" y="185"/>
                  </a:lnTo>
                  <a:lnTo>
                    <a:pt x="73" y="173"/>
                  </a:lnTo>
                  <a:lnTo>
                    <a:pt x="72" y="162"/>
                  </a:lnTo>
                  <a:lnTo>
                    <a:pt x="72" y="162"/>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216">
              <a:extLst>
                <a:ext uri="{FF2B5EF4-FFF2-40B4-BE49-F238E27FC236}">
                  <a16:creationId xmlns:a16="http://schemas.microsoft.com/office/drawing/2014/main" id="{9F468D80-29C9-F508-2CEA-11D5DAF3AAFE}"/>
                </a:ext>
              </a:extLst>
            </p:cNvPr>
            <p:cNvSpPr>
              <a:spLocks/>
            </p:cNvSpPr>
            <p:nvPr/>
          </p:nvSpPr>
          <p:spPr bwMode="auto">
            <a:xfrm>
              <a:off x="3471863" y="544513"/>
              <a:ext cx="120650" cy="73025"/>
            </a:xfrm>
            <a:custGeom>
              <a:avLst/>
              <a:gdLst>
                <a:gd name="T0" fmla="*/ 23 w 76"/>
                <a:gd name="T1" fmla="*/ 0 h 46"/>
                <a:gd name="T2" fmla="*/ 23 w 76"/>
                <a:gd name="T3" fmla="*/ 0 h 46"/>
                <a:gd name="T4" fmla="*/ 23 w 76"/>
                <a:gd name="T5" fmla="*/ 0 h 46"/>
                <a:gd name="T6" fmla="*/ 3 w 76"/>
                <a:gd name="T7" fmla="*/ 0 h 46"/>
                <a:gd name="T8" fmla="*/ 3 w 76"/>
                <a:gd name="T9" fmla="*/ 0 h 46"/>
                <a:gd name="T10" fmla="*/ 0 w 76"/>
                <a:gd name="T11" fmla="*/ 0 h 46"/>
                <a:gd name="T12" fmla="*/ 0 w 76"/>
                <a:gd name="T13" fmla="*/ 0 h 46"/>
                <a:gd name="T14" fmla="*/ 3 w 76"/>
                <a:gd name="T15" fmla="*/ 4 h 46"/>
                <a:gd name="T16" fmla="*/ 3 w 76"/>
                <a:gd name="T17" fmla="*/ 4 h 46"/>
                <a:gd name="T18" fmla="*/ 4 w 76"/>
                <a:gd name="T19" fmla="*/ 6 h 46"/>
                <a:gd name="T20" fmla="*/ 4 w 76"/>
                <a:gd name="T21" fmla="*/ 6 h 46"/>
                <a:gd name="T22" fmla="*/ 9 w 76"/>
                <a:gd name="T23" fmla="*/ 12 h 46"/>
                <a:gd name="T24" fmla="*/ 9 w 76"/>
                <a:gd name="T25" fmla="*/ 12 h 46"/>
                <a:gd name="T26" fmla="*/ 11 w 76"/>
                <a:gd name="T27" fmla="*/ 15 h 46"/>
                <a:gd name="T28" fmla="*/ 11 w 76"/>
                <a:gd name="T29" fmla="*/ 15 h 46"/>
                <a:gd name="T30" fmla="*/ 15 w 76"/>
                <a:gd name="T31" fmla="*/ 18 h 46"/>
                <a:gd name="T32" fmla="*/ 15 w 76"/>
                <a:gd name="T33" fmla="*/ 18 h 46"/>
                <a:gd name="T34" fmla="*/ 19 w 76"/>
                <a:gd name="T35" fmla="*/ 22 h 46"/>
                <a:gd name="T36" fmla="*/ 19 w 76"/>
                <a:gd name="T37" fmla="*/ 22 h 46"/>
                <a:gd name="T38" fmla="*/ 23 w 76"/>
                <a:gd name="T39" fmla="*/ 25 h 46"/>
                <a:gd name="T40" fmla="*/ 23 w 76"/>
                <a:gd name="T41" fmla="*/ 25 h 46"/>
                <a:gd name="T42" fmla="*/ 25 w 76"/>
                <a:gd name="T43" fmla="*/ 27 h 46"/>
                <a:gd name="T44" fmla="*/ 25 w 76"/>
                <a:gd name="T45" fmla="*/ 27 h 46"/>
                <a:gd name="T46" fmla="*/ 30 w 76"/>
                <a:gd name="T47" fmla="*/ 31 h 46"/>
                <a:gd name="T48" fmla="*/ 30 w 76"/>
                <a:gd name="T49" fmla="*/ 31 h 46"/>
                <a:gd name="T50" fmla="*/ 34 w 76"/>
                <a:gd name="T51" fmla="*/ 32 h 46"/>
                <a:gd name="T52" fmla="*/ 34 w 76"/>
                <a:gd name="T53" fmla="*/ 32 h 46"/>
                <a:gd name="T54" fmla="*/ 40 w 76"/>
                <a:gd name="T55" fmla="*/ 36 h 46"/>
                <a:gd name="T56" fmla="*/ 40 w 76"/>
                <a:gd name="T57" fmla="*/ 36 h 46"/>
                <a:gd name="T58" fmla="*/ 42 w 76"/>
                <a:gd name="T59" fmla="*/ 37 h 46"/>
                <a:gd name="T60" fmla="*/ 42 w 76"/>
                <a:gd name="T61" fmla="*/ 37 h 46"/>
                <a:gd name="T62" fmla="*/ 47 w 76"/>
                <a:gd name="T63" fmla="*/ 39 h 46"/>
                <a:gd name="T64" fmla="*/ 47 w 76"/>
                <a:gd name="T65" fmla="*/ 39 h 46"/>
                <a:gd name="T66" fmla="*/ 51 w 76"/>
                <a:gd name="T67" fmla="*/ 41 h 46"/>
                <a:gd name="T68" fmla="*/ 51 w 76"/>
                <a:gd name="T69" fmla="*/ 41 h 46"/>
                <a:gd name="T70" fmla="*/ 57 w 76"/>
                <a:gd name="T71" fmla="*/ 42 h 46"/>
                <a:gd name="T72" fmla="*/ 57 w 76"/>
                <a:gd name="T73" fmla="*/ 42 h 46"/>
                <a:gd name="T74" fmla="*/ 60 w 76"/>
                <a:gd name="T75" fmla="*/ 43 h 46"/>
                <a:gd name="T76" fmla="*/ 60 w 76"/>
                <a:gd name="T77" fmla="*/ 43 h 46"/>
                <a:gd name="T78" fmla="*/ 67 w 76"/>
                <a:gd name="T79" fmla="*/ 44 h 46"/>
                <a:gd name="T80" fmla="*/ 67 w 76"/>
                <a:gd name="T81" fmla="*/ 44 h 46"/>
                <a:gd name="T82" fmla="*/ 71 w 76"/>
                <a:gd name="T83" fmla="*/ 46 h 46"/>
                <a:gd name="T84" fmla="*/ 71 w 76"/>
                <a:gd name="T85" fmla="*/ 46 h 46"/>
                <a:gd name="T86" fmla="*/ 76 w 76"/>
                <a:gd name="T87" fmla="*/ 46 h 46"/>
                <a:gd name="T88" fmla="*/ 76 w 76"/>
                <a:gd name="T89" fmla="*/ 46 h 46"/>
                <a:gd name="T90" fmla="*/ 73 w 76"/>
                <a:gd name="T91" fmla="*/ 34 h 46"/>
                <a:gd name="T92" fmla="*/ 73 w 76"/>
                <a:gd name="T93" fmla="*/ 34 h 46"/>
                <a:gd name="T94" fmla="*/ 58 w 76"/>
                <a:gd name="T95" fmla="*/ 30 h 46"/>
                <a:gd name="T96" fmla="*/ 45 w 76"/>
                <a:gd name="T97" fmla="*/ 21 h 46"/>
                <a:gd name="T98" fmla="*/ 34 w 76"/>
                <a:gd name="T99" fmla="*/ 11 h 46"/>
                <a:gd name="T100" fmla="*/ 23 w 76"/>
                <a:gd name="T101" fmla="*/ 0 h 46"/>
                <a:gd name="T102" fmla="*/ 23 w 76"/>
                <a:gd name="T10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 h="46">
                  <a:moveTo>
                    <a:pt x="23" y="0"/>
                  </a:moveTo>
                  <a:lnTo>
                    <a:pt x="23" y="0"/>
                  </a:lnTo>
                  <a:lnTo>
                    <a:pt x="23" y="0"/>
                  </a:lnTo>
                  <a:lnTo>
                    <a:pt x="3" y="0"/>
                  </a:lnTo>
                  <a:lnTo>
                    <a:pt x="3" y="0"/>
                  </a:lnTo>
                  <a:lnTo>
                    <a:pt x="0" y="0"/>
                  </a:lnTo>
                  <a:lnTo>
                    <a:pt x="0" y="0"/>
                  </a:lnTo>
                  <a:lnTo>
                    <a:pt x="3" y="4"/>
                  </a:lnTo>
                  <a:lnTo>
                    <a:pt x="3" y="4"/>
                  </a:lnTo>
                  <a:lnTo>
                    <a:pt x="4" y="6"/>
                  </a:lnTo>
                  <a:lnTo>
                    <a:pt x="4" y="6"/>
                  </a:lnTo>
                  <a:lnTo>
                    <a:pt x="9" y="12"/>
                  </a:lnTo>
                  <a:lnTo>
                    <a:pt x="9" y="12"/>
                  </a:lnTo>
                  <a:lnTo>
                    <a:pt x="11" y="15"/>
                  </a:lnTo>
                  <a:lnTo>
                    <a:pt x="11" y="15"/>
                  </a:lnTo>
                  <a:lnTo>
                    <a:pt x="15" y="18"/>
                  </a:lnTo>
                  <a:lnTo>
                    <a:pt x="15" y="18"/>
                  </a:lnTo>
                  <a:lnTo>
                    <a:pt x="19" y="22"/>
                  </a:lnTo>
                  <a:lnTo>
                    <a:pt x="19" y="22"/>
                  </a:lnTo>
                  <a:lnTo>
                    <a:pt x="23" y="25"/>
                  </a:lnTo>
                  <a:lnTo>
                    <a:pt x="23" y="25"/>
                  </a:lnTo>
                  <a:lnTo>
                    <a:pt x="25" y="27"/>
                  </a:lnTo>
                  <a:lnTo>
                    <a:pt x="25" y="27"/>
                  </a:lnTo>
                  <a:lnTo>
                    <a:pt x="30" y="31"/>
                  </a:lnTo>
                  <a:lnTo>
                    <a:pt x="30" y="31"/>
                  </a:lnTo>
                  <a:lnTo>
                    <a:pt x="34" y="32"/>
                  </a:lnTo>
                  <a:lnTo>
                    <a:pt x="34" y="32"/>
                  </a:lnTo>
                  <a:lnTo>
                    <a:pt x="40" y="36"/>
                  </a:lnTo>
                  <a:lnTo>
                    <a:pt x="40" y="36"/>
                  </a:lnTo>
                  <a:lnTo>
                    <a:pt x="42" y="37"/>
                  </a:lnTo>
                  <a:lnTo>
                    <a:pt x="42" y="37"/>
                  </a:lnTo>
                  <a:lnTo>
                    <a:pt x="47" y="39"/>
                  </a:lnTo>
                  <a:lnTo>
                    <a:pt x="47" y="39"/>
                  </a:lnTo>
                  <a:lnTo>
                    <a:pt x="51" y="41"/>
                  </a:lnTo>
                  <a:lnTo>
                    <a:pt x="51" y="41"/>
                  </a:lnTo>
                  <a:lnTo>
                    <a:pt x="57" y="42"/>
                  </a:lnTo>
                  <a:lnTo>
                    <a:pt x="57" y="42"/>
                  </a:lnTo>
                  <a:lnTo>
                    <a:pt x="60" y="43"/>
                  </a:lnTo>
                  <a:lnTo>
                    <a:pt x="60" y="43"/>
                  </a:lnTo>
                  <a:lnTo>
                    <a:pt x="67" y="44"/>
                  </a:lnTo>
                  <a:lnTo>
                    <a:pt x="67" y="44"/>
                  </a:lnTo>
                  <a:lnTo>
                    <a:pt x="71" y="46"/>
                  </a:lnTo>
                  <a:lnTo>
                    <a:pt x="71" y="46"/>
                  </a:lnTo>
                  <a:lnTo>
                    <a:pt x="76" y="46"/>
                  </a:lnTo>
                  <a:lnTo>
                    <a:pt x="76" y="46"/>
                  </a:lnTo>
                  <a:lnTo>
                    <a:pt x="73" y="34"/>
                  </a:lnTo>
                  <a:lnTo>
                    <a:pt x="73" y="34"/>
                  </a:lnTo>
                  <a:lnTo>
                    <a:pt x="58" y="30"/>
                  </a:lnTo>
                  <a:lnTo>
                    <a:pt x="45" y="21"/>
                  </a:lnTo>
                  <a:lnTo>
                    <a:pt x="34" y="11"/>
                  </a:lnTo>
                  <a:lnTo>
                    <a:pt x="23" y="0"/>
                  </a:lnTo>
                  <a:lnTo>
                    <a:pt x="23"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267750848"/>
      </p:ext>
    </p:extLst>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46E2FDE-BF7B-883C-1214-B89AF8AC25EC}"/>
              </a:ext>
            </a:extLst>
          </p:cNvPr>
          <p:cNvSpPr txBox="1">
            <a:spLocks/>
          </p:cNvSpPr>
          <p:nvPr/>
        </p:nvSpPr>
        <p:spPr>
          <a:xfrm>
            <a:off x="228600" y="176586"/>
            <a:ext cx="11124959" cy="6596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200" b="1" i="0" u="none" strike="noStrike" kern="1200" cap="none" spc="0" normalizeH="0" baseline="0" noProof="0" dirty="0">
                <a:ln>
                  <a:noFill/>
                </a:ln>
                <a:solidFill>
                  <a:prstClr val="black"/>
                </a:solidFill>
                <a:effectLst/>
                <a:uLnTx/>
                <a:uFillTx/>
                <a:latin typeface="Open Sans"/>
                <a:ea typeface="Open Sans"/>
                <a:cs typeface="Open Sans"/>
              </a:rPr>
              <a:t>Principali richieste di chiarimento delle Scuole (8/9)</a:t>
            </a:r>
            <a:endParaRPr kumimoji="0" lang="it-IT" sz="2000" b="1" i="1"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19" name="Rectangle 27">
            <a:extLst>
              <a:ext uri="{FF2B5EF4-FFF2-40B4-BE49-F238E27FC236}">
                <a16:creationId xmlns:a16="http://schemas.microsoft.com/office/drawing/2014/main" id="{1FF3A17F-10BE-AECB-62DC-63B9B9701F13}"/>
              </a:ext>
            </a:extLst>
          </p:cNvPr>
          <p:cNvSpPr/>
          <p:nvPr/>
        </p:nvSpPr>
        <p:spPr>
          <a:xfrm>
            <a:off x="1234668" y="3079876"/>
            <a:ext cx="9722664" cy="2916986"/>
          </a:xfrm>
          <a:prstGeom prst="rect">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lIns="216000" tIns="108000" rIns="216000" bIns="108000" rtlCol="0" anchor="ctr"/>
          <a:lstStyle/>
          <a:p>
            <a:pPr marL="0" marR="0" lvl="0" indent="0" algn="just" defTabSz="914400" rtl="0" eaLnBrk="1" fontAlgn="auto" latinLnBrk="0" hangingPunct="1">
              <a:lnSpc>
                <a:spcPct val="120000"/>
              </a:lnSpc>
              <a:spcBef>
                <a:spcPts val="300"/>
              </a:spcBef>
              <a:spcAft>
                <a:spcPts val="30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me previsto dalla nota prot. n. 2739 del 27 giugno 2023, </a:t>
            </a:r>
            <a:r>
              <a:rPr kumimoji="0" lang="it-IT" sz="1400"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l percorso </a:t>
            </a:r>
            <a:r>
              <a:rPr kumimoji="0" lang="it-IT" sz="1400" b="1" i="0" u="none" strike="noStrike" kern="1200" cap="none" spc="0" normalizeH="0" baseline="0" noProof="0" dirty="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OrientaMenti</a:t>
            </a:r>
            <a:r>
              <a:rPr kumimoji="0" lang="it-IT"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progettato per la formazione dei docenti tutor e dei docenti orientatori, </a:t>
            </a:r>
            <a:r>
              <a:rPr kumimoji="0" lang="it-IT" sz="1400"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è il medesimo per entrambe le figure</a:t>
            </a:r>
            <a:r>
              <a:rPr kumimoji="0" lang="it-IT"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Infatti, ciascun docente, completate le attività obbligatorie e la verifica di fine percorso, riceve un attestato di frequenza che lo qualifica a ricoprire entrambi i ruoli.</a:t>
            </a:r>
          </a:p>
          <a:p>
            <a:pPr marL="0" marR="0" lvl="0" indent="0" algn="just" defTabSz="914400" rtl="0" eaLnBrk="1" fontAlgn="auto" latinLnBrk="0" hangingPunct="1">
              <a:lnSpc>
                <a:spcPct val="120000"/>
              </a:lnSpc>
              <a:spcBef>
                <a:spcPts val="300"/>
              </a:spcBef>
              <a:spcAft>
                <a:spcPts val="300"/>
              </a:spcAft>
              <a:buClrTx/>
              <a:buSzTx/>
              <a:buFontTx/>
              <a:buNone/>
              <a:tabLst/>
              <a:defRPr/>
            </a:pPr>
            <a:r>
              <a:rPr kumimoji="0" lang="it-IT"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ertanto, </a:t>
            </a:r>
            <a:r>
              <a:rPr kumimoji="0" lang="it-IT" sz="1400"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n docente inizialmente avviato alla formazione per la posizione di tutor potrà essere nominato docente orientatore </a:t>
            </a:r>
            <a:r>
              <a:rPr kumimoji="0" lang="it-IT"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 viceversa, purché ciò avvenga nel rispetto delle esigenze dell’istituzione scolastica e dei limiti e delle procedure fissati dalla normativa.</a:t>
            </a:r>
          </a:p>
        </p:txBody>
      </p:sp>
      <p:pic>
        <p:nvPicPr>
          <p:cNvPr id="3" name="Picture 26">
            <a:extLst>
              <a:ext uri="{FF2B5EF4-FFF2-40B4-BE49-F238E27FC236}">
                <a16:creationId xmlns:a16="http://schemas.microsoft.com/office/drawing/2014/main" id="{893B8904-6067-8D29-EA9B-902352014014}"/>
              </a:ext>
            </a:extLst>
          </p:cNvPr>
          <p:cNvPicPr>
            <a:picLocks noChangeAspect="1"/>
          </p:cNvPicPr>
          <p:nvPr/>
        </p:nvPicPr>
        <p:blipFill>
          <a:blip r:embed="rId2" cstate="print">
            <a:extLst>
              <a:ext uri="{28A0092B-C50C-407E-A947-70E740481C1C}">
                <a14:useLocalDpi xmlns:a14="http://schemas.microsoft.com/office/drawing/2010/main" val="0"/>
              </a:ext>
            </a:extLst>
          </a:blip>
          <a:stretch>
            <a:fillRect/>
          </a:stretch>
        </p:blipFill>
        <p:spPr>
          <a:xfrm>
            <a:off x="10679840" y="5497200"/>
            <a:ext cx="683186" cy="684000"/>
          </a:xfrm>
          <a:prstGeom prst="rect">
            <a:avLst/>
          </a:prstGeom>
        </p:spPr>
      </p:pic>
      <p:sp>
        <p:nvSpPr>
          <p:cNvPr id="43" name="Triangolo isoscele 42">
            <a:extLst>
              <a:ext uri="{FF2B5EF4-FFF2-40B4-BE49-F238E27FC236}">
                <a16:creationId xmlns:a16="http://schemas.microsoft.com/office/drawing/2014/main" id="{65E5D22A-0988-19BA-4B1A-84D20D8AC718}"/>
              </a:ext>
            </a:extLst>
          </p:cNvPr>
          <p:cNvSpPr/>
          <p:nvPr/>
        </p:nvSpPr>
        <p:spPr>
          <a:xfrm rot="10800000">
            <a:off x="5167735" y="2410723"/>
            <a:ext cx="1856531" cy="517721"/>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27">
            <a:extLst>
              <a:ext uri="{FF2B5EF4-FFF2-40B4-BE49-F238E27FC236}">
                <a16:creationId xmlns:a16="http://schemas.microsoft.com/office/drawing/2014/main" id="{23ECE3AC-724D-0E34-BFA3-E62F3394F2E2}"/>
              </a:ext>
            </a:extLst>
          </p:cNvPr>
          <p:cNvSpPr/>
          <p:nvPr/>
        </p:nvSpPr>
        <p:spPr>
          <a:xfrm>
            <a:off x="1234200" y="1360800"/>
            <a:ext cx="9723600" cy="896727"/>
          </a:xfrm>
          <a:prstGeom prst="rect">
            <a:avLst/>
          </a:prstGeom>
          <a:solidFill>
            <a:schemeClr val="bg1"/>
          </a:solidFill>
          <a:ln w="19050">
            <a:solidFill>
              <a:srgbClr val="A6DAE9"/>
            </a:solidFill>
          </a:ln>
        </p:spPr>
        <p:style>
          <a:lnRef idx="2">
            <a:schemeClr val="accent1">
              <a:shade val="50000"/>
            </a:schemeClr>
          </a:lnRef>
          <a:fillRef idx="1">
            <a:schemeClr val="accent1"/>
          </a:fillRef>
          <a:effectRef idx="0">
            <a:schemeClr val="accent1"/>
          </a:effectRef>
          <a:fontRef idx="minor">
            <a:schemeClr val="lt1"/>
          </a:fontRef>
        </p:style>
        <p:txBody>
          <a:bodyPr lIns="216000" tIns="108000" rIns="216000" bIns="108000" rtlCol="0" anchor="ctr"/>
          <a:lstStyle/>
          <a:p>
            <a:pPr marL="0" marR="0" lvl="0" indent="0" algn="ctr" defTabSz="914400" rtl="0" eaLnBrk="1" fontAlgn="auto" latinLnBrk="0" hangingPunct="1">
              <a:lnSpc>
                <a:spcPct val="120000"/>
              </a:lnSpc>
              <a:spcBef>
                <a:spcPts val="300"/>
              </a:spcBef>
              <a:spcAft>
                <a:spcPts val="300"/>
              </a:spcAft>
              <a:buClrTx/>
              <a:buSzTx/>
              <a:buFontTx/>
              <a:buNone/>
              <a:tabLst/>
              <a:defRPr/>
            </a:pPr>
            <a:r>
              <a:rPr kumimoji="0" lang="it-IT" sz="1600" b="1" i="1"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uò un docente inizialmente </a:t>
            </a:r>
            <a:r>
              <a:rPr kumimoji="0" lang="it-IT" sz="1600"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vviato alla formazione</a:t>
            </a:r>
            <a:r>
              <a:rPr kumimoji="0" lang="it-IT" sz="1600" b="1" i="1"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come tutor svolgere il ruolo di orientatore?</a:t>
            </a:r>
          </a:p>
        </p:txBody>
      </p:sp>
      <p:sp>
        <p:nvSpPr>
          <p:cNvPr id="4" name="Segnaposto numero diapositiva 3">
            <a:extLst>
              <a:ext uri="{FF2B5EF4-FFF2-40B4-BE49-F238E27FC236}">
                <a16:creationId xmlns:a16="http://schemas.microsoft.com/office/drawing/2014/main" id="{9FA13D59-6F1D-62BD-02F8-41ADBEF5B847}"/>
              </a:ext>
            </a:extLst>
          </p:cNvPr>
          <p:cNvSpPr>
            <a:spLocks noGrp="1"/>
          </p:cNvSpPr>
          <p:nvPr>
            <p:ph type="sldNum" sz="quarter" idx="12"/>
          </p:nvPr>
        </p:nvSpPr>
        <p:spPr/>
        <p:txBody>
          <a:bodyPr/>
          <a:lstStyle/>
          <a:p>
            <a:fld id="{00F0C1FD-41C3-4D85-8E51-9C56B45C685D}" type="slidenum">
              <a:rPr lang="it-IT" smtClean="0"/>
              <a:t>16</a:t>
            </a:fld>
            <a:endParaRPr lang="it-IT"/>
          </a:p>
        </p:txBody>
      </p:sp>
      <p:grpSp>
        <p:nvGrpSpPr>
          <p:cNvPr id="5" name="Group 406">
            <a:extLst>
              <a:ext uri="{FF2B5EF4-FFF2-40B4-BE49-F238E27FC236}">
                <a16:creationId xmlns:a16="http://schemas.microsoft.com/office/drawing/2014/main" id="{5D569609-D8EC-93A3-681C-B50A53475727}"/>
              </a:ext>
            </a:extLst>
          </p:cNvPr>
          <p:cNvGrpSpPr/>
          <p:nvPr/>
        </p:nvGrpSpPr>
        <p:grpSpPr>
          <a:xfrm>
            <a:off x="910387" y="1467163"/>
            <a:ext cx="684000" cy="684000"/>
            <a:chOff x="3144838" y="0"/>
            <a:chExt cx="1112838" cy="1114425"/>
          </a:xfrm>
        </p:grpSpPr>
        <p:sp>
          <p:nvSpPr>
            <p:cNvPr id="6" name="Freeform 7">
              <a:extLst>
                <a:ext uri="{FF2B5EF4-FFF2-40B4-BE49-F238E27FC236}">
                  <a16:creationId xmlns:a16="http://schemas.microsoft.com/office/drawing/2014/main" id="{257F826E-B3CA-7AA8-BD73-862E0C652D79}"/>
                </a:ext>
              </a:extLst>
            </p:cNvPr>
            <p:cNvSpPr>
              <a:spLocks/>
            </p:cNvSpPr>
            <p:nvPr/>
          </p:nvSpPr>
          <p:spPr bwMode="auto">
            <a:xfrm>
              <a:off x="3144838" y="0"/>
              <a:ext cx="1112838" cy="1114425"/>
            </a:xfrm>
            <a:custGeom>
              <a:avLst/>
              <a:gdLst>
                <a:gd name="T0" fmla="*/ 332 w 701"/>
                <a:gd name="T1" fmla="*/ 701 h 702"/>
                <a:gd name="T2" fmla="*/ 280 w 701"/>
                <a:gd name="T3" fmla="*/ 695 h 702"/>
                <a:gd name="T4" fmla="*/ 230 w 701"/>
                <a:gd name="T5" fmla="*/ 680 h 702"/>
                <a:gd name="T6" fmla="*/ 183 w 701"/>
                <a:gd name="T7" fmla="*/ 659 h 702"/>
                <a:gd name="T8" fmla="*/ 141 w 701"/>
                <a:gd name="T9" fmla="*/ 632 h 702"/>
                <a:gd name="T10" fmla="*/ 103 w 701"/>
                <a:gd name="T11" fmla="*/ 598 h 702"/>
                <a:gd name="T12" fmla="*/ 69 w 701"/>
                <a:gd name="T13" fmla="*/ 561 h 702"/>
                <a:gd name="T14" fmla="*/ 42 w 701"/>
                <a:gd name="T15" fmla="*/ 518 h 702"/>
                <a:gd name="T16" fmla="*/ 21 w 701"/>
                <a:gd name="T17" fmla="*/ 471 h 702"/>
                <a:gd name="T18" fmla="*/ 7 w 701"/>
                <a:gd name="T19" fmla="*/ 422 h 702"/>
                <a:gd name="T20" fmla="*/ 0 w 701"/>
                <a:gd name="T21" fmla="*/ 369 h 702"/>
                <a:gd name="T22" fmla="*/ 0 w 701"/>
                <a:gd name="T23" fmla="*/ 333 h 702"/>
                <a:gd name="T24" fmla="*/ 7 w 701"/>
                <a:gd name="T25" fmla="*/ 280 h 702"/>
                <a:gd name="T26" fmla="*/ 21 w 701"/>
                <a:gd name="T27" fmla="*/ 231 h 702"/>
                <a:gd name="T28" fmla="*/ 42 w 701"/>
                <a:gd name="T29" fmla="*/ 184 h 702"/>
                <a:gd name="T30" fmla="*/ 69 w 701"/>
                <a:gd name="T31" fmla="*/ 142 h 702"/>
                <a:gd name="T32" fmla="*/ 103 w 701"/>
                <a:gd name="T33" fmla="*/ 104 h 702"/>
                <a:gd name="T34" fmla="*/ 141 w 701"/>
                <a:gd name="T35" fmla="*/ 70 h 702"/>
                <a:gd name="T36" fmla="*/ 183 w 701"/>
                <a:gd name="T37" fmla="*/ 43 h 702"/>
                <a:gd name="T38" fmla="*/ 230 w 701"/>
                <a:gd name="T39" fmla="*/ 22 h 702"/>
                <a:gd name="T40" fmla="*/ 280 w 701"/>
                <a:gd name="T41" fmla="*/ 7 h 702"/>
                <a:gd name="T42" fmla="*/ 332 w 701"/>
                <a:gd name="T43" fmla="*/ 1 h 702"/>
                <a:gd name="T44" fmla="*/ 368 w 701"/>
                <a:gd name="T45" fmla="*/ 1 h 702"/>
                <a:gd name="T46" fmla="*/ 421 w 701"/>
                <a:gd name="T47" fmla="*/ 7 h 702"/>
                <a:gd name="T48" fmla="*/ 470 w 701"/>
                <a:gd name="T49" fmla="*/ 22 h 702"/>
                <a:gd name="T50" fmla="*/ 517 w 701"/>
                <a:gd name="T51" fmla="*/ 43 h 702"/>
                <a:gd name="T52" fmla="*/ 560 w 701"/>
                <a:gd name="T53" fmla="*/ 70 h 702"/>
                <a:gd name="T54" fmla="*/ 599 w 701"/>
                <a:gd name="T55" fmla="*/ 104 h 702"/>
                <a:gd name="T56" fmla="*/ 631 w 701"/>
                <a:gd name="T57" fmla="*/ 142 h 702"/>
                <a:gd name="T58" fmla="*/ 659 w 701"/>
                <a:gd name="T59" fmla="*/ 184 h 702"/>
                <a:gd name="T60" fmla="*/ 680 w 701"/>
                <a:gd name="T61" fmla="*/ 231 h 702"/>
                <a:gd name="T62" fmla="*/ 693 w 701"/>
                <a:gd name="T63" fmla="*/ 280 h 702"/>
                <a:gd name="T64" fmla="*/ 701 w 701"/>
                <a:gd name="T65" fmla="*/ 333 h 702"/>
                <a:gd name="T66" fmla="*/ 701 w 701"/>
                <a:gd name="T67" fmla="*/ 369 h 702"/>
                <a:gd name="T68" fmla="*/ 693 w 701"/>
                <a:gd name="T69" fmla="*/ 422 h 702"/>
                <a:gd name="T70" fmla="*/ 680 w 701"/>
                <a:gd name="T71" fmla="*/ 471 h 702"/>
                <a:gd name="T72" fmla="*/ 659 w 701"/>
                <a:gd name="T73" fmla="*/ 518 h 702"/>
                <a:gd name="T74" fmla="*/ 631 w 701"/>
                <a:gd name="T75" fmla="*/ 561 h 702"/>
                <a:gd name="T76" fmla="*/ 599 w 701"/>
                <a:gd name="T77" fmla="*/ 598 h 702"/>
                <a:gd name="T78" fmla="*/ 560 w 701"/>
                <a:gd name="T79" fmla="*/ 632 h 702"/>
                <a:gd name="T80" fmla="*/ 517 w 701"/>
                <a:gd name="T81" fmla="*/ 659 h 702"/>
                <a:gd name="T82" fmla="*/ 470 w 701"/>
                <a:gd name="T83" fmla="*/ 680 h 702"/>
                <a:gd name="T84" fmla="*/ 421 w 701"/>
                <a:gd name="T85" fmla="*/ 695 h 702"/>
                <a:gd name="T86" fmla="*/ 368 w 701"/>
                <a:gd name="T8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1" y="702"/>
                  </a:moveTo>
                  <a:lnTo>
                    <a:pt x="351" y="702"/>
                  </a:lnTo>
                  <a:lnTo>
                    <a:pt x="332" y="701"/>
                  </a:lnTo>
                  <a:lnTo>
                    <a:pt x="315" y="699"/>
                  </a:lnTo>
                  <a:lnTo>
                    <a:pt x="298" y="697"/>
                  </a:lnTo>
                  <a:lnTo>
                    <a:pt x="280" y="695"/>
                  </a:lnTo>
                  <a:lnTo>
                    <a:pt x="263" y="691"/>
                  </a:lnTo>
                  <a:lnTo>
                    <a:pt x="246" y="686"/>
                  </a:lnTo>
                  <a:lnTo>
                    <a:pt x="230" y="680"/>
                  </a:lnTo>
                  <a:lnTo>
                    <a:pt x="214" y="674"/>
                  </a:lnTo>
                  <a:lnTo>
                    <a:pt x="199" y="667"/>
                  </a:lnTo>
                  <a:lnTo>
                    <a:pt x="183" y="659"/>
                  </a:lnTo>
                  <a:lnTo>
                    <a:pt x="168" y="651"/>
                  </a:lnTo>
                  <a:lnTo>
                    <a:pt x="155" y="641"/>
                  </a:lnTo>
                  <a:lnTo>
                    <a:pt x="141" y="632"/>
                  </a:lnTo>
                  <a:lnTo>
                    <a:pt x="127" y="622"/>
                  </a:lnTo>
                  <a:lnTo>
                    <a:pt x="115" y="611"/>
                  </a:lnTo>
                  <a:lnTo>
                    <a:pt x="103" y="598"/>
                  </a:lnTo>
                  <a:lnTo>
                    <a:pt x="90" y="587"/>
                  </a:lnTo>
                  <a:lnTo>
                    <a:pt x="81" y="574"/>
                  </a:lnTo>
                  <a:lnTo>
                    <a:pt x="69" y="561"/>
                  </a:lnTo>
                  <a:lnTo>
                    <a:pt x="60" y="546"/>
                  </a:lnTo>
                  <a:lnTo>
                    <a:pt x="51" y="533"/>
                  </a:lnTo>
                  <a:lnTo>
                    <a:pt x="42" y="518"/>
                  </a:lnTo>
                  <a:lnTo>
                    <a:pt x="35" y="503"/>
                  </a:lnTo>
                  <a:lnTo>
                    <a:pt x="27" y="487"/>
                  </a:lnTo>
                  <a:lnTo>
                    <a:pt x="21" y="471"/>
                  </a:lnTo>
                  <a:lnTo>
                    <a:pt x="15" y="455"/>
                  </a:lnTo>
                  <a:lnTo>
                    <a:pt x="11" y="439"/>
                  </a:lnTo>
                  <a:lnTo>
                    <a:pt x="7" y="422"/>
                  </a:lnTo>
                  <a:lnTo>
                    <a:pt x="4" y="405"/>
                  </a:lnTo>
                  <a:lnTo>
                    <a:pt x="2" y="387"/>
                  </a:lnTo>
                  <a:lnTo>
                    <a:pt x="0" y="369"/>
                  </a:lnTo>
                  <a:lnTo>
                    <a:pt x="0" y="352"/>
                  </a:lnTo>
                  <a:lnTo>
                    <a:pt x="0" y="352"/>
                  </a:lnTo>
                  <a:lnTo>
                    <a:pt x="0" y="333"/>
                  </a:lnTo>
                  <a:lnTo>
                    <a:pt x="2" y="316"/>
                  </a:lnTo>
                  <a:lnTo>
                    <a:pt x="4" y="297"/>
                  </a:lnTo>
                  <a:lnTo>
                    <a:pt x="7" y="280"/>
                  </a:lnTo>
                  <a:lnTo>
                    <a:pt x="11" y="264"/>
                  </a:lnTo>
                  <a:lnTo>
                    <a:pt x="15" y="247"/>
                  </a:lnTo>
                  <a:lnTo>
                    <a:pt x="21" y="231"/>
                  </a:lnTo>
                  <a:lnTo>
                    <a:pt x="27" y="215"/>
                  </a:lnTo>
                  <a:lnTo>
                    <a:pt x="35" y="199"/>
                  </a:lnTo>
                  <a:lnTo>
                    <a:pt x="42" y="184"/>
                  </a:lnTo>
                  <a:lnTo>
                    <a:pt x="51" y="169"/>
                  </a:lnTo>
                  <a:lnTo>
                    <a:pt x="60" y="155"/>
                  </a:lnTo>
                  <a:lnTo>
                    <a:pt x="69" y="142"/>
                  </a:lnTo>
                  <a:lnTo>
                    <a:pt x="81" y="128"/>
                  </a:lnTo>
                  <a:lnTo>
                    <a:pt x="90" y="116"/>
                  </a:lnTo>
                  <a:lnTo>
                    <a:pt x="103" y="104"/>
                  </a:lnTo>
                  <a:lnTo>
                    <a:pt x="115" y="91"/>
                  </a:lnTo>
                  <a:lnTo>
                    <a:pt x="127" y="80"/>
                  </a:lnTo>
                  <a:lnTo>
                    <a:pt x="141" y="70"/>
                  </a:lnTo>
                  <a:lnTo>
                    <a:pt x="155" y="60"/>
                  </a:lnTo>
                  <a:lnTo>
                    <a:pt x="168" y="52"/>
                  </a:lnTo>
                  <a:lnTo>
                    <a:pt x="183" y="43"/>
                  </a:lnTo>
                  <a:lnTo>
                    <a:pt x="199" y="35"/>
                  </a:lnTo>
                  <a:lnTo>
                    <a:pt x="214" y="28"/>
                  </a:lnTo>
                  <a:lnTo>
                    <a:pt x="230" y="22"/>
                  </a:lnTo>
                  <a:lnTo>
                    <a:pt x="246" y="16"/>
                  </a:lnTo>
                  <a:lnTo>
                    <a:pt x="263" y="11"/>
                  </a:lnTo>
                  <a:lnTo>
                    <a:pt x="280" y="7"/>
                  </a:lnTo>
                  <a:lnTo>
                    <a:pt x="298" y="5"/>
                  </a:lnTo>
                  <a:lnTo>
                    <a:pt x="315" y="2"/>
                  </a:lnTo>
                  <a:lnTo>
                    <a:pt x="332" y="1"/>
                  </a:lnTo>
                  <a:lnTo>
                    <a:pt x="351" y="0"/>
                  </a:lnTo>
                  <a:lnTo>
                    <a:pt x="351" y="0"/>
                  </a:lnTo>
                  <a:lnTo>
                    <a:pt x="368" y="1"/>
                  </a:lnTo>
                  <a:lnTo>
                    <a:pt x="386" y="2"/>
                  </a:lnTo>
                  <a:lnTo>
                    <a:pt x="404" y="5"/>
                  </a:lnTo>
                  <a:lnTo>
                    <a:pt x="421" y="7"/>
                  </a:lnTo>
                  <a:lnTo>
                    <a:pt x="438" y="11"/>
                  </a:lnTo>
                  <a:lnTo>
                    <a:pt x="454" y="16"/>
                  </a:lnTo>
                  <a:lnTo>
                    <a:pt x="470" y="22"/>
                  </a:lnTo>
                  <a:lnTo>
                    <a:pt x="486" y="28"/>
                  </a:lnTo>
                  <a:lnTo>
                    <a:pt x="502" y="35"/>
                  </a:lnTo>
                  <a:lnTo>
                    <a:pt x="517" y="43"/>
                  </a:lnTo>
                  <a:lnTo>
                    <a:pt x="532" y="52"/>
                  </a:lnTo>
                  <a:lnTo>
                    <a:pt x="547" y="60"/>
                  </a:lnTo>
                  <a:lnTo>
                    <a:pt x="560" y="70"/>
                  </a:lnTo>
                  <a:lnTo>
                    <a:pt x="574" y="80"/>
                  </a:lnTo>
                  <a:lnTo>
                    <a:pt x="586" y="91"/>
                  </a:lnTo>
                  <a:lnTo>
                    <a:pt x="599" y="104"/>
                  </a:lnTo>
                  <a:lnTo>
                    <a:pt x="610" y="116"/>
                  </a:lnTo>
                  <a:lnTo>
                    <a:pt x="621" y="128"/>
                  </a:lnTo>
                  <a:lnTo>
                    <a:pt x="631" y="142"/>
                  </a:lnTo>
                  <a:lnTo>
                    <a:pt x="640" y="155"/>
                  </a:lnTo>
                  <a:lnTo>
                    <a:pt x="650" y="169"/>
                  </a:lnTo>
                  <a:lnTo>
                    <a:pt x="659" y="184"/>
                  </a:lnTo>
                  <a:lnTo>
                    <a:pt x="666" y="199"/>
                  </a:lnTo>
                  <a:lnTo>
                    <a:pt x="674" y="215"/>
                  </a:lnTo>
                  <a:lnTo>
                    <a:pt x="680" y="231"/>
                  </a:lnTo>
                  <a:lnTo>
                    <a:pt x="685" y="247"/>
                  </a:lnTo>
                  <a:lnTo>
                    <a:pt x="690" y="264"/>
                  </a:lnTo>
                  <a:lnTo>
                    <a:pt x="693" y="280"/>
                  </a:lnTo>
                  <a:lnTo>
                    <a:pt x="697" y="297"/>
                  </a:lnTo>
                  <a:lnTo>
                    <a:pt x="698" y="316"/>
                  </a:lnTo>
                  <a:lnTo>
                    <a:pt x="701" y="333"/>
                  </a:lnTo>
                  <a:lnTo>
                    <a:pt x="701" y="352"/>
                  </a:lnTo>
                  <a:lnTo>
                    <a:pt x="701" y="352"/>
                  </a:lnTo>
                  <a:lnTo>
                    <a:pt x="701" y="369"/>
                  </a:lnTo>
                  <a:lnTo>
                    <a:pt x="698" y="387"/>
                  </a:lnTo>
                  <a:lnTo>
                    <a:pt x="697" y="405"/>
                  </a:lnTo>
                  <a:lnTo>
                    <a:pt x="693" y="422"/>
                  </a:lnTo>
                  <a:lnTo>
                    <a:pt x="690" y="439"/>
                  </a:lnTo>
                  <a:lnTo>
                    <a:pt x="685" y="455"/>
                  </a:lnTo>
                  <a:lnTo>
                    <a:pt x="680" y="471"/>
                  </a:lnTo>
                  <a:lnTo>
                    <a:pt x="674" y="487"/>
                  </a:lnTo>
                  <a:lnTo>
                    <a:pt x="666" y="503"/>
                  </a:lnTo>
                  <a:lnTo>
                    <a:pt x="659" y="518"/>
                  </a:lnTo>
                  <a:lnTo>
                    <a:pt x="650" y="533"/>
                  </a:lnTo>
                  <a:lnTo>
                    <a:pt x="640" y="546"/>
                  </a:lnTo>
                  <a:lnTo>
                    <a:pt x="631" y="561"/>
                  </a:lnTo>
                  <a:lnTo>
                    <a:pt x="621" y="574"/>
                  </a:lnTo>
                  <a:lnTo>
                    <a:pt x="610" y="587"/>
                  </a:lnTo>
                  <a:lnTo>
                    <a:pt x="599" y="598"/>
                  </a:lnTo>
                  <a:lnTo>
                    <a:pt x="586" y="611"/>
                  </a:lnTo>
                  <a:lnTo>
                    <a:pt x="574" y="622"/>
                  </a:lnTo>
                  <a:lnTo>
                    <a:pt x="560" y="632"/>
                  </a:lnTo>
                  <a:lnTo>
                    <a:pt x="547" y="641"/>
                  </a:lnTo>
                  <a:lnTo>
                    <a:pt x="532" y="651"/>
                  </a:lnTo>
                  <a:lnTo>
                    <a:pt x="517" y="659"/>
                  </a:lnTo>
                  <a:lnTo>
                    <a:pt x="502" y="667"/>
                  </a:lnTo>
                  <a:lnTo>
                    <a:pt x="486" y="674"/>
                  </a:lnTo>
                  <a:lnTo>
                    <a:pt x="470" y="680"/>
                  </a:lnTo>
                  <a:lnTo>
                    <a:pt x="454" y="686"/>
                  </a:lnTo>
                  <a:lnTo>
                    <a:pt x="438" y="691"/>
                  </a:lnTo>
                  <a:lnTo>
                    <a:pt x="421" y="695"/>
                  </a:lnTo>
                  <a:lnTo>
                    <a:pt x="404" y="697"/>
                  </a:lnTo>
                  <a:lnTo>
                    <a:pt x="386" y="699"/>
                  </a:lnTo>
                  <a:lnTo>
                    <a:pt x="368" y="701"/>
                  </a:lnTo>
                  <a:lnTo>
                    <a:pt x="351" y="702"/>
                  </a:lnTo>
                  <a:lnTo>
                    <a:pt x="351" y="702"/>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202">
              <a:extLst>
                <a:ext uri="{FF2B5EF4-FFF2-40B4-BE49-F238E27FC236}">
                  <a16:creationId xmlns:a16="http://schemas.microsoft.com/office/drawing/2014/main" id="{907FD663-0A4B-DC9F-6B82-6F01991DEA50}"/>
                </a:ext>
              </a:extLst>
            </p:cNvPr>
            <p:cNvSpPr>
              <a:spLocks/>
            </p:cNvSpPr>
            <p:nvPr/>
          </p:nvSpPr>
          <p:spPr bwMode="auto">
            <a:xfrm>
              <a:off x="3392488" y="244475"/>
              <a:ext cx="841375" cy="844550"/>
            </a:xfrm>
            <a:custGeom>
              <a:avLst/>
              <a:gdLst>
                <a:gd name="T0" fmla="*/ 343 w 530"/>
                <a:gd name="T1" fmla="*/ 110 h 532"/>
                <a:gd name="T2" fmla="*/ 340 w 530"/>
                <a:gd name="T3" fmla="*/ 109 h 532"/>
                <a:gd name="T4" fmla="*/ 311 w 530"/>
                <a:gd name="T5" fmla="*/ 79 h 532"/>
                <a:gd name="T6" fmla="*/ 277 w 530"/>
                <a:gd name="T7" fmla="*/ 58 h 532"/>
                <a:gd name="T8" fmla="*/ 275 w 530"/>
                <a:gd name="T9" fmla="*/ 58 h 532"/>
                <a:gd name="T10" fmla="*/ 269 w 530"/>
                <a:gd name="T11" fmla="*/ 59 h 532"/>
                <a:gd name="T12" fmla="*/ 260 w 530"/>
                <a:gd name="T13" fmla="*/ 72 h 532"/>
                <a:gd name="T14" fmla="*/ 234 w 530"/>
                <a:gd name="T15" fmla="*/ 46 h 532"/>
                <a:gd name="T16" fmla="*/ 229 w 530"/>
                <a:gd name="T17" fmla="*/ 40 h 532"/>
                <a:gd name="T18" fmla="*/ 208 w 530"/>
                <a:gd name="T19" fmla="*/ 24 h 532"/>
                <a:gd name="T20" fmla="*/ 185 w 530"/>
                <a:gd name="T21" fmla="*/ 11 h 532"/>
                <a:gd name="T22" fmla="*/ 160 w 530"/>
                <a:gd name="T23" fmla="*/ 4 h 532"/>
                <a:gd name="T24" fmla="*/ 134 w 530"/>
                <a:gd name="T25" fmla="*/ 0 h 532"/>
                <a:gd name="T26" fmla="*/ 121 w 530"/>
                <a:gd name="T27" fmla="*/ 1 h 532"/>
                <a:gd name="T28" fmla="*/ 95 w 530"/>
                <a:gd name="T29" fmla="*/ 6 h 532"/>
                <a:gd name="T30" fmla="*/ 70 w 530"/>
                <a:gd name="T31" fmla="*/ 16 h 532"/>
                <a:gd name="T32" fmla="*/ 49 w 530"/>
                <a:gd name="T33" fmla="*/ 31 h 532"/>
                <a:gd name="T34" fmla="*/ 39 w 530"/>
                <a:gd name="T35" fmla="*/ 40 h 532"/>
                <a:gd name="T36" fmla="*/ 22 w 530"/>
                <a:gd name="T37" fmla="*/ 61 h 532"/>
                <a:gd name="T38" fmla="*/ 10 w 530"/>
                <a:gd name="T39" fmla="*/ 84 h 532"/>
                <a:gd name="T40" fmla="*/ 2 w 530"/>
                <a:gd name="T41" fmla="*/ 109 h 532"/>
                <a:gd name="T42" fmla="*/ 0 w 530"/>
                <a:gd name="T43" fmla="*/ 135 h 532"/>
                <a:gd name="T44" fmla="*/ 0 w 530"/>
                <a:gd name="T45" fmla="*/ 149 h 532"/>
                <a:gd name="T46" fmla="*/ 6 w 530"/>
                <a:gd name="T47" fmla="*/ 177 h 532"/>
                <a:gd name="T48" fmla="*/ 17 w 530"/>
                <a:gd name="T49" fmla="*/ 201 h 532"/>
                <a:gd name="T50" fmla="*/ 33 w 530"/>
                <a:gd name="T51" fmla="*/ 223 h 532"/>
                <a:gd name="T52" fmla="*/ 74 w 530"/>
                <a:gd name="T53" fmla="*/ 264 h 532"/>
                <a:gd name="T54" fmla="*/ 63 w 530"/>
                <a:gd name="T55" fmla="*/ 270 h 532"/>
                <a:gd name="T56" fmla="*/ 59 w 530"/>
                <a:gd name="T57" fmla="*/ 275 h 532"/>
                <a:gd name="T58" fmla="*/ 59 w 530"/>
                <a:gd name="T59" fmla="*/ 283 h 532"/>
                <a:gd name="T60" fmla="*/ 76 w 530"/>
                <a:gd name="T61" fmla="*/ 312 h 532"/>
                <a:gd name="T62" fmla="*/ 79 w 530"/>
                <a:gd name="T63" fmla="*/ 315 h 532"/>
                <a:gd name="T64" fmla="*/ 296 w 530"/>
                <a:gd name="T65" fmla="*/ 532 h 532"/>
                <a:gd name="T66" fmla="*/ 336 w 530"/>
                <a:gd name="T67" fmla="*/ 517 h 532"/>
                <a:gd name="T68" fmla="*/ 375 w 530"/>
                <a:gd name="T69" fmla="*/ 496 h 532"/>
                <a:gd name="T70" fmla="*/ 410 w 530"/>
                <a:gd name="T71" fmla="*/ 473 h 532"/>
                <a:gd name="T72" fmla="*/ 443 w 530"/>
                <a:gd name="T73" fmla="*/ 443 h 532"/>
                <a:gd name="T74" fmla="*/ 471 w 530"/>
                <a:gd name="T75" fmla="*/ 411 h 532"/>
                <a:gd name="T76" fmla="*/ 494 w 530"/>
                <a:gd name="T77" fmla="*/ 375 h 532"/>
                <a:gd name="T78" fmla="*/ 514 w 530"/>
                <a:gd name="T79" fmla="*/ 337 h 532"/>
                <a:gd name="T80" fmla="*/ 530 w 530"/>
                <a:gd name="T81" fmla="*/ 296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0" h="532">
                  <a:moveTo>
                    <a:pt x="343" y="110"/>
                  </a:moveTo>
                  <a:lnTo>
                    <a:pt x="343" y="110"/>
                  </a:lnTo>
                  <a:lnTo>
                    <a:pt x="343" y="110"/>
                  </a:lnTo>
                  <a:lnTo>
                    <a:pt x="340" y="109"/>
                  </a:lnTo>
                  <a:lnTo>
                    <a:pt x="311" y="79"/>
                  </a:lnTo>
                  <a:lnTo>
                    <a:pt x="311" y="79"/>
                  </a:lnTo>
                  <a:lnTo>
                    <a:pt x="307" y="75"/>
                  </a:lnTo>
                  <a:lnTo>
                    <a:pt x="277" y="58"/>
                  </a:lnTo>
                  <a:lnTo>
                    <a:pt x="277" y="58"/>
                  </a:lnTo>
                  <a:lnTo>
                    <a:pt x="275" y="58"/>
                  </a:lnTo>
                  <a:lnTo>
                    <a:pt x="271" y="58"/>
                  </a:lnTo>
                  <a:lnTo>
                    <a:pt x="269" y="59"/>
                  </a:lnTo>
                  <a:lnTo>
                    <a:pt x="266" y="62"/>
                  </a:lnTo>
                  <a:lnTo>
                    <a:pt x="260" y="72"/>
                  </a:lnTo>
                  <a:lnTo>
                    <a:pt x="234" y="46"/>
                  </a:lnTo>
                  <a:lnTo>
                    <a:pt x="234" y="46"/>
                  </a:lnTo>
                  <a:lnTo>
                    <a:pt x="229" y="40"/>
                  </a:lnTo>
                  <a:lnTo>
                    <a:pt x="229" y="40"/>
                  </a:lnTo>
                  <a:lnTo>
                    <a:pt x="219" y="31"/>
                  </a:lnTo>
                  <a:lnTo>
                    <a:pt x="208" y="24"/>
                  </a:lnTo>
                  <a:lnTo>
                    <a:pt x="197" y="16"/>
                  </a:lnTo>
                  <a:lnTo>
                    <a:pt x="185" y="11"/>
                  </a:lnTo>
                  <a:lnTo>
                    <a:pt x="174" y="6"/>
                  </a:lnTo>
                  <a:lnTo>
                    <a:pt x="160" y="4"/>
                  </a:lnTo>
                  <a:lnTo>
                    <a:pt x="148" y="1"/>
                  </a:lnTo>
                  <a:lnTo>
                    <a:pt x="134" y="0"/>
                  </a:lnTo>
                  <a:lnTo>
                    <a:pt x="134" y="0"/>
                  </a:lnTo>
                  <a:lnTo>
                    <a:pt x="121" y="1"/>
                  </a:lnTo>
                  <a:lnTo>
                    <a:pt x="107" y="4"/>
                  </a:lnTo>
                  <a:lnTo>
                    <a:pt x="95" y="6"/>
                  </a:lnTo>
                  <a:lnTo>
                    <a:pt x="82" y="11"/>
                  </a:lnTo>
                  <a:lnTo>
                    <a:pt x="70" y="16"/>
                  </a:lnTo>
                  <a:lnTo>
                    <a:pt x="59" y="24"/>
                  </a:lnTo>
                  <a:lnTo>
                    <a:pt x="49" y="31"/>
                  </a:lnTo>
                  <a:lnTo>
                    <a:pt x="39" y="40"/>
                  </a:lnTo>
                  <a:lnTo>
                    <a:pt x="39" y="40"/>
                  </a:lnTo>
                  <a:lnTo>
                    <a:pt x="29" y="50"/>
                  </a:lnTo>
                  <a:lnTo>
                    <a:pt x="22" y="61"/>
                  </a:lnTo>
                  <a:lnTo>
                    <a:pt x="16" y="72"/>
                  </a:lnTo>
                  <a:lnTo>
                    <a:pt x="10" y="84"/>
                  </a:lnTo>
                  <a:lnTo>
                    <a:pt x="5" y="96"/>
                  </a:lnTo>
                  <a:lnTo>
                    <a:pt x="2" y="109"/>
                  </a:lnTo>
                  <a:lnTo>
                    <a:pt x="0" y="121"/>
                  </a:lnTo>
                  <a:lnTo>
                    <a:pt x="0" y="135"/>
                  </a:lnTo>
                  <a:lnTo>
                    <a:pt x="0" y="135"/>
                  </a:lnTo>
                  <a:lnTo>
                    <a:pt x="0" y="149"/>
                  </a:lnTo>
                  <a:lnTo>
                    <a:pt x="2" y="163"/>
                  </a:lnTo>
                  <a:lnTo>
                    <a:pt x="6" y="177"/>
                  </a:lnTo>
                  <a:lnTo>
                    <a:pt x="11" y="190"/>
                  </a:lnTo>
                  <a:lnTo>
                    <a:pt x="17" y="201"/>
                  </a:lnTo>
                  <a:lnTo>
                    <a:pt x="24" y="214"/>
                  </a:lnTo>
                  <a:lnTo>
                    <a:pt x="33" y="223"/>
                  </a:lnTo>
                  <a:lnTo>
                    <a:pt x="43" y="233"/>
                  </a:lnTo>
                  <a:lnTo>
                    <a:pt x="74" y="264"/>
                  </a:lnTo>
                  <a:lnTo>
                    <a:pt x="63" y="270"/>
                  </a:lnTo>
                  <a:lnTo>
                    <a:pt x="63" y="270"/>
                  </a:lnTo>
                  <a:lnTo>
                    <a:pt x="60" y="273"/>
                  </a:lnTo>
                  <a:lnTo>
                    <a:pt x="59" y="275"/>
                  </a:lnTo>
                  <a:lnTo>
                    <a:pt x="58" y="279"/>
                  </a:lnTo>
                  <a:lnTo>
                    <a:pt x="59" y="283"/>
                  </a:lnTo>
                  <a:lnTo>
                    <a:pt x="76" y="312"/>
                  </a:lnTo>
                  <a:lnTo>
                    <a:pt x="76" y="312"/>
                  </a:lnTo>
                  <a:lnTo>
                    <a:pt x="79" y="315"/>
                  </a:lnTo>
                  <a:lnTo>
                    <a:pt x="79" y="315"/>
                  </a:lnTo>
                  <a:lnTo>
                    <a:pt x="296" y="532"/>
                  </a:lnTo>
                  <a:lnTo>
                    <a:pt x="296" y="532"/>
                  </a:lnTo>
                  <a:lnTo>
                    <a:pt x="317" y="526"/>
                  </a:lnTo>
                  <a:lnTo>
                    <a:pt x="336" y="517"/>
                  </a:lnTo>
                  <a:lnTo>
                    <a:pt x="356" y="507"/>
                  </a:lnTo>
                  <a:lnTo>
                    <a:pt x="375" y="496"/>
                  </a:lnTo>
                  <a:lnTo>
                    <a:pt x="393" y="485"/>
                  </a:lnTo>
                  <a:lnTo>
                    <a:pt x="410" y="473"/>
                  </a:lnTo>
                  <a:lnTo>
                    <a:pt x="426" y="458"/>
                  </a:lnTo>
                  <a:lnTo>
                    <a:pt x="443" y="443"/>
                  </a:lnTo>
                  <a:lnTo>
                    <a:pt x="457" y="428"/>
                  </a:lnTo>
                  <a:lnTo>
                    <a:pt x="471" y="411"/>
                  </a:lnTo>
                  <a:lnTo>
                    <a:pt x="483" y="394"/>
                  </a:lnTo>
                  <a:lnTo>
                    <a:pt x="494" y="375"/>
                  </a:lnTo>
                  <a:lnTo>
                    <a:pt x="505" y="357"/>
                  </a:lnTo>
                  <a:lnTo>
                    <a:pt x="514" y="337"/>
                  </a:lnTo>
                  <a:lnTo>
                    <a:pt x="523" y="317"/>
                  </a:lnTo>
                  <a:lnTo>
                    <a:pt x="530" y="296"/>
                  </a:lnTo>
                  <a:lnTo>
                    <a:pt x="343" y="11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203">
              <a:extLst>
                <a:ext uri="{FF2B5EF4-FFF2-40B4-BE49-F238E27FC236}">
                  <a16:creationId xmlns:a16="http://schemas.microsoft.com/office/drawing/2014/main" id="{A762D09F-9F84-1E8E-8DE4-1CCA92F540BD}"/>
                </a:ext>
              </a:extLst>
            </p:cNvPr>
            <p:cNvSpPr>
              <a:spLocks noEditPoints="1"/>
            </p:cNvSpPr>
            <p:nvPr/>
          </p:nvSpPr>
          <p:spPr bwMode="auto">
            <a:xfrm>
              <a:off x="3462338" y="317500"/>
              <a:ext cx="528638" cy="528638"/>
            </a:xfrm>
            <a:custGeom>
              <a:avLst/>
              <a:gdLst>
                <a:gd name="T0" fmla="*/ 299 w 333"/>
                <a:gd name="T1" fmla="*/ 118 h 333"/>
                <a:gd name="T2" fmla="*/ 320 w 333"/>
                <a:gd name="T3" fmla="*/ 100 h 333"/>
                <a:gd name="T4" fmla="*/ 296 w 333"/>
                <a:gd name="T5" fmla="*/ 63 h 333"/>
                <a:gd name="T6" fmla="*/ 264 w 333"/>
                <a:gd name="T7" fmla="*/ 66 h 333"/>
                <a:gd name="T8" fmla="*/ 268 w 333"/>
                <a:gd name="T9" fmla="*/ 36 h 333"/>
                <a:gd name="T10" fmla="*/ 231 w 333"/>
                <a:gd name="T11" fmla="*/ 12 h 333"/>
                <a:gd name="T12" fmla="*/ 212 w 333"/>
                <a:gd name="T13" fmla="*/ 33 h 333"/>
                <a:gd name="T14" fmla="*/ 190 w 333"/>
                <a:gd name="T15" fmla="*/ 5 h 333"/>
                <a:gd name="T16" fmla="*/ 148 w 333"/>
                <a:gd name="T17" fmla="*/ 0 h 333"/>
                <a:gd name="T18" fmla="*/ 140 w 333"/>
                <a:gd name="T19" fmla="*/ 29 h 333"/>
                <a:gd name="T20" fmla="*/ 109 w 333"/>
                <a:gd name="T21" fmla="*/ 18 h 333"/>
                <a:gd name="T22" fmla="*/ 67 w 333"/>
                <a:gd name="T23" fmla="*/ 32 h 333"/>
                <a:gd name="T24" fmla="*/ 64 w 333"/>
                <a:gd name="T25" fmla="*/ 43 h 333"/>
                <a:gd name="T26" fmla="*/ 42 w 333"/>
                <a:gd name="T27" fmla="*/ 66 h 333"/>
                <a:gd name="T28" fmla="*/ 31 w 333"/>
                <a:gd name="T29" fmla="*/ 70 h 333"/>
                <a:gd name="T30" fmla="*/ 14 w 333"/>
                <a:gd name="T31" fmla="*/ 108 h 333"/>
                <a:gd name="T32" fmla="*/ 29 w 333"/>
                <a:gd name="T33" fmla="*/ 143 h 333"/>
                <a:gd name="T34" fmla="*/ 1 w 333"/>
                <a:gd name="T35" fmla="*/ 148 h 333"/>
                <a:gd name="T36" fmla="*/ 3 w 333"/>
                <a:gd name="T37" fmla="*/ 191 h 333"/>
                <a:gd name="T38" fmla="*/ 32 w 333"/>
                <a:gd name="T39" fmla="*/ 205 h 333"/>
                <a:gd name="T40" fmla="*/ 15 w 333"/>
                <a:gd name="T41" fmla="*/ 229 h 333"/>
                <a:gd name="T42" fmla="*/ 35 w 333"/>
                <a:gd name="T43" fmla="*/ 269 h 333"/>
                <a:gd name="T44" fmla="*/ 62 w 333"/>
                <a:gd name="T45" fmla="*/ 259 h 333"/>
                <a:gd name="T46" fmla="*/ 67 w 333"/>
                <a:gd name="T47" fmla="*/ 295 h 333"/>
                <a:gd name="T48" fmla="*/ 100 w 333"/>
                <a:gd name="T49" fmla="*/ 319 h 333"/>
                <a:gd name="T50" fmla="*/ 122 w 333"/>
                <a:gd name="T51" fmla="*/ 298 h 333"/>
                <a:gd name="T52" fmla="*/ 143 w 333"/>
                <a:gd name="T53" fmla="*/ 324 h 333"/>
                <a:gd name="T54" fmla="*/ 186 w 333"/>
                <a:gd name="T55" fmla="*/ 333 h 333"/>
                <a:gd name="T56" fmla="*/ 195 w 333"/>
                <a:gd name="T57" fmla="*/ 324 h 333"/>
                <a:gd name="T58" fmla="*/ 226 w 333"/>
                <a:gd name="T59" fmla="*/ 314 h 333"/>
                <a:gd name="T60" fmla="*/ 237 w 333"/>
                <a:gd name="T61" fmla="*/ 318 h 333"/>
                <a:gd name="T62" fmla="*/ 270 w 333"/>
                <a:gd name="T63" fmla="*/ 292 h 333"/>
                <a:gd name="T64" fmla="*/ 275 w 333"/>
                <a:gd name="T65" fmla="*/ 256 h 333"/>
                <a:gd name="T66" fmla="*/ 301 w 333"/>
                <a:gd name="T67" fmla="*/ 265 h 333"/>
                <a:gd name="T68" fmla="*/ 321 w 333"/>
                <a:gd name="T69" fmla="*/ 227 h 333"/>
                <a:gd name="T70" fmla="*/ 302 w 333"/>
                <a:gd name="T71" fmla="*/ 201 h 333"/>
                <a:gd name="T72" fmla="*/ 331 w 333"/>
                <a:gd name="T73" fmla="*/ 187 h 333"/>
                <a:gd name="T74" fmla="*/ 333 w 333"/>
                <a:gd name="T75" fmla="*/ 144 h 333"/>
                <a:gd name="T76" fmla="*/ 167 w 333"/>
                <a:gd name="T77" fmla="*/ 255 h 333"/>
                <a:gd name="T78" fmla="*/ 132 w 333"/>
                <a:gd name="T79" fmla="*/ 248 h 333"/>
                <a:gd name="T80" fmla="*/ 99 w 333"/>
                <a:gd name="T81" fmla="*/ 223 h 333"/>
                <a:gd name="T82" fmla="*/ 80 w 333"/>
                <a:gd name="T83" fmla="*/ 184 h 333"/>
                <a:gd name="T84" fmla="*/ 80 w 333"/>
                <a:gd name="T85" fmla="*/ 148 h 333"/>
                <a:gd name="T86" fmla="*/ 99 w 333"/>
                <a:gd name="T87" fmla="*/ 110 h 333"/>
                <a:gd name="T88" fmla="*/ 132 w 333"/>
                <a:gd name="T89" fmla="*/ 85 h 333"/>
                <a:gd name="T90" fmla="*/ 167 w 333"/>
                <a:gd name="T91" fmla="*/ 78 h 333"/>
                <a:gd name="T92" fmla="*/ 210 w 333"/>
                <a:gd name="T93" fmla="*/ 89 h 333"/>
                <a:gd name="T94" fmla="*/ 241 w 333"/>
                <a:gd name="T95" fmla="*/ 117 h 333"/>
                <a:gd name="T96" fmla="*/ 255 w 333"/>
                <a:gd name="T97" fmla="*/ 158 h 333"/>
                <a:gd name="T98" fmla="*/ 252 w 333"/>
                <a:gd name="T99" fmla="*/ 192 h 333"/>
                <a:gd name="T100" fmla="*/ 230 w 333"/>
                <a:gd name="T101" fmla="*/ 229 h 333"/>
                <a:gd name="T102" fmla="*/ 194 w 333"/>
                <a:gd name="T103" fmla="*/ 25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3" h="333">
                  <a:moveTo>
                    <a:pt x="325" y="139"/>
                  </a:moveTo>
                  <a:lnTo>
                    <a:pt x="305" y="139"/>
                  </a:lnTo>
                  <a:lnTo>
                    <a:pt x="305" y="139"/>
                  </a:lnTo>
                  <a:lnTo>
                    <a:pt x="302" y="128"/>
                  </a:lnTo>
                  <a:lnTo>
                    <a:pt x="299" y="118"/>
                  </a:lnTo>
                  <a:lnTo>
                    <a:pt x="316" y="108"/>
                  </a:lnTo>
                  <a:lnTo>
                    <a:pt x="316" y="108"/>
                  </a:lnTo>
                  <a:lnTo>
                    <a:pt x="318" y="106"/>
                  </a:lnTo>
                  <a:lnTo>
                    <a:pt x="320" y="102"/>
                  </a:lnTo>
                  <a:lnTo>
                    <a:pt x="320" y="100"/>
                  </a:lnTo>
                  <a:lnTo>
                    <a:pt x="318" y="96"/>
                  </a:lnTo>
                  <a:lnTo>
                    <a:pt x="301" y="66"/>
                  </a:lnTo>
                  <a:lnTo>
                    <a:pt x="301" y="66"/>
                  </a:lnTo>
                  <a:lnTo>
                    <a:pt x="299" y="64"/>
                  </a:lnTo>
                  <a:lnTo>
                    <a:pt x="296" y="63"/>
                  </a:lnTo>
                  <a:lnTo>
                    <a:pt x="292" y="63"/>
                  </a:lnTo>
                  <a:lnTo>
                    <a:pt x="290" y="64"/>
                  </a:lnTo>
                  <a:lnTo>
                    <a:pt x="271" y="74"/>
                  </a:lnTo>
                  <a:lnTo>
                    <a:pt x="271" y="74"/>
                  </a:lnTo>
                  <a:lnTo>
                    <a:pt x="264" y="66"/>
                  </a:lnTo>
                  <a:lnTo>
                    <a:pt x="257" y="59"/>
                  </a:lnTo>
                  <a:lnTo>
                    <a:pt x="267" y="42"/>
                  </a:lnTo>
                  <a:lnTo>
                    <a:pt x="267" y="42"/>
                  </a:lnTo>
                  <a:lnTo>
                    <a:pt x="268" y="38"/>
                  </a:lnTo>
                  <a:lnTo>
                    <a:pt x="268" y="36"/>
                  </a:lnTo>
                  <a:lnTo>
                    <a:pt x="265" y="32"/>
                  </a:lnTo>
                  <a:lnTo>
                    <a:pt x="263" y="29"/>
                  </a:lnTo>
                  <a:lnTo>
                    <a:pt x="233" y="12"/>
                  </a:lnTo>
                  <a:lnTo>
                    <a:pt x="233" y="12"/>
                  </a:lnTo>
                  <a:lnTo>
                    <a:pt x="231" y="12"/>
                  </a:lnTo>
                  <a:lnTo>
                    <a:pt x="227" y="12"/>
                  </a:lnTo>
                  <a:lnTo>
                    <a:pt x="225" y="13"/>
                  </a:lnTo>
                  <a:lnTo>
                    <a:pt x="222" y="16"/>
                  </a:lnTo>
                  <a:lnTo>
                    <a:pt x="212" y="33"/>
                  </a:lnTo>
                  <a:lnTo>
                    <a:pt x="212" y="33"/>
                  </a:lnTo>
                  <a:lnTo>
                    <a:pt x="201" y="31"/>
                  </a:lnTo>
                  <a:lnTo>
                    <a:pt x="191" y="28"/>
                  </a:lnTo>
                  <a:lnTo>
                    <a:pt x="191" y="8"/>
                  </a:lnTo>
                  <a:lnTo>
                    <a:pt x="191" y="8"/>
                  </a:lnTo>
                  <a:lnTo>
                    <a:pt x="190" y="5"/>
                  </a:lnTo>
                  <a:lnTo>
                    <a:pt x="188" y="2"/>
                  </a:lnTo>
                  <a:lnTo>
                    <a:pt x="185" y="1"/>
                  </a:lnTo>
                  <a:lnTo>
                    <a:pt x="183" y="0"/>
                  </a:lnTo>
                  <a:lnTo>
                    <a:pt x="148" y="0"/>
                  </a:lnTo>
                  <a:lnTo>
                    <a:pt x="148" y="0"/>
                  </a:lnTo>
                  <a:lnTo>
                    <a:pt x="144" y="1"/>
                  </a:lnTo>
                  <a:lnTo>
                    <a:pt x="142" y="2"/>
                  </a:lnTo>
                  <a:lnTo>
                    <a:pt x="140" y="5"/>
                  </a:lnTo>
                  <a:lnTo>
                    <a:pt x="140" y="8"/>
                  </a:lnTo>
                  <a:lnTo>
                    <a:pt x="140" y="29"/>
                  </a:lnTo>
                  <a:lnTo>
                    <a:pt x="140" y="29"/>
                  </a:lnTo>
                  <a:lnTo>
                    <a:pt x="128" y="32"/>
                  </a:lnTo>
                  <a:lnTo>
                    <a:pt x="119" y="34"/>
                  </a:lnTo>
                  <a:lnTo>
                    <a:pt x="109" y="18"/>
                  </a:lnTo>
                  <a:lnTo>
                    <a:pt x="109" y="18"/>
                  </a:lnTo>
                  <a:lnTo>
                    <a:pt x="106" y="15"/>
                  </a:lnTo>
                  <a:lnTo>
                    <a:pt x="104" y="13"/>
                  </a:lnTo>
                  <a:lnTo>
                    <a:pt x="100" y="13"/>
                  </a:lnTo>
                  <a:lnTo>
                    <a:pt x="96" y="15"/>
                  </a:lnTo>
                  <a:lnTo>
                    <a:pt x="67" y="32"/>
                  </a:lnTo>
                  <a:lnTo>
                    <a:pt x="67" y="32"/>
                  </a:lnTo>
                  <a:lnTo>
                    <a:pt x="64" y="34"/>
                  </a:lnTo>
                  <a:lnTo>
                    <a:pt x="63" y="37"/>
                  </a:lnTo>
                  <a:lnTo>
                    <a:pt x="63" y="41"/>
                  </a:lnTo>
                  <a:lnTo>
                    <a:pt x="64" y="43"/>
                  </a:lnTo>
                  <a:lnTo>
                    <a:pt x="74" y="62"/>
                  </a:lnTo>
                  <a:lnTo>
                    <a:pt x="74" y="62"/>
                  </a:lnTo>
                  <a:lnTo>
                    <a:pt x="67" y="69"/>
                  </a:lnTo>
                  <a:lnTo>
                    <a:pt x="59" y="76"/>
                  </a:lnTo>
                  <a:lnTo>
                    <a:pt x="42" y="66"/>
                  </a:lnTo>
                  <a:lnTo>
                    <a:pt x="42" y="66"/>
                  </a:lnTo>
                  <a:lnTo>
                    <a:pt x="40" y="65"/>
                  </a:lnTo>
                  <a:lnTo>
                    <a:pt x="36" y="66"/>
                  </a:lnTo>
                  <a:lnTo>
                    <a:pt x="32" y="68"/>
                  </a:lnTo>
                  <a:lnTo>
                    <a:pt x="31" y="70"/>
                  </a:lnTo>
                  <a:lnTo>
                    <a:pt x="14" y="100"/>
                  </a:lnTo>
                  <a:lnTo>
                    <a:pt x="14" y="100"/>
                  </a:lnTo>
                  <a:lnTo>
                    <a:pt x="12" y="102"/>
                  </a:lnTo>
                  <a:lnTo>
                    <a:pt x="12" y="106"/>
                  </a:lnTo>
                  <a:lnTo>
                    <a:pt x="14" y="108"/>
                  </a:lnTo>
                  <a:lnTo>
                    <a:pt x="16" y="111"/>
                  </a:lnTo>
                  <a:lnTo>
                    <a:pt x="35" y="122"/>
                  </a:lnTo>
                  <a:lnTo>
                    <a:pt x="35" y="122"/>
                  </a:lnTo>
                  <a:lnTo>
                    <a:pt x="31" y="132"/>
                  </a:lnTo>
                  <a:lnTo>
                    <a:pt x="29" y="143"/>
                  </a:lnTo>
                  <a:lnTo>
                    <a:pt x="9" y="143"/>
                  </a:lnTo>
                  <a:lnTo>
                    <a:pt x="9" y="143"/>
                  </a:lnTo>
                  <a:lnTo>
                    <a:pt x="6" y="143"/>
                  </a:lnTo>
                  <a:lnTo>
                    <a:pt x="3" y="145"/>
                  </a:lnTo>
                  <a:lnTo>
                    <a:pt x="1" y="148"/>
                  </a:lnTo>
                  <a:lnTo>
                    <a:pt x="0" y="152"/>
                  </a:lnTo>
                  <a:lnTo>
                    <a:pt x="0" y="185"/>
                  </a:lnTo>
                  <a:lnTo>
                    <a:pt x="0" y="185"/>
                  </a:lnTo>
                  <a:lnTo>
                    <a:pt x="1" y="189"/>
                  </a:lnTo>
                  <a:lnTo>
                    <a:pt x="3" y="191"/>
                  </a:lnTo>
                  <a:lnTo>
                    <a:pt x="6" y="194"/>
                  </a:lnTo>
                  <a:lnTo>
                    <a:pt x="9" y="194"/>
                  </a:lnTo>
                  <a:lnTo>
                    <a:pt x="30" y="194"/>
                  </a:lnTo>
                  <a:lnTo>
                    <a:pt x="30" y="194"/>
                  </a:lnTo>
                  <a:lnTo>
                    <a:pt x="32" y="205"/>
                  </a:lnTo>
                  <a:lnTo>
                    <a:pt x="36" y="214"/>
                  </a:lnTo>
                  <a:lnTo>
                    <a:pt x="19" y="224"/>
                  </a:lnTo>
                  <a:lnTo>
                    <a:pt x="19" y="224"/>
                  </a:lnTo>
                  <a:lnTo>
                    <a:pt x="16" y="227"/>
                  </a:lnTo>
                  <a:lnTo>
                    <a:pt x="15" y="229"/>
                  </a:lnTo>
                  <a:lnTo>
                    <a:pt x="14" y="233"/>
                  </a:lnTo>
                  <a:lnTo>
                    <a:pt x="15" y="237"/>
                  </a:lnTo>
                  <a:lnTo>
                    <a:pt x="32" y="266"/>
                  </a:lnTo>
                  <a:lnTo>
                    <a:pt x="32" y="266"/>
                  </a:lnTo>
                  <a:lnTo>
                    <a:pt x="35" y="269"/>
                  </a:lnTo>
                  <a:lnTo>
                    <a:pt x="37" y="270"/>
                  </a:lnTo>
                  <a:lnTo>
                    <a:pt x="41" y="270"/>
                  </a:lnTo>
                  <a:lnTo>
                    <a:pt x="45" y="269"/>
                  </a:lnTo>
                  <a:lnTo>
                    <a:pt x="62" y="259"/>
                  </a:lnTo>
                  <a:lnTo>
                    <a:pt x="62" y="259"/>
                  </a:lnTo>
                  <a:lnTo>
                    <a:pt x="69" y="266"/>
                  </a:lnTo>
                  <a:lnTo>
                    <a:pt x="78" y="274"/>
                  </a:lnTo>
                  <a:lnTo>
                    <a:pt x="68" y="291"/>
                  </a:lnTo>
                  <a:lnTo>
                    <a:pt x="68" y="291"/>
                  </a:lnTo>
                  <a:lnTo>
                    <a:pt x="67" y="295"/>
                  </a:lnTo>
                  <a:lnTo>
                    <a:pt x="67" y="297"/>
                  </a:lnTo>
                  <a:lnTo>
                    <a:pt x="68" y="301"/>
                  </a:lnTo>
                  <a:lnTo>
                    <a:pt x="70" y="302"/>
                  </a:lnTo>
                  <a:lnTo>
                    <a:pt x="100" y="319"/>
                  </a:lnTo>
                  <a:lnTo>
                    <a:pt x="100" y="319"/>
                  </a:lnTo>
                  <a:lnTo>
                    <a:pt x="104" y="321"/>
                  </a:lnTo>
                  <a:lnTo>
                    <a:pt x="106" y="321"/>
                  </a:lnTo>
                  <a:lnTo>
                    <a:pt x="110" y="319"/>
                  </a:lnTo>
                  <a:lnTo>
                    <a:pt x="112" y="317"/>
                  </a:lnTo>
                  <a:lnTo>
                    <a:pt x="122" y="298"/>
                  </a:lnTo>
                  <a:lnTo>
                    <a:pt x="122" y="298"/>
                  </a:lnTo>
                  <a:lnTo>
                    <a:pt x="132" y="302"/>
                  </a:lnTo>
                  <a:lnTo>
                    <a:pt x="143" y="305"/>
                  </a:lnTo>
                  <a:lnTo>
                    <a:pt x="143" y="324"/>
                  </a:lnTo>
                  <a:lnTo>
                    <a:pt x="143" y="324"/>
                  </a:lnTo>
                  <a:lnTo>
                    <a:pt x="144" y="327"/>
                  </a:lnTo>
                  <a:lnTo>
                    <a:pt x="146" y="330"/>
                  </a:lnTo>
                  <a:lnTo>
                    <a:pt x="148" y="332"/>
                  </a:lnTo>
                  <a:lnTo>
                    <a:pt x="152" y="333"/>
                  </a:lnTo>
                  <a:lnTo>
                    <a:pt x="186" y="333"/>
                  </a:lnTo>
                  <a:lnTo>
                    <a:pt x="186" y="333"/>
                  </a:lnTo>
                  <a:lnTo>
                    <a:pt x="189" y="332"/>
                  </a:lnTo>
                  <a:lnTo>
                    <a:pt x="193" y="330"/>
                  </a:lnTo>
                  <a:lnTo>
                    <a:pt x="194" y="327"/>
                  </a:lnTo>
                  <a:lnTo>
                    <a:pt x="195" y="324"/>
                  </a:lnTo>
                  <a:lnTo>
                    <a:pt x="195" y="303"/>
                  </a:lnTo>
                  <a:lnTo>
                    <a:pt x="195" y="303"/>
                  </a:lnTo>
                  <a:lnTo>
                    <a:pt x="205" y="301"/>
                  </a:lnTo>
                  <a:lnTo>
                    <a:pt x="216" y="297"/>
                  </a:lnTo>
                  <a:lnTo>
                    <a:pt x="226" y="314"/>
                  </a:lnTo>
                  <a:lnTo>
                    <a:pt x="226" y="314"/>
                  </a:lnTo>
                  <a:lnTo>
                    <a:pt x="227" y="317"/>
                  </a:lnTo>
                  <a:lnTo>
                    <a:pt x="231" y="319"/>
                  </a:lnTo>
                  <a:lnTo>
                    <a:pt x="233" y="319"/>
                  </a:lnTo>
                  <a:lnTo>
                    <a:pt x="237" y="318"/>
                  </a:lnTo>
                  <a:lnTo>
                    <a:pt x="267" y="301"/>
                  </a:lnTo>
                  <a:lnTo>
                    <a:pt x="267" y="301"/>
                  </a:lnTo>
                  <a:lnTo>
                    <a:pt x="269" y="298"/>
                  </a:lnTo>
                  <a:lnTo>
                    <a:pt x="270" y="296"/>
                  </a:lnTo>
                  <a:lnTo>
                    <a:pt x="270" y="292"/>
                  </a:lnTo>
                  <a:lnTo>
                    <a:pt x="270" y="288"/>
                  </a:lnTo>
                  <a:lnTo>
                    <a:pt x="259" y="271"/>
                  </a:lnTo>
                  <a:lnTo>
                    <a:pt x="259" y="271"/>
                  </a:lnTo>
                  <a:lnTo>
                    <a:pt x="268" y="264"/>
                  </a:lnTo>
                  <a:lnTo>
                    <a:pt x="275" y="256"/>
                  </a:lnTo>
                  <a:lnTo>
                    <a:pt x="291" y="266"/>
                  </a:lnTo>
                  <a:lnTo>
                    <a:pt x="291" y="266"/>
                  </a:lnTo>
                  <a:lnTo>
                    <a:pt x="295" y="266"/>
                  </a:lnTo>
                  <a:lnTo>
                    <a:pt x="299" y="266"/>
                  </a:lnTo>
                  <a:lnTo>
                    <a:pt x="301" y="265"/>
                  </a:lnTo>
                  <a:lnTo>
                    <a:pt x="304" y="263"/>
                  </a:lnTo>
                  <a:lnTo>
                    <a:pt x="321" y="233"/>
                  </a:lnTo>
                  <a:lnTo>
                    <a:pt x="321" y="233"/>
                  </a:lnTo>
                  <a:lnTo>
                    <a:pt x="322" y="229"/>
                  </a:lnTo>
                  <a:lnTo>
                    <a:pt x="321" y="227"/>
                  </a:lnTo>
                  <a:lnTo>
                    <a:pt x="320" y="223"/>
                  </a:lnTo>
                  <a:lnTo>
                    <a:pt x="317" y="221"/>
                  </a:lnTo>
                  <a:lnTo>
                    <a:pt x="300" y="211"/>
                  </a:lnTo>
                  <a:lnTo>
                    <a:pt x="300" y="211"/>
                  </a:lnTo>
                  <a:lnTo>
                    <a:pt x="302" y="201"/>
                  </a:lnTo>
                  <a:lnTo>
                    <a:pt x="305" y="190"/>
                  </a:lnTo>
                  <a:lnTo>
                    <a:pt x="325" y="190"/>
                  </a:lnTo>
                  <a:lnTo>
                    <a:pt x="325" y="190"/>
                  </a:lnTo>
                  <a:lnTo>
                    <a:pt x="328" y="190"/>
                  </a:lnTo>
                  <a:lnTo>
                    <a:pt x="331" y="187"/>
                  </a:lnTo>
                  <a:lnTo>
                    <a:pt x="333" y="185"/>
                  </a:lnTo>
                  <a:lnTo>
                    <a:pt x="333" y="181"/>
                  </a:lnTo>
                  <a:lnTo>
                    <a:pt x="333" y="148"/>
                  </a:lnTo>
                  <a:lnTo>
                    <a:pt x="333" y="148"/>
                  </a:lnTo>
                  <a:lnTo>
                    <a:pt x="333" y="144"/>
                  </a:lnTo>
                  <a:lnTo>
                    <a:pt x="331" y="142"/>
                  </a:lnTo>
                  <a:lnTo>
                    <a:pt x="328" y="139"/>
                  </a:lnTo>
                  <a:lnTo>
                    <a:pt x="325" y="139"/>
                  </a:lnTo>
                  <a:lnTo>
                    <a:pt x="325" y="139"/>
                  </a:lnTo>
                  <a:close/>
                  <a:moveTo>
                    <a:pt x="167" y="255"/>
                  </a:moveTo>
                  <a:lnTo>
                    <a:pt x="167" y="255"/>
                  </a:lnTo>
                  <a:lnTo>
                    <a:pt x="158" y="254"/>
                  </a:lnTo>
                  <a:lnTo>
                    <a:pt x="149" y="253"/>
                  </a:lnTo>
                  <a:lnTo>
                    <a:pt x="141" y="251"/>
                  </a:lnTo>
                  <a:lnTo>
                    <a:pt x="132" y="248"/>
                  </a:lnTo>
                  <a:lnTo>
                    <a:pt x="125" y="244"/>
                  </a:lnTo>
                  <a:lnTo>
                    <a:pt x="117" y="240"/>
                  </a:lnTo>
                  <a:lnTo>
                    <a:pt x="110" y="234"/>
                  </a:lnTo>
                  <a:lnTo>
                    <a:pt x="104" y="229"/>
                  </a:lnTo>
                  <a:lnTo>
                    <a:pt x="99" y="223"/>
                  </a:lnTo>
                  <a:lnTo>
                    <a:pt x="94" y="216"/>
                  </a:lnTo>
                  <a:lnTo>
                    <a:pt x="89" y="208"/>
                  </a:lnTo>
                  <a:lnTo>
                    <a:pt x="85" y="201"/>
                  </a:lnTo>
                  <a:lnTo>
                    <a:pt x="83" y="192"/>
                  </a:lnTo>
                  <a:lnTo>
                    <a:pt x="80" y="184"/>
                  </a:lnTo>
                  <a:lnTo>
                    <a:pt x="79" y="175"/>
                  </a:lnTo>
                  <a:lnTo>
                    <a:pt x="78" y="166"/>
                  </a:lnTo>
                  <a:lnTo>
                    <a:pt x="78" y="166"/>
                  </a:lnTo>
                  <a:lnTo>
                    <a:pt x="79" y="158"/>
                  </a:lnTo>
                  <a:lnTo>
                    <a:pt x="80" y="148"/>
                  </a:lnTo>
                  <a:lnTo>
                    <a:pt x="83" y="140"/>
                  </a:lnTo>
                  <a:lnTo>
                    <a:pt x="85" y="132"/>
                  </a:lnTo>
                  <a:lnTo>
                    <a:pt x="89" y="124"/>
                  </a:lnTo>
                  <a:lnTo>
                    <a:pt x="94" y="117"/>
                  </a:lnTo>
                  <a:lnTo>
                    <a:pt x="99" y="110"/>
                  </a:lnTo>
                  <a:lnTo>
                    <a:pt x="104" y="103"/>
                  </a:lnTo>
                  <a:lnTo>
                    <a:pt x="110" y="97"/>
                  </a:lnTo>
                  <a:lnTo>
                    <a:pt x="117" y="92"/>
                  </a:lnTo>
                  <a:lnTo>
                    <a:pt x="125" y="89"/>
                  </a:lnTo>
                  <a:lnTo>
                    <a:pt x="132" y="85"/>
                  </a:lnTo>
                  <a:lnTo>
                    <a:pt x="141" y="81"/>
                  </a:lnTo>
                  <a:lnTo>
                    <a:pt x="149" y="79"/>
                  </a:lnTo>
                  <a:lnTo>
                    <a:pt x="158" y="78"/>
                  </a:lnTo>
                  <a:lnTo>
                    <a:pt x="167" y="78"/>
                  </a:lnTo>
                  <a:lnTo>
                    <a:pt x="167" y="78"/>
                  </a:lnTo>
                  <a:lnTo>
                    <a:pt x="177" y="78"/>
                  </a:lnTo>
                  <a:lnTo>
                    <a:pt x="185" y="79"/>
                  </a:lnTo>
                  <a:lnTo>
                    <a:pt x="194" y="81"/>
                  </a:lnTo>
                  <a:lnTo>
                    <a:pt x="201" y="85"/>
                  </a:lnTo>
                  <a:lnTo>
                    <a:pt x="210" y="89"/>
                  </a:lnTo>
                  <a:lnTo>
                    <a:pt x="216" y="92"/>
                  </a:lnTo>
                  <a:lnTo>
                    <a:pt x="223" y="97"/>
                  </a:lnTo>
                  <a:lnTo>
                    <a:pt x="230" y="103"/>
                  </a:lnTo>
                  <a:lnTo>
                    <a:pt x="236" y="110"/>
                  </a:lnTo>
                  <a:lnTo>
                    <a:pt x="241" y="117"/>
                  </a:lnTo>
                  <a:lnTo>
                    <a:pt x="246" y="124"/>
                  </a:lnTo>
                  <a:lnTo>
                    <a:pt x="249" y="132"/>
                  </a:lnTo>
                  <a:lnTo>
                    <a:pt x="252" y="140"/>
                  </a:lnTo>
                  <a:lnTo>
                    <a:pt x="254" y="148"/>
                  </a:lnTo>
                  <a:lnTo>
                    <a:pt x="255" y="158"/>
                  </a:lnTo>
                  <a:lnTo>
                    <a:pt x="255" y="166"/>
                  </a:lnTo>
                  <a:lnTo>
                    <a:pt x="255" y="166"/>
                  </a:lnTo>
                  <a:lnTo>
                    <a:pt x="255" y="175"/>
                  </a:lnTo>
                  <a:lnTo>
                    <a:pt x="254" y="184"/>
                  </a:lnTo>
                  <a:lnTo>
                    <a:pt x="252" y="192"/>
                  </a:lnTo>
                  <a:lnTo>
                    <a:pt x="249" y="201"/>
                  </a:lnTo>
                  <a:lnTo>
                    <a:pt x="246" y="208"/>
                  </a:lnTo>
                  <a:lnTo>
                    <a:pt x="241" y="216"/>
                  </a:lnTo>
                  <a:lnTo>
                    <a:pt x="236" y="223"/>
                  </a:lnTo>
                  <a:lnTo>
                    <a:pt x="230" y="229"/>
                  </a:lnTo>
                  <a:lnTo>
                    <a:pt x="223" y="234"/>
                  </a:lnTo>
                  <a:lnTo>
                    <a:pt x="216" y="240"/>
                  </a:lnTo>
                  <a:lnTo>
                    <a:pt x="210" y="244"/>
                  </a:lnTo>
                  <a:lnTo>
                    <a:pt x="201" y="248"/>
                  </a:lnTo>
                  <a:lnTo>
                    <a:pt x="194" y="251"/>
                  </a:lnTo>
                  <a:lnTo>
                    <a:pt x="185" y="253"/>
                  </a:lnTo>
                  <a:lnTo>
                    <a:pt x="177" y="254"/>
                  </a:lnTo>
                  <a:lnTo>
                    <a:pt x="167" y="255"/>
                  </a:lnTo>
                  <a:lnTo>
                    <a:pt x="167" y="255"/>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04">
              <a:extLst>
                <a:ext uri="{FF2B5EF4-FFF2-40B4-BE49-F238E27FC236}">
                  <a16:creationId xmlns:a16="http://schemas.microsoft.com/office/drawing/2014/main" id="{BD1BA9D5-A573-EB5A-A076-257C48D65ED6}"/>
                </a:ext>
              </a:extLst>
            </p:cNvPr>
            <p:cNvSpPr>
              <a:spLocks/>
            </p:cNvSpPr>
            <p:nvPr/>
          </p:nvSpPr>
          <p:spPr bwMode="auto">
            <a:xfrm>
              <a:off x="3462338" y="317500"/>
              <a:ext cx="260350" cy="528638"/>
            </a:xfrm>
            <a:custGeom>
              <a:avLst/>
              <a:gdLst>
                <a:gd name="T0" fmla="*/ 156 w 164"/>
                <a:gd name="T1" fmla="*/ 254 h 333"/>
                <a:gd name="T2" fmla="*/ 131 w 164"/>
                <a:gd name="T3" fmla="*/ 247 h 333"/>
                <a:gd name="T4" fmla="*/ 110 w 164"/>
                <a:gd name="T5" fmla="*/ 234 h 333"/>
                <a:gd name="T6" fmla="*/ 93 w 164"/>
                <a:gd name="T7" fmla="*/ 214 h 333"/>
                <a:gd name="T8" fmla="*/ 82 w 164"/>
                <a:gd name="T9" fmla="*/ 192 h 333"/>
                <a:gd name="T10" fmla="*/ 78 w 164"/>
                <a:gd name="T11" fmla="*/ 166 h 333"/>
                <a:gd name="T12" fmla="*/ 80 w 164"/>
                <a:gd name="T13" fmla="*/ 149 h 333"/>
                <a:gd name="T14" fmla="*/ 89 w 164"/>
                <a:gd name="T15" fmla="*/ 124 h 333"/>
                <a:gd name="T16" fmla="*/ 104 w 164"/>
                <a:gd name="T17" fmla="*/ 105 h 333"/>
                <a:gd name="T18" fmla="*/ 123 w 164"/>
                <a:gd name="T19" fmla="*/ 89 h 333"/>
                <a:gd name="T20" fmla="*/ 147 w 164"/>
                <a:gd name="T21" fmla="*/ 80 h 333"/>
                <a:gd name="T22" fmla="*/ 164 w 164"/>
                <a:gd name="T23" fmla="*/ 0 h 333"/>
                <a:gd name="T24" fmla="*/ 144 w 164"/>
                <a:gd name="T25" fmla="*/ 1 h 333"/>
                <a:gd name="T26" fmla="*/ 140 w 164"/>
                <a:gd name="T27" fmla="*/ 8 h 333"/>
                <a:gd name="T28" fmla="*/ 128 w 164"/>
                <a:gd name="T29" fmla="*/ 32 h 333"/>
                <a:gd name="T30" fmla="*/ 109 w 164"/>
                <a:gd name="T31" fmla="*/ 18 h 333"/>
                <a:gd name="T32" fmla="*/ 100 w 164"/>
                <a:gd name="T33" fmla="*/ 13 h 333"/>
                <a:gd name="T34" fmla="*/ 67 w 164"/>
                <a:gd name="T35" fmla="*/ 32 h 333"/>
                <a:gd name="T36" fmla="*/ 63 w 164"/>
                <a:gd name="T37" fmla="*/ 41 h 333"/>
                <a:gd name="T38" fmla="*/ 74 w 164"/>
                <a:gd name="T39" fmla="*/ 62 h 333"/>
                <a:gd name="T40" fmla="*/ 42 w 164"/>
                <a:gd name="T41" fmla="*/ 66 h 333"/>
                <a:gd name="T42" fmla="*/ 36 w 164"/>
                <a:gd name="T43" fmla="*/ 66 h 333"/>
                <a:gd name="T44" fmla="*/ 14 w 164"/>
                <a:gd name="T45" fmla="*/ 100 h 333"/>
                <a:gd name="T46" fmla="*/ 12 w 164"/>
                <a:gd name="T47" fmla="*/ 106 h 333"/>
                <a:gd name="T48" fmla="*/ 35 w 164"/>
                <a:gd name="T49" fmla="*/ 122 h 333"/>
                <a:gd name="T50" fmla="*/ 29 w 164"/>
                <a:gd name="T51" fmla="*/ 143 h 333"/>
                <a:gd name="T52" fmla="*/ 6 w 164"/>
                <a:gd name="T53" fmla="*/ 143 h 333"/>
                <a:gd name="T54" fmla="*/ 0 w 164"/>
                <a:gd name="T55" fmla="*/ 152 h 333"/>
                <a:gd name="T56" fmla="*/ 1 w 164"/>
                <a:gd name="T57" fmla="*/ 189 h 333"/>
                <a:gd name="T58" fmla="*/ 9 w 164"/>
                <a:gd name="T59" fmla="*/ 194 h 333"/>
                <a:gd name="T60" fmla="*/ 32 w 164"/>
                <a:gd name="T61" fmla="*/ 205 h 333"/>
                <a:gd name="T62" fmla="*/ 19 w 164"/>
                <a:gd name="T63" fmla="*/ 224 h 333"/>
                <a:gd name="T64" fmla="*/ 14 w 164"/>
                <a:gd name="T65" fmla="*/ 233 h 333"/>
                <a:gd name="T66" fmla="*/ 32 w 164"/>
                <a:gd name="T67" fmla="*/ 266 h 333"/>
                <a:gd name="T68" fmla="*/ 41 w 164"/>
                <a:gd name="T69" fmla="*/ 270 h 333"/>
                <a:gd name="T70" fmla="*/ 62 w 164"/>
                <a:gd name="T71" fmla="*/ 259 h 333"/>
                <a:gd name="T72" fmla="*/ 68 w 164"/>
                <a:gd name="T73" fmla="*/ 291 h 333"/>
                <a:gd name="T74" fmla="*/ 67 w 164"/>
                <a:gd name="T75" fmla="*/ 297 h 333"/>
                <a:gd name="T76" fmla="*/ 100 w 164"/>
                <a:gd name="T77" fmla="*/ 319 h 333"/>
                <a:gd name="T78" fmla="*/ 106 w 164"/>
                <a:gd name="T79" fmla="*/ 321 h 333"/>
                <a:gd name="T80" fmla="*/ 122 w 164"/>
                <a:gd name="T81" fmla="*/ 298 h 333"/>
                <a:gd name="T82" fmla="*/ 143 w 164"/>
                <a:gd name="T83" fmla="*/ 305 h 333"/>
                <a:gd name="T84" fmla="*/ 144 w 164"/>
                <a:gd name="T85" fmla="*/ 327 h 333"/>
                <a:gd name="T86" fmla="*/ 152 w 164"/>
                <a:gd name="T87"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333">
                  <a:moveTo>
                    <a:pt x="164" y="255"/>
                  </a:moveTo>
                  <a:lnTo>
                    <a:pt x="164" y="255"/>
                  </a:lnTo>
                  <a:lnTo>
                    <a:pt x="156" y="254"/>
                  </a:lnTo>
                  <a:lnTo>
                    <a:pt x="147" y="253"/>
                  </a:lnTo>
                  <a:lnTo>
                    <a:pt x="138" y="250"/>
                  </a:lnTo>
                  <a:lnTo>
                    <a:pt x="131" y="247"/>
                  </a:lnTo>
                  <a:lnTo>
                    <a:pt x="123" y="243"/>
                  </a:lnTo>
                  <a:lnTo>
                    <a:pt x="116" y="239"/>
                  </a:lnTo>
                  <a:lnTo>
                    <a:pt x="110" y="234"/>
                  </a:lnTo>
                  <a:lnTo>
                    <a:pt x="104" y="228"/>
                  </a:lnTo>
                  <a:lnTo>
                    <a:pt x="98" y="222"/>
                  </a:lnTo>
                  <a:lnTo>
                    <a:pt x="93" y="214"/>
                  </a:lnTo>
                  <a:lnTo>
                    <a:pt x="89" y="208"/>
                  </a:lnTo>
                  <a:lnTo>
                    <a:pt x="85" y="200"/>
                  </a:lnTo>
                  <a:lnTo>
                    <a:pt x="82" y="192"/>
                  </a:lnTo>
                  <a:lnTo>
                    <a:pt x="80" y="184"/>
                  </a:lnTo>
                  <a:lnTo>
                    <a:pt x="79" y="175"/>
                  </a:lnTo>
                  <a:lnTo>
                    <a:pt x="78" y="166"/>
                  </a:lnTo>
                  <a:lnTo>
                    <a:pt x="78" y="166"/>
                  </a:lnTo>
                  <a:lnTo>
                    <a:pt x="79" y="158"/>
                  </a:lnTo>
                  <a:lnTo>
                    <a:pt x="80" y="149"/>
                  </a:lnTo>
                  <a:lnTo>
                    <a:pt x="82" y="140"/>
                  </a:lnTo>
                  <a:lnTo>
                    <a:pt x="85" y="132"/>
                  </a:lnTo>
                  <a:lnTo>
                    <a:pt x="89" y="124"/>
                  </a:lnTo>
                  <a:lnTo>
                    <a:pt x="93" y="117"/>
                  </a:lnTo>
                  <a:lnTo>
                    <a:pt x="98" y="111"/>
                  </a:lnTo>
                  <a:lnTo>
                    <a:pt x="104" y="105"/>
                  </a:lnTo>
                  <a:lnTo>
                    <a:pt x="110" y="99"/>
                  </a:lnTo>
                  <a:lnTo>
                    <a:pt x="116" y="94"/>
                  </a:lnTo>
                  <a:lnTo>
                    <a:pt x="123" y="89"/>
                  </a:lnTo>
                  <a:lnTo>
                    <a:pt x="131" y="85"/>
                  </a:lnTo>
                  <a:lnTo>
                    <a:pt x="138" y="82"/>
                  </a:lnTo>
                  <a:lnTo>
                    <a:pt x="147" y="80"/>
                  </a:lnTo>
                  <a:lnTo>
                    <a:pt x="156" y="79"/>
                  </a:lnTo>
                  <a:lnTo>
                    <a:pt x="164" y="78"/>
                  </a:lnTo>
                  <a:lnTo>
                    <a:pt x="164" y="0"/>
                  </a:lnTo>
                  <a:lnTo>
                    <a:pt x="148" y="0"/>
                  </a:lnTo>
                  <a:lnTo>
                    <a:pt x="148" y="0"/>
                  </a:lnTo>
                  <a:lnTo>
                    <a:pt x="144" y="1"/>
                  </a:lnTo>
                  <a:lnTo>
                    <a:pt x="142" y="2"/>
                  </a:lnTo>
                  <a:lnTo>
                    <a:pt x="140" y="5"/>
                  </a:lnTo>
                  <a:lnTo>
                    <a:pt x="140" y="8"/>
                  </a:lnTo>
                  <a:lnTo>
                    <a:pt x="140" y="29"/>
                  </a:lnTo>
                  <a:lnTo>
                    <a:pt x="140" y="29"/>
                  </a:lnTo>
                  <a:lnTo>
                    <a:pt x="128" y="32"/>
                  </a:lnTo>
                  <a:lnTo>
                    <a:pt x="119" y="34"/>
                  </a:lnTo>
                  <a:lnTo>
                    <a:pt x="109" y="18"/>
                  </a:lnTo>
                  <a:lnTo>
                    <a:pt x="109" y="18"/>
                  </a:lnTo>
                  <a:lnTo>
                    <a:pt x="106" y="15"/>
                  </a:lnTo>
                  <a:lnTo>
                    <a:pt x="104" y="13"/>
                  </a:lnTo>
                  <a:lnTo>
                    <a:pt x="100" y="13"/>
                  </a:lnTo>
                  <a:lnTo>
                    <a:pt x="96" y="15"/>
                  </a:lnTo>
                  <a:lnTo>
                    <a:pt x="67" y="32"/>
                  </a:lnTo>
                  <a:lnTo>
                    <a:pt x="67" y="32"/>
                  </a:lnTo>
                  <a:lnTo>
                    <a:pt x="64" y="34"/>
                  </a:lnTo>
                  <a:lnTo>
                    <a:pt x="63" y="37"/>
                  </a:lnTo>
                  <a:lnTo>
                    <a:pt x="63" y="41"/>
                  </a:lnTo>
                  <a:lnTo>
                    <a:pt x="64" y="43"/>
                  </a:lnTo>
                  <a:lnTo>
                    <a:pt x="74" y="62"/>
                  </a:lnTo>
                  <a:lnTo>
                    <a:pt x="74" y="62"/>
                  </a:lnTo>
                  <a:lnTo>
                    <a:pt x="67" y="69"/>
                  </a:lnTo>
                  <a:lnTo>
                    <a:pt x="59" y="76"/>
                  </a:lnTo>
                  <a:lnTo>
                    <a:pt x="42" y="66"/>
                  </a:lnTo>
                  <a:lnTo>
                    <a:pt x="42" y="66"/>
                  </a:lnTo>
                  <a:lnTo>
                    <a:pt x="40" y="65"/>
                  </a:lnTo>
                  <a:lnTo>
                    <a:pt x="36" y="66"/>
                  </a:lnTo>
                  <a:lnTo>
                    <a:pt x="32" y="68"/>
                  </a:lnTo>
                  <a:lnTo>
                    <a:pt x="31" y="70"/>
                  </a:lnTo>
                  <a:lnTo>
                    <a:pt x="14" y="100"/>
                  </a:lnTo>
                  <a:lnTo>
                    <a:pt x="14" y="100"/>
                  </a:lnTo>
                  <a:lnTo>
                    <a:pt x="12" y="102"/>
                  </a:lnTo>
                  <a:lnTo>
                    <a:pt x="12" y="106"/>
                  </a:lnTo>
                  <a:lnTo>
                    <a:pt x="14" y="108"/>
                  </a:lnTo>
                  <a:lnTo>
                    <a:pt x="16" y="111"/>
                  </a:lnTo>
                  <a:lnTo>
                    <a:pt x="35" y="122"/>
                  </a:lnTo>
                  <a:lnTo>
                    <a:pt x="35" y="122"/>
                  </a:lnTo>
                  <a:lnTo>
                    <a:pt x="31" y="132"/>
                  </a:lnTo>
                  <a:lnTo>
                    <a:pt x="29" y="143"/>
                  </a:lnTo>
                  <a:lnTo>
                    <a:pt x="9" y="143"/>
                  </a:lnTo>
                  <a:lnTo>
                    <a:pt x="9" y="143"/>
                  </a:lnTo>
                  <a:lnTo>
                    <a:pt x="6" y="143"/>
                  </a:lnTo>
                  <a:lnTo>
                    <a:pt x="3" y="145"/>
                  </a:lnTo>
                  <a:lnTo>
                    <a:pt x="1" y="148"/>
                  </a:lnTo>
                  <a:lnTo>
                    <a:pt x="0" y="152"/>
                  </a:lnTo>
                  <a:lnTo>
                    <a:pt x="0" y="185"/>
                  </a:lnTo>
                  <a:lnTo>
                    <a:pt x="0" y="185"/>
                  </a:lnTo>
                  <a:lnTo>
                    <a:pt x="1" y="189"/>
                  </a:lnTo>
                  <a:lnTo>
                    <a:pt x="3" y="191"/>
                  </a:lnTo>
                  <a:lnTo>
                    <a:pt x="6" y="194"/>
                  </a:lnTo>
                  <a:lnTo>
                    <a:pt x="9" y="194"/>
                  </a:lnTo>
                  <a:lnTo>
                    <a:pt x="30" y="194"/>
                  </a:lnTo>
                  <a:lnTo>
                    <a:pt x="30" y="194"/>
                  </a:lnTo>
                  <a:lnTo>
                    <a:pt x="32" y="205"/>
                  </a:lnTo>
                  <a:lnTo>
                    <a:pt x="36" y="214"/>
                  </a:lnTo>
                  <a:lnTo>
                    <a:pt x="19" y="224"/>
                  </a:lnTo>
                  <a:lnTo>
                    <a:pt x="19" y="224"/>
                  </a:lnTo>
                  <a:lnTo>
                    <a:pt x="16" y="227"/>
                  </a:lnTo>
                  <a:lnTo>
                    <a:pt x="15" y="229"/>
                  </a:lnTo>
                  <a:lnTo>
                    <a:pt x="14" y="233"/>
                  </a:lnTo>
                  <a:lnTo>
                    <a:pt x="15" y="237"/>
                  </a:lnTo>
                  <a:lnTo>
                    <a:pt x="32" y="266"/>
                  </a:lnTo>
                  <a:lnTo>
                    <a:pt x="32" y="266"/>
                  </a:lnTo>
                  <a:lnTo>
                    <a:pt x="35" y="269"/>
                  </a:lnTo>
                  <a:lnTo>
                    <a:pt x="37" y="270"/>
                  </a:lnTo>
                  <a:lnTo>
                    <a:pt x="41" y="270"/>
                  </a:lnTo>
                  <a:lnTo>
                    <a:pt x="45" y="269"/>
                  </a:lnTo>
                  <a:lnTo>
                    <a:pt x="62" y="259"/>
                  </a:lnTo>
                  <a:lnTo>
                    <a:pt x="62" y="259"/>
                  </a:lnTo>
                  <a:lnTo>
                    <a:pt x="69" y="266"/>
                  </a:lnTo>
                  <a:lnTo>
                    <a:pt x="78" y="274"/>
                  </a:lnTo>
                  <a:lnTo>
                    <a:pt x="68" y="291"/>
                  </a:lnTo>
                  <a:lnTo>
                    <a:pt x="68" y="291"/>
                  </a:lnTo>
                  <a:lnTo>
                    <a:pt x="67" y="295"/>
                  </a:lnTo>
                  <a:lnTo>
                    <a:pt x="67" y="297"/>
                  </a:lnTo>
                  <a:lnTo>
                    <a:pt x="68" y="301"/>
                  </a:lnTo>
                  <a:lnTo>
                    <a:pt x="70" y="302"/>
                  </a:lnTo>
                  <a:lnTo>
                    <a:pt x="100" y="319"/>
                  </a:lnTo>
                  <a:lnTo>
                    <a:pt x="100" y="319"/>
                  </a:lnTo>
                  <a:lnTo>
                    <a:pt x="104" y="321"/>
                  </a:lnTo>
                  <a:lnTo>
                    <a:pt x="106" y="321"/>
                  </a:lnTo>
                  <a:lnTo>
                    <a:pt x="110" y="319"/>
                  </a:lnTo>
                  <a:lnTo>
                    <a:pt x="112" y="317"/>
                  </a:lnTo>
                  <a:lnTo>
                    <a:pt x="122" y="298"/>
                  </a:lnTo>
                  <a:lnTo>
                    <a:pt x="122" y="298"/>
                  </a:lnTo>
                  <a:lnTo>
                    <a:pt x="132" y="302"/>
                  </a:lnTo>
                  <a:lnTo>
                    <a:pt x="143" y="305"/>
                  </a:lnTo>
                  <a:lnTo>
                    <a:pt x="143" y="324"/>
                  </a:lnTo>
                  <a:lnTo>
                    <a:pt x="143" y="324"/>
                  </a:lnTo>
                  <a:lnTo>
                    <a:pt x="144" y="327"/>
                  </a:lnTo>
                  <a:lnTo>
                    <a:pt x="146" y="330"/>
                  </a:lnTo>
                  <a:lnTo>
                    <a:pt x="148" y="332"/>
                  </a:lnTo>
                  <a:lnTo>
                    <a:pt x="152" y="333"/>
                  </a:lnTo>
                  <a:lnTo>
                    <a:pt x="164" y="333"/>
                  </a:lnTo>
                  <a:lnTo>
                    <a:pt x="164" y="255"/>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06">
              <a:extLst>
                <a:ext uri="{FF2B5EF4-FFF2-40B4-BE49-F238E27FC236}">
                  <a16:creationId xmlns:a16="http://schemas.microsoft.com/office/drawing/2014/main" id="{F0EF159D-31FB-7D9F-75A6-4D28E9F71E6F}"/>
                </a:ext>
              </a:extLst>
            </p:cNvPr>
            <p:cNvSpPr>
              <a:spLocks noEditPoints="1"/>
            </p:cNvSpPr>
            <p:nvPr/>
          </p:nvSpPr>
          <p:spPr bwMode="auto">
            <a:xfrm>
              <a:off x="3556000" y="409575"/>
              <a:ext cx="342900" cy="344488"/>
            </a:xfrm>
            <a:custGeom>
              <a:avLst/>
              <a:gdLst>
                <a:gd name="T0" fmla="*/ 97 w 216"/>
                <a:gd name="T1" fmla="*/ 1 h 217"/>
                <a:gd name="T2" fmla="*/ 66 w 216"/>
                <a:gd name="T3" fmla="*/ 8 h 217"/>
                <a:gd name="T4" fmla="*/ 40 w 216"/>
                <a:gd name="T5" fmla="*/ 24 h 217"/>
                <a:gd name="T6" fmla="*/ 19 w 216"/>
                <a:gd name="T7" fmla="*/ 48 h 217"/>
                <a:gd name="T8" fmla="*/ 5 w 216"/>
                <a:gd name="T9" fmla="*/ 76 h 217"/>
                <a:gd name="T10" fmla="*/ 0 w 216"/>
                <a:gd name="T11" fmla="*/ 108 h 217"/>
                <a:gd name="T12" fmla="*/ 2 w 216"/>
                <a:gd name="T13" fmla="*/ 131 h 217"/>
                <a:gd name="T14" fmla="*/ 13 w 216"/>
                <a:gd name="T15" fmla="*/ 160 h 217"/>
                <a:gd name="T16" fmla="*/ 31 w 216"/>
                <a:gd name="T17" fmla="*/ 185 h 217"/>
                <a:gd name="T18" fmla="*/ 56 w 216"/>
                <a:gd name="T19" fmla="*/ 203 h 217"/>
                <a:gd name="T20" fmla="*/ 87 w 216"/>
                <a:gd name="T21" fmla="*/ 214 h 217"/>
                <a:gd name="T22" fmla="*/ 108 w 216"/>
                <a:gd name="T23" fmla="*/ 217 h 217"/>
                <a:gd name="T24" fmla="*/ 140 w 216"/>
                <a:gd name="T25" fmla="*/ 212 h 217"/>
                <a:gd name="T26" fmla="*/ 168 w 216"/>
                <a:gd name="T27" fmla="*/ 198 h 217"/>
                <a:gd name="T28" fmla="*/ 192 w 216"/>
                <a:gd name="T29" fmla="*/ 177 h 217"/>
                <a:gd name="T30" fmla="*/ 208 w 216"/>
                <a:gd name="T31" fmla="*/ 150 h 217"/>
                <a:gd name="T32" fmla="*/ 215 w 216"/>
                <a:gd name="T33" fmla="*/ 119 h 217"/>
                <a:gd name="T34" fmla="*/ 215 w 216"/>
                <a:gd name="T35" fmla="*/ 97 h 217"/>
                <a:gd name="T36" fmla="*/ 208 w 216"/>
                <a:gd name="T37" fmla="*/ 66 h 217"/>
                <a:gd name="T38" fmla="*/ 192 w 216"/>
                <a:gd name="T39" fmla="*/ 39 h 217"/>
                <a:gd name="T40" fmla="*/ 168 w 216"/>
                <a:gd name="T41" fmla="*/ 18 h 217"/>
                <a:gd name="T42" fmla="*/ 140 w 216"/>
                <a:gd name="T43" fmla="*/ 5 h 217"/>
                <a:gd name="T44" fmla="*/ 108 w 216"/>
                <a:gd name="T45" fmla="*/ 0 h 217"/>
                <a:gd name="T46" fmla="*/ 108 w 216"/>
                <a:gd name="T47" fmla="*/ 197 h 217"/>
                <a:gd name="T48" fmla="*/ 82 w 216"/>
                <a:gd name="T49" fmla="*/ 193 h 217"/>
                <a:gd name="T50" fmla="*/ 58 w 216"/>
                <a:gd name="T51" fmla="*/ 182 h 217"/>
                <a:gd name="T52" fmla="*/ 40 w 216"/>
                <a:gd name="T53" fmla="*/ 165 h 217"/>
                <a:gd name="T54" fmla="*/ 26 w 216"/>
                <a:gd name="T55" fmla="*/ 143 h 217"/>
                <a:gd name="T56" fmla="*/ 20 w 216"/>
                <a:gd name="T57" fmla="*/ 117 h 217"/>
                <a:gd name="T58" fmla="*/ 20 w 216"/>
                <a:gd name="T59" fmla="*/ 100 h 217"/>
                <a:gd name="T60" fmla="*/ 26 w 216"/>
                <a:gd name="T61" fmla="*/ 74 h 217"/>
                <a:gd name="T62" fmla="*/ 40 w 216"/>
                <a:gd name="T63" fmla="*/ 52 h 217"/>
                <a:gd name="T64" fmla="*/ 58 w 216"/>
                <a:gd name="T65" fmla="*/ 34 h 217"/>
                <a:gd name="T66" fmla="*/ 82 w 216"/>
                <a:gd name="T67" fmla="*/ 23 h 217"/>
                <a:gd name="T68" fmla="*/ 108 w 216"/>
                <a:gd name="T69" fmla="*/ 20 h 217"/>
                <a:gd name="T70" fmla="*/ 126 w 216"/>
                <a:gd name="T71" fmla="*/ 21 h 217"/>
                <a:gd name="T72" fmla="*/ 151 w 216"/>
                <a:gd name="T73" fmla="*/ 31 h 217"/>
                <a:gd name="T74" fmla="*/ 171 w 216"/>
                <a:gd name="T75" fmla="*/ 45 h 217"/>
                <a:gd name="T76" fmla="*/ 187 w 216"/>
                <a:gd name="T77" fmla="*/ 66 h 217"/>
                <a:gd name="T78" fmla="*/ 195 w 216"/>
                <a:gd name="T79" fmla="*/ 90 h 217"/>
                <a:gd name="T80" fmla="*/ 196 w 216"/>
                <a:gd name="T81" fmla="*/ 108 h 217"/>
                <a:gd name="T82" fmla="*/ 193 w 216"/>
                <a:gd name="T83" fmla="*/ 134 h 217"/>
                <a:gd name="T84" fmla="*/ 182 w 216"/>
                <a:gd name="T85" fmla="*/ 158 h 217"/>
                <a:gd name="T86" fmla="*/ 164 w 216"/>
                <a:gd name="T87" fmla="*/ 176 h 217"/>
                <a:gd name="T88" fmla="*/ 142 w 216"/>
                <a:gd name="T89" fmla="*/ 190 h 217"/>
                <a:gd name="T90" fmla="*/ 118 w 216"/>
                <a:gd name="T91" fmla="*/ 19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6" h="217">
                  <a:moveTo>
                    <a:pt x="108" y="0"/>
                  </a:moveTo>
                  <a:lnTo>
                    <a:pt x="108" y="0"/>
                  </a:lnTo>
                  <a:lnTo>
                    <a:pt x="97" y="1"/>
                  </a:lnTo>
                  <a:lnTo>
                    <a:pt x="87" y="2"/>
                  </a:lnTo>
                  <a:lnTo>
                    <a:pt x="76" y="5"/>
                  </a:lnTo>
                  <a:lnTo>
                    <a:pt x="66" y="8"/>
                  </a:lnTo>
                  <a:lnTo>
                    <a:pt x="56" y="13"/>
                  </a:lnTo>
                  <a:lnTo>
                    <a:pt x="47" y="18"/>
                  </a:lnTo>
                  <a:lnTo>
                    <a:pt x="40" y="24"/>
                  </a:lnTo>
                  <a:lnTo>
                    <a:pt x="31" y="32"/>
                  </a:lnTo>
                  <a:lnTo>
                    <a:pt x="25" y="39"/>
                  </a:lnTo>
                  <a:lnTo>
                    <a:pt x="19" y="48"/>
                  </a:lnTo>
                  <a:lnTo>
                    <a:pt x="13" y="57"/>
                  </a:lnTo>
                  <a:lnTo>
                    <a:pt x="9" y="66"/>
                  </a:lnTo>
                  <a:lnTo>
                    <a:pt x="5" y="76"/>
                  </a:lnTo>
                  <a:lnTo>
                    <a:pt x="2" y="86"/>
                  </a:lnTo>
                  <a:lnTo>
                    <a:pt x="0" y="97"/>
                  </a:lnTo>
                  <a:lnTo>
                    <a:pt x="0" y="108"/>
                  </a:lnTo>
                  <a:lnTo>
                    <a:pt x="0" y="108"/>
                  </a:lnTo>
                  <a:lnTo>
                    <a:pt x="0" y="119"/>
                  </a:lnTo>
                  <a:lnTo>
                    <a:pt x="2" y="131"/>
                  </a:lnTo>
                  <a:lnTo>
                    <a:pt x="5" y="140"/>
                  </a:lnTo>
                  <a:lnTo>
                    <a:pt x="9" y="150"/>
                  </a:lnTo>
                  <a:lnTo>
                    <a:pt x="13" y="160"/>
                  </a:lnTo>
                  <a:lnTo>
                    <a:pt x="19" y="169"/>
                  </a:lnTo>
                  <a:lnTo>
                    <a:pt x="25" y="177"/>
                  </a:lnTo>
                  <a:lnTo>
                    <a:pt x="31" y="185"/>
                  </a:lnTo>
                  <a:lnTo>
                    <a:pt x="40" y="191"/>
                  </a:lnTo>
                  <a:lnTo>
                    <a:pt x="47" y="198"/>
                  </a:lnTo>
                  <a:lnTo>
                    <a:pt x="56" y="203"/>
                  </a:lnTo>
                  <a:lnTo>
                    <a:pt x="66" y="208"/>
                  </a:lnTo>
                  <a:lnTo>
                    <a:pt x="76" y="212"/>
                  </a:lnTo>
                  <a:lnTo>
                    <a:pt x="87" y="214"/>
                  </a:lnTo>
                  <a:lnTo>
                    <a:pt x="97" y="216"/>
                  </a:lnTo>
                  <a:lnTo>
                    <a:pt x="108" y="217"/>
                  </a:lnTo>
                  <a:lnTo>
                    <a:pt x="108" y="217"/>
                  </a:lnTo>
                  <a:lnTo>
                    <a:pt x="119" y="216"/>
                  </a:lnTo>
                  <a:lnTo>
                    <a:pt x="130" y="214"/>
                  </a:lnTo>
                  <a:lnTo>
                    <a:pt x="140" y="212"/>
                  </a:lnTo>
                  <a:lnTo>
                    <a:pt x="150" y="208"/>
                  </a:lnTo>
                  <a:lnTo>
                    <a:pt x="159" y="203"/>
                  </a:lnTo>
                  <a:lnTo>
                    <a:pt x="168" y="198"/>
                  </a:lnTo>
                  <a:lnTo>
                    <a:pt x="177" y="191"/>
                  </a:lnTo>
                  <a:lnTo>
                    <a:pt x="184" y="185"/>
                  </a:lnTo>
                  <a:lnTo>
                    <a:pt x="192" y="177"/>
                  </a:lnTo>
                  <a:lnTo>
                    <a:pt x="198" y="169"/>
                  </a:lnTo>
                  <a:lnTo>
                    <a:pt x="203" y="160"/>
                  </a:lnTo>
                  <a:lnTo>
                    <a:pt x="208" y="150"/>
                  </a:lnTo>
                  <a:lnTo>
                    <a:pt x="211" y="140"/>
                  </a:lnTo>
                  <a:lnTo>
                    <a:pt x="214" y="131"/>
                  </a:lnTo>
                  <a:lnTo>
                    <a:pt x="215" y="119"/>
                  </a:lnTo>
                  <a:lnTo>
                    <a:pt x="216" y="108"/>
                  </a:lnTo>
                  <a:lnTo>
                    <a:pt x="216" y="108"/>
                  </a:lnTo>
                  <a:lnTo>
                    <a:pt x="215" y="97"/>
                  </a:lnTo>
                  <a:lnTo>
                    <a:pt x="214" y="86"/>
                  </a:lnTo>
                  <a:lnTo>
                    <a:pt x="211" y="76"/>
                  </a:lnTo>
                  <a:lnTo>
                    <a:pt x="208" y="66"/>
                  </a:lnTo>
                  <a:lnTo>
                    <a:pt x="203" y="57"/>
                  </a:lnTo>
                  <a:lnTo>
                    <a:pt x="198" y="48"/>
                  </a:lnTo>
                  <a:lnTo>
                    <a:pt x="192" y="39"/>
                  </a:lnTo>
                  <a:lnTo>
                    <a:pt x="184" y="32"/>
                  </a:lnTo>
                  <a:lnTo>
                    <a:pt x="177" y="24"/>
                  </a:lnTo>
                  <a:lnTo>
                    <a:pt x="168" y="18"/>
                  </a:lnTo>
                  <a:lnTo>
                    <a:pt x="159" y="13"/>
                  </a:lnTo>
                  <a:lnTo>
                    <a:pt x="150" y="8"/>
                  </a:lnTo>
                  <a:lnTo>
                    <a:pt x="140" y="5"/>
                  </a:lnTo>
                  <a:lnTo>
                    <a:pt x="130" y="2"/>
                  </a:lnTo>
                  <a:lnTo>
                    <a:pt x="119" y="1"/>
                  </a:lnTo>
                  <a:lnTo>
                    <a:pt x="108" y="0"/>
                  </a:lnTo>
                  <a:lnTo>
                    <a:pt x="108" y="0"/>
                  </a:lnTo>
                  <a:close/>
                  <a:moveTo>
                    <a:pt x="108" y="197"/>
                  </a:moveTo>
                  <a:lnTo>
                    <a:pt x="108" y="197"/>
                  </a:lnTo>
                  <a:lnTo>
                    <a:pt x="99" y="196"/>
                  </a:lnTo>
                  <a:lnTo>
                    <a:pt x="90" y="195"/>
                  </a:lnTo>
                  <a:lnTo>
                    <a:pt x="82" y="193"/>
                  </a:lnTo>
                  <a:lnTo>
                    <a:pt x="73" y="190"/>
                  </a:lnTo>
                  <a:lnTo>
                    <a:pt x="66" y="186"/>
                  </a:lnTo>
                  <a:lnTo>
                    <a:pt x="58" y="182"/>
                  </a:lnTo>
                  <a:lnTo>
                    <a:pt x="51" y="176"/>
                  </a:lnTo>
                  <a:lnTo>
                    <a:pt x="45" y="171"/>
                  </a:lnTo>
                  <a:lnTo>
                    <a:pt x="40" y="165"/>
                  </a:lnTo>
                  <a:lnTo>
                    <a:pt x="35" y="158"/>
                  </a:lnTo>
                  <a:lnTo>
                    <a:pt x="30" y="150"/>
                  </a:lnTo>
                  <a:lnTo>
                    <a:pt x="26" y="143"/>
                  </a:lnTo>
                  <a:lnTo>
                    <a:pt x="24" y="134"/>
                  </a:lnTo>
                  <a:lnTo>
                    <a:pt x="21" y="126"/>
                  </a:lnTo>
                  <a:lnTo>
                    <a:pt x="20" y="117"/>
                  </a:lnTo>
                  <a:lnTo>
                    <a:pt x="19" y="108"/>
                  </a:lnTo>
                  <a:lnTo>
                    <a:pt x="19" y="108"/>
                  </a:lnTo>
                  <a:lnTo>
                    <a:pt x="20" y="100"/>
                  </a:lnTo>
                  <a:lnTo>
                    <a:pt x="21" y="90"/>
                  </a:lnTo>
                  <a:lnTo>
                    <a:pt x="24" y="82"/>
                  </a:lnTo>
                  <a:lnTo>
                    <a:pt x="26" y="74"/>
                  </a:lnTo>
                  <a:lnTo>
                    <a:pt x="30" y="66"/>
                  </a:lnTo>
                  <a:lnTo>
                    <a:pt x="35" y="59"/>
                  </a:lnTo>
                  <a:lnTo>
                    <a:pt x="40" y="52"/>
                  </a:lnTo>
                  <a:lnTo>
                    <a:pt x="45" y="45"/>
                  </a:lnTo>
                  <a:lnTo>
                    <a:pt x="51" y="39"/>
                  </a:lnTo>
                  <a:lnTo>
                    <a:pt x="58" y="34"/>
                  </a:lnTo>
                  <a:lnTo>
                    <a:pt x="66" y="31"/>
                  </a:lnTo>
                  <a:lnTo>
                    <a:pt x="73" y="27"/>
                  </a:lnTo>
                  <a:lnTo>
                    <a:pt x="82" y="23"/>
                  </a:lnTo>
                  <a:lnTo>
                    <a:pt x="90" y="21"/>
                  </a:lnTo>
                  <a:lnTo>
                    <a:pt x="99" y="20"/>
                  </a:lnTo>
                  <a:lnTo>
                    <a:pt x="108" y="20"/>
                  </a:lnTo>
                  <a:lnTo>
                    <a:pt x="108" y="20"/>
                  </a:lnTo>
                  <a:lnTo>
                    <a:pt x="118" y="20"/>
                  </a:lnTo>
                  <a:lnTo>
                    <a:pt x="126" y="21"/>
                  </a:lnTo>
                  <a:lnTo>
                    <a:pt x="135" y="23"/>
                  </a:lnTo>
                  <a:lnTo>
                    <a:pt x="142" y="27"/>
                  </a:lnTo>
                  <a:lnTo>
                    <a:pt x="151" y="31"/>
                  </a:lnTo>
                  <a:lnTo>
                    <a:pt x="157" y="34"/>
                  </a:lnTo>
                  <a:lnTo>
                    <a:pt x="164" y="39"/>
                  </a:lnTo>
                  <a:lnTo>
                    <a:pt x="171" y="45"/>
                  </a:lnTo>
                  <a:lnTo>
                    <a:pt x="177" y="52"/>
                  </a:lnTo>
                  <a:lnTo>
                    <a:pt x="182" y="59"/>
                  </a:lnTo>
                  <a:lnTo>
                    <a:pt x="187" y="66"/>
                  </a:lnTo>
                  <a:lnTo>
                    <a:pt x="190" y="74"/>
                  </a:lnTo>
                  <a:lnTo>
                    <a:pt x="193" y="82"/>
                  </a:lnTo>
                  <a:lnTo>
                    <a:pt x="195" y="90"/>
                  </a:lnTo>
                  <a:lnTo>
                    <a:pt x="196" y="100"/>
                  </a:lnTo>
                  <a:lnTo>
                    <a:pt x="196" y="108"/>
                  </a:lnTo>
                  <a:lnTo>
                    <a:pt x="196" y="108"/>
                  </a:lnTo>
                  <a:lnTo>
                    <a:pt x="196" y="117"/>
                  </a:lnTo>
                  <a:lnTo>
                    <a:pt x="195" y="126"/>
                  </a:lnTo>
                  <a:lnTo>
                    <a:pt x="193" y="134"/>
                  </a:lnTo>
                  <a:lnTo>
                    <a:pt x="190" y="143"/>
                  </a:lnTo>
                  <a:lnTo>
                    <a:pt x="187" y="150"/>
                  </a:lnTo>
                  <a:lnTo>
                    <a:pt x="182" y="158"/>
                  </a:lnTo>
                  <a:lnTo>
                    <a:pt x="177" y="165"/>
                  </a:lnTo>
                  <a:lnTo>
                    <a:pt x="171" y="171"/>
                  </a:lnTo>
                  <a:lnTo>
                    <a:pt x="164" y="176"/>
                  </a:lnTo>
                  <a:lnTo>
                    <a:pt x="157" y="182"/>
                  </a:lnTo>
                  <a:lnTo>
                    <a:pt x="151" y="186"/>
                  </a:lnTo>
                  <a:lnTo>
                    <a:pt x="142" y="190"/>
                  </a:lnTo>
                  <a:lnTo>
                    <a:pt x="135" y="193"/>
                  </a:lnTo>
                  <a:lnTo>
                    <a:pt x="126" y="195"/>
                  </a:lnTo>
                  <a:lnTo>
                    <a:pt x="118" y="196"/>
                  </a:lnTo>
                  <a:lnTo>
                    <a:pt x="108" y="197"/>
                  </a:lnTo>
                  <a:lnTo>
                    <a:pt x="108" y="197"/>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07">
              <a:extLst>
                <a:ext uri="{FF2B5EF4-FFF2-40B4-BE49-F238E27FC236}">
                  <a16:creationId xmlns:a16="http://schemas.microsoft.com/office/drawing/2014/main" id="{52E36340-1323-15F5-25E1-B06101884F97}"/>
                </a:ext>
              </a:extLst>
            </p:cNvPr>
            <p:cNvSpPr>
              <a:spLocks/>
            </p:cNvSpPr>
            <p:nvPr/>
          </p:nvSpPr>
          <p:spPr bwMode="auto">
            <a:xfrm>
              <a:off x="3722688" y="409575"/>
              <a:ext cx="176213" cy="344488"/>
            </a:xfrm>
            <a:custGeom>
              <a:avLst/>
              <a:gdLst>
                <a:gd name="T0" fmla="*/ 3 w 111"/>
                <a:gd name="T1" fmla="*/ 0 h 217"/>
                <a:gd name="T2" fmla="*/ 0 w 111"/>
                <a:gd name="T3" fmla="*/ 20 h 217"/>
                <a:gd name="T4" fmla="*/ 3 w 111"/>
                <a:gd name="T5" fmla="*/ 20 h 217"/>
                <a:gd name="T6" fmla="*/ 13 w 111"/>
                <a:gd name="T7" fmla="*/ 20 h 217"/>
                <a:gd name="T8" fmla="*/ 30 w 111"/>
                <a:gd name="T9" fmla="*/ 23 h 217"/>
                <a:gd name="T10" fmla="*/ 46 w 111"/>
                <a:gd name="T11" fmla="*/ 31 h 217"/>
                <a:gd name="T12" fmla="*/ 59 w 111"/>
                <a:gd name="T13" fmla="*/ 39 h 217"/>
                <a:gd name="T14" fmla="*/ 72 w 111"/>
                <a:gd name="T15" fmla="*/ 52 h 217"/>
                <a:gd name="T16" fmla="*/ 82 w 111"/>
                <a:gd name="T17" fmla="*/ 66 h 217"/>
                <a:gd name="T18" fmla="*/ 88 w 111"/>
                <a:gd name="T19" fmla="*/ 82 h 217"/>
                <a:gd name="T20" fmla="*/ 91 w 111"/>
                <a:gd name="T21" fmla="*/ 100 h 217"/>
                <a:gd name="T22" fmla="*/ 91 w 111"/>
                <a:gd name="T23" fmla="*/ 108 h 217"/>
                <a:gd name="T24" fmla="*/ 90 w 111"/>
                <a:gd name="T25" fmla="*/ 126 h 217"/>
                <a:gd name="T26" fmla="*/ 85 w 111"/>
                <a:gd name="T27" fmla="*/ 143 h 217"/>
                <a:gd name="T28" fmla="*/ 77 w 111"/>
                <a:gd name="T29" fmla="*/ 158 h 217"/>
                <a:gd name="T30" fmla="*/ 66 w 111"/>
                <a:gd name="T31" fmla="*/ 171 h 217"/>
                <a:gd name="T32" fmla="*/ 52 w 111"/>
                <a:gd name="T33" fmla="*/ 182 h 217"/>
                <a:gd name="T34" fmla="*/ 37 w 111"/>
                <a:gd name="T35" fmla="*/ 190 h 217"/>
                <a:gd name="T36" fmla="*/ 21 w 111"/>
                <a:gd name="T37" fmla="*/ 195 h 217"/>
                <a:gd name="T38" fmla="*/ 3 w 111"/>
                <a:gd name="T39" fmla="*/ 197 h 217"/>
                <a:gd name="T40" fmla="*/ 0 w 111"/>
                <a:gd name="T41" fmla="*/ 197 h 217"/>
                <a:gd name="T42" fmla="*/ 0 w 111"/>
                <a:gd name="T43" fmla="*/ 216 h 217"/>
                <a:gd name="T44" fmla="*/ 3 w 111"/>
                <a:gd name="T45" fmla="*/ 217 h 217"/>
                <a:gd name="T46" fmla="*/ 25 w 111"/>
                <a:gd name="T47" fmla="*/ 214 h 217"/>
                <a:gd name="T48" fmla="*/ 45 w 111"/>
                <a:gd name="T49" fmla="*/ 208 h 217"/>
                <a:gd name="T50" fmla="*/ 63 w 111"/>
                <a:gd name="T51" fmla="*/ 198 h 217"/>
                <a:gd name="T52" fmla="*/ 79 w 111"/>
                <a:gd name="T53" fmla="*/ 185 h 217"/>
                <a:gd name="T54" fmla="*/ 93 w 111"/>
                <a:gd name="T55" fmla="*/ 169 h 217"/>
                <a:gd name="T56" fmla="*/ 103 w 111"/>
                <a:gd name="T57" fmla="*/ 150 h 217"/>
                <a:gd name="T58" fmla="*/ 109 w 111"/>
                <a:gd name="T59" fmla="*/ 131 h 217"/>
                <a:gd name="T60" fmla="*/ 111 w 111"/>
                <a:gd name="T61" fmla="*/ 108 h 217"/>
                <a:gd name="T62" fmla="*/ 110 w 111"/>
                <a:gd name="T63" fmla="*/ 97 h 217"/>
                <a:gd name="T64" fmla="*/ 106 w 111"/>
                <a:gd name="T65" fmla="*/ 76 h 217"/>
                <a:gd name="T66" fmla="*/ 98 w 111"/>
                <a:gd name="T67" fmla="*/ 57 h 217"/>
                <a:gd name="T68" fmla="*/ 87 w 111"/>
                <a:gd name="T69" fmla="*/ 39 h 217"/>
                <a:gd name="T70" fmla="*/ 72 w 111"/>
                <a:gd name="T71" fmla="*/ 24 h 217"/>
                <a:gd name="T72" fmla="*/ 54 w 111"/>
                <a:gd name="T73" fmla="*/ 13 h 217"/>
                <a:gd name="T74" fmla="*/ 35 w 111"/>
                <a:gd name="T75" fmla="*/ 5 h 217"/>
                <a:gd name="T76" fmla="*/ 14 w 111"/>
                <a:gd name="T77" fmla="*/ 1 h 217"/>
                <a:gd name="T78" fmla="*/ 3 w 111"/>
                <a:gd name="T7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1" h="217">
                  <a:moveTo>
                    <a:pt x="3" y="0"/>
                  </a:moveTo>
                  <a:lnTo>
                    <a:pt x="3" y="0"/>
                  </a:lnTo>
                  <a:lnTo>
                    <a:pt x="0" y="0"/>
                  </a:lnTo>
                  <a:lnTo>
                    <a:pt x="0" y="20"/>
                  </a:lnTo>
                  <a:lnTo>
                    <a:pt x="0" y="20"/>
                  </a:lnTo>
                  <a:lnTo>
                    <a:pt x="3" y="20"/>
                  </a:lnTo>
                  <a:lnTo>
                    <a:pt x="3" y="20"/>
                  </a:lnTo>
                  <a:lnTo>
                    <a:pt x="13" y="20"/>
                  </a:lnTo>
                  <a:lnTo>
                    <a:pt x="21" y="21"/>
                  </a:lnTo>
                  <a:lnTo>
                    <a:pt x="30" y="23"/>
                  </a:lnTo>
                  <a:lnTo>
                    <a:pt x="37" y="27"/>
                  </a:lnTo>
                  <a:lnTo>
                    <a:pt x="46" y="31"/>
                  </a:lnTo>
                  <a:lnTo>
                    <a:pt x="52" y="34"/>
                  </a:lnTo>
                  <a:lnTo>
                    <a:pt x="59" y="39"/>
                  </a:lnTo>
                  <a:lnTo>
                    <a:pt x="66" y="45"/>
                  </a:lnTo>
                  <a:lnTo>
                    <a:pt x="72" y="52"/>
                  </a:lnTo>
                  <a:lnTo>
                    <a:pt x="77" y="59"/>
                  </a:lnTo>
                  <a:lnTo>
                    <a:pt x="82" y="66"/>
                  </a:lnTo>
                  <a:lnTo>
                    <a:pt x="85" y="74"/>
                  </a:lnTo>
                  <a:lnTo>
                    <a:pt x="88" y="82"/>
                  </a:lnTo>
                  <a:lnTo>
                    <a:pt x="90" y="90"/>
                  </a:lnTo>
                  <a:lnTo>
                    <a:pt x="91" y="100"/>
                  </a:lnTo>
                  <a:lnTo>
                    <a:pt x="91" y="108"/>
                  </a:lnTo>
                  <a:lnTo>
                    <a:pt x="91" y="108"/>
                  </a:lnTo>
                  <a:lnTo>
                    <a:pt x="91" y="117"/>
                  </a:lnTo>
                  <a:lnTo>
                    <a:pt x="90" y="126"/>
                  </a:lnTo>
                  <a:lnTo>
                    <a:pt x="88" y="134"/>
                  </a:lnTo>
                  <a:lnTo>
                    <a:pt x="85" y="143"/>
                  </a:lnTo>
                  <a:lnTo>
                    <a:pt x="82" y="150"/>
                  </a:lnTo>
                  <a:lnTo>
                    <a:pt x="77" y="158"/>
                  </a:lnTo>
                  <a:lnTo>
                    <a:pt x="72" y="165"/>
                  </a:lnTo>
                  <a:lnTo>
                    <a:pt x="66" y="171"/>
                  </a:lnTo>
                  <a:lnTo>
                    <a:pt x="59" y="176"/>
                  </a:lnTo>
                  <a:lnTo>
                    <a:pt x="52" y="182"/>
                  </a:lnTo>
                  <a:lnTo>
                    <a:pt x="46" y="186"/>
                  </a:lnTo>
                  <a:lnTo>
                    <a:pt x="37" y="190"/>
                  </a:lnTo>
                  <a:lnTo>
                    <a:pt x="30" y="193"/>
                  </a:lnTo>
                  <a:lnTo>
                    <a:pt x="21" y="195"/>
                  </a:lnTo>
                  <a:lnTo>
                    <a:pt x="13" y="196"/>
                  </a:lnTo>
                  <a:lnTo>
                    <a:pt x="3" y="197"/>
                  </a:lnTo>
                  <a:lnTo>
                    <a:pt x="3" y="197"/>
                  </a:lnTo>
                  <a:lnTo>
                    <a:pt x="0" y="197"/>
                  </a:lnTo>
                  <a:lnTo>
                    <a:pt x="0" y="216"/>
                  </a:lnTo>
                  <a:lnTo>
                    <a:pt x="0" y="216"/>
                  </a:lnTo>
                  <a:lnTo>
                    <a:pt x="3" y="217"/>
                  </a:lnTo>
                  <a:lnTo>
                    <a:pt x="3" y="217"/>
                  </a:lnTo>
                  <a:lnTo>
                    <a:pt x="14" y="216"/>
                  </a:lnTo>
                  <a:lnTo>
                    <a:pt x="25" y="214"/>
                  </a:lnTo>
                  <a:lnTo>
                    <a:pt x="35" y="212"/>
                  </a:lnTo>
                  <a:lnTo>
                    <a:pt x="45" y="208"/>
                  </a:lnTo>
                  <a:lnTo>
                    <a:pt x="54" y="203"/>
                  </a:lnTo>
                  <a:lnTo>
                    <a:pt x="63" y="198"/>
                  </a:lnTo>
                  <a:lnTo>
                    <a:pt x="72" y="191"/>
                  </a:lnTo>
                  <a:lnTo>
                    <a:pt x="79" y="185"/>
                  </a:lnTo>
                  <a:lnTo>
                    <a:pt x="87" y="177"/>
                  </a:lnTo>
                  <a:lnTo>
                    <a:pt x="93" y="169"/>
                  </a:lnTo>
                  <a:lnTo>
                    <a:pt x="98" y="160"/>
                  </a:lnTo>
                  <a:lnTo>
                    <a:pt x="103" y="150"/>
                  </a:lnTo>
                  <a:lnTo>
                    <a:pt x="106" y="140"/>
                  </a:lnTo>
                  <a:lnTo>
                    <a:pt x="109" y="131"/>
                  </a:lnTo>
                  <a:lnTo>
                    <a:pt x="110" y="119"/>
                  </a:lnTo>
                  <a:lnTo>
                    <a:pt x="111" y="108"/>
                  </a:lnTo>
                  <a:lnTo>
                    <a:pt x="111" y="108"/>
                  </a:lnTo>
                  <a:lnTo>
                    <a:pt x="110" y="97"/>
                  </a:lnTo>
                  <a:lnTo>
                    <a:pt x="109" y="86"/>
                  </a:lnTo>
                  <a:lnTo>
                    <a:pt x="106" y="76"/>
                  </a:lnTo>
                  <a:lnTo>
                    <a:pt x="103" y="66"/>
                  </a:lnTo>
                  <a:lnTo>
                    <a:pt x="98" y="57"/>
                  </a:lnTo>
                  <a:lnTo>
                    <a:pt x="93" y="48"/>
                  </a:lnTo>
                  <a:lnTo>
                    <a:pt x="87" y="39"/>
                  </a:lnTo>
                  <a:lnTo>
                    <a:pt x="79" y="32"/>
                  </a:lnTo>
                  <a:lnTo>
                    <a:pt x="72" y="24"/>
                  </a:lnTo>
                  <a:lnTo>
                    <a:pt x="63" y="18"/>
                  </a:lnTo>
                  <a:lnTo>
                    <a:pt x="54" y="13"/>
                  </a:lnTo>
                  <a:lnTo>
                    <a:pt x="45" y="8"/>
                  </a:lnTo>
                  <a:lnTo>
                    <a:pt x="35" y="5"/>
                  </a:lnTo>
                  <a:lnTo>
                    <a:pt x="25" y="2"/>
                  </a:lnTo>
                  <a:lnTo>
                    <a:pt x="14" y="1"/>
                  </a:lnTo>
                  <a:lnTo>
                    <a:pt x="3" y="0"/>
                  </a:lnTo>
                  <a:lnTo>
                    <a:pt x="3" y="0"/>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08">
              <a:extLst>
                <a:ext uri="{FF2B5EF4-FFF2-40B4-BE49-F238E27FC236}">
                  <a16:creationId xmlns:a16="http://schemas.microsoft.com/office/drawing/2014/main" id="{26DABD3B-0D91-19D0-2F80-D8682B59CBCE}"/>
                </a:ext>
              </a:extLst>
            </p:cNvPr>
            <p:cNvSpPr>
              <a:spLocks/>
            </p:cNvSpPr>
            <p:nvPr/>
          </p:nvSpPr>
          <p:spPr bwMode="auto">
            <a:xfrm>
              <a:off x="3762375" y="617538"/>
              <a:ext cx="276225" cy="276225"/>
            </a:xfrm>
            <a:custGeom>
              <a:avLst/>
              <a:gdLst>
                <a:gd name="T0" fmla="*/ 164 w 174"/>
                <a:gd name="T1" fmla="*/ 164 h 174"/>
                <a:gd name="T2" fmla="*/ 164 w 174"/>
                <a:gd name="T3" fmla="*/ 164 h 174"/>
                <a:gd name="T4" fmla="*/ 164 w 174"/>
                <a:gd name="T5" fmla="*/ 164 h 174"/>
                <a:gd name="T6" fmla="*/ 164 w 174"/>
                <a:gd name="T7" fmla="*/ 164 h 174"/>
                <a:gd name="T8" fmla="*/ 158 w 174"/>
                <a:gd name="T9" fmla="*/ 169 h 174"/>
                <a:gd name="T10" fmla="*/ 152 w 174"/>
                <a:gd name="T11" fmla="*/ 171 h 174"/>
                <a:gd name="T12" fmla="*/ 145 w 174"/>
                <a:gd name="T13" fmla="*/ 174 h 174"/>
                <a:gd name="T14" fmla="*/ 139 w 174"/>
                <a:gd name="T15" fmla="*/ 174 h 174"/>
                <a:gd name="T16" fmla="*/ 133 w 174"/>
                <a:gd name="T17" fmla="*/ 174 h 174"/>
                <a:gd name="T18" fmla="*/ 127 w 174"/>
                <a:gd name="T19" fmla="*/ 171 h 174"/>
                <a:gd name="T20" fmla="*/ 121 w 174"/>
                <a:gd name="T21" fmla="*/ 169 h 174"/>
                <a:gd name="T22" fmla="*/ 115 w 174"/>
                <a:gd name="T23" fmla="*/ 164 h 174"/>
                <a:gd name="T24" fmla="*/ 10 w 174"/>
                <a:gd name="T25" fmla="*/ 59 h 174"/>
                <a:gd name="T26" fmla="*/ 10 w 174"/>
                <a:gd name="T27" fmla="*/ 59 h 174"/>
                <a:gd name="T28" fmla="*/ 6 w 174"/>
                <a:gd name="T29" fmla="*/ 53 h 174"/>
                <a:gd name="T30" fmla="*/ 2 w 174"/>
                <a:gd name="T31" fmla="*/ 48 h 174"/>
                <a:gd name="T32" fmla="*/ 1 w 174"/>
                <a:gd name="T33" fmla="*/ 40 h 174"/>
                <a:gd name="T34" fmla="*/ 0 w 174"/>
                <a:gd name="T35" fmla="*/ 34 h 174"/>
                <a:gd name="T36" fmla="*/ 1 w 174"/>
                <a:gd name="T37" fmla="*/ 28 h 174"/>
                <a:gd name="T38" fmla="*/ 2 w 174"/>
                <a:gd name="T39" fmla="*/ 22 h 174"/>
                <a:gd name="T40" fmla="*/ 6 w 174"/>
                <a:gd name="T41" fmla="*/ 16 h 174"/>
                <a:gd name="T42" fmla="*/ 10 w 174"/>
                <a:gd name="T43" fmla="*/ 9 h 174"/>
                <a:gd name="T44" fmla="*/ 10 w 174"/>
                <a:gd name="T45" fmla="*/ 9 h 174"/>
                <a:gd name="T46" fmla="*/ 10 w 174"/>
                <a:gd name="T47" fmla="*/ 9 h 174"/>
                <a:gd name="T48" fmla="*/ 10 w 174"/>
                <a:gd name="T49" fmla="*/ 9 h 174"/>
                <a:gd name="T50" fmla="*/ 16 w 174"/>
                <a:gd name="T51" fmla="*/ 6 h 174"/>
                <a:gd name="T52" fmla="*/ 22 w 174"/>
                <a:gd name="T53" fmla="*/ 2 h 174"/>
                <a:gd name="T54" fmla="*/ 28 w 174"/>
                <a:gd name="T55" fmla="*/ 1 h 174"/>
                <a:gd name="T56" fmla="*/ 34 w 174"/>
                <a:gd name="T57" fmla="*/ 0 h 174"/>
                <a:gd name="T58" fmla="*/ 42 w 174"/>
                <a:gd name="T59" fmla="*/ 1 h 174"/>
                <a:gd name="T60" fmla="*/ 48 w 174"/>
                <a:gd name="T61" fmla="*/ 2 h 174"/>
                <a:gd name="T62" fmla="*/ 53 w 174"/>
                <a:gd name="T63" fmla="*/ 6 h 174"/>
                <a:gd name="T64" fmla="*/ 59 w 174"/>
                <a:gd name="T65" fmla="*/ 11 h 174"/>
                <a:gd name="T66" fmla="*/ 164 w 174"/>
                <a:gd name="T67" fmla="*/ 116 h 174"/>
                <a:gd name="T68" fmla="*/ 164 w 174"/>
                <a:gd name="T69" fmla="*/ 116 h 174"/>
                <a:gd name="T70" fmla="*/ 168 w 174"/>
                <a:gd name="T71" fmla="*/ 120 h 174"/>
                <a:gd name="T72" fmla="*/ 171 w 174"/>
                <a:gd name="T73" fmla="*/ 127 h 174"/>
                <a:gd name="T74" fmla="*/ 173 w 174"/>
                <a:gd name="T75" fmla="*/ 133 h 174"/>
                <a:gd name="T76" fmla="*/ 174 w 174"/>
                <a:gd name="T77" fmla="*/ 140 h 174"/>
                <a:gd name="T78" fmla="*/ 173 w 174"/>
                <a:gd name="T79" fmla="*/ 146 h 174"/>
                <a:gd name="T80" fmla="*/ 171 w 174"/>
                <a:gd name="T81" fmla="*/ 153 h 174"/>
                <a:gd name="T82" fmla="*/ 168 w 174"/>
                <a:gd name="T83" fmla="*/ 159 h 174"/>
                <a:gd name="T84" fmla="*/ 164 w 174"/>
                <a:gd name="T85" fmla="*/ 164 h 174"/>
                <a:gd name="T86" fmla="*/ 164 w 174"/>
                <a:gd name="T87" fmla="*/ 16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4" h="174">
                  <a:moveTo>
                    <a:pt x="164" y="164"/>
                  </a:moveTo>
                  <a:lnTo>
                    <a:pt x="164" y="164"/>
                  </a:lnTo>
                  <a:lnTo>
                    <a:pt x="164" y="164"/>
                  </a:lnTo>
                  <a:lnTo>
                    <a:pt x="164" y="164"/>
                  </a:lnTo>
                  <a:lnTo>
                    <a:pt x="158" y="169"/>
                  </a:lnTo>
                  <a:lnTo>
                    <a:pt x="152" y="171"/>
                  </a:lnTo>
                  <a:lnTo>
                    <a:pt x="145" y="174"/>
                  </a:lnTo>
                  <a:lnTo>
                    <a:pt x="139" y="174"/>
                  </a:lnTo>
                  <a:lnTo>
                    <a:pt x="133" y="174"/>
                  </a:lnTo>
                  <a:lnTo>
                    <a:pt x="127" y="171"/>
                  </a:lnTo>
                  <a:lnTo>
                    <a:pt x="121" y="169"/>
                  </a:lnTo>
                  <a:lnTo>
                    <a:pt x="115" y="164"/>
                  </a:lnTo>
                  <a:lnTo>
                    <a:pt x="10" y="59"/>
                  </a:lnTo>
                  <a:lnTo>
                    <a:pt x="10" y="59"/>
                  </a:lnTo>
                  <a:lnTo>
                    <a:pt x="6" y="53"/>
                  </a:lnTo>
                  <a:lnTo>
                    <a:pt x="2" y="48"/>
                  </a:lnTo>
                  <a:lnTo>
                    <a:pt x="1" y="40"/>
                  </a:lnTo>
                  <a:lnTo>
                    <a:pt x="0" y="34"/>
                  </a:lnTo>
                  <a:lnTo>
                    <a:pt x="1" y="28"/>
                  </a:lnTo>
                  <a:lnTo>
                    <a:pt x="2" y="22"/>
                  </a:lnTo>
                  <a:lnTo>
                    <a:pt x="6" y="16"/>
                  </a:lnTo>
                  <a:lnTo>
                    <a:pt x="10" y="9"/>
                  </a:lnTo>
                  <a:lnTo>
                    <a:pt x="10" y="9"/>
                  </a:lnTo>
                  <a:lnTo>
                    <a:pt x="10" y="9"/>
                  </a:lnTo>
                  <a:lnTo>
                    <a:pt x="10" y="9"/>
                  </a:lnTo>
                  <a:lnTo>
                    <a:pt x="16" y="6"/>
                  </a:lnTo>
                  <a:lnTo>
                    <a:pt x="22" y="2"/>
                  </a:lnTo>
                  <a:lnTo>
                    <a:pt x="28" y="1"/>
                  </a:lnTo>
                  <a:lnTo>
                    <a:pt x="34" y="0"/>
                  </a:lnTo>
                  <a:lnTo>
                    <a:pt x="42" y="1"/>
                  </a:lnTo>
                  <a:lnTo>
                    <a:pt x="48" y="2"/>
                  </a:lnTo>
                  <a:lnTo>
                    <a:pt x="53" y="6"/>
                  </a:lnTo>
                  <a:lnTo>
                    <a:pt x="59" y="11"/>
                  </a:lnTo>
                  <a:lnTo>
                    <a:pt x="164" y="116"/>
                  </a:lnTo>
                  <a:lnTo>
                    <a:pt x="164" y="116"/>
                  </a:lnTo>
                  <a:lnTo>
                    <a:pt x="168" y="120"/>
                  </a:lnTo>
                  <a:lnTo>
                    <a:pt x="171" y="127"/>
                  </a:lnTo>
                  <a:lnTo>
                    <a:pt x="173" y="133"/>
                  </a:lnTo>
                  <a:lnTo>
                    <a:pt x="174" y="140"/>
                  </a:lnTo>
                  <a:lnTo>
                    <a:pt x="173" y="146"/>
                  </a:lnTo>
                  <a:lnTo>
                    <a:pt x="171" y="153"/>
                  </a:lnTo>
                  <a:lnTo>
                    <a:pt x="168" y="159"/>
                  </a:lnTo>
                  <a:lnTo>
                    <a:pt x="164" y="164"/>
                  </a:lnTo>
                  <a:lnTo>
                    <a:pt x="164" y="164"/>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209">
              <a:extLst>
                <a:ext uri="{FF2B5EF4-FFF2-40B4-BE49-F238E27FC236}">
                  <a16:creationId xmlns:a16="http://schemas.microsoft.com/office/drawing/2014/main" id="{481FF178-1DF9-1A2D-C4FE-591935115C53}"/>
                </a:ext>
              </a:extLst>
            </p:cNvPr>
            <p:cNvSpPr>
              <a:spLocks/>
            </p:cNvSpPr>
            <p:nvPr/>
          </p:nvSpPr>
          <p:spPr bwMode="auto">
            <a:xfrm>
              <a:off x="3795713" y="673100"/>
              <a:ext cx="209550" cy="209550"/>
            </a:xfrm>
            <a:custGeom>
              <a:avLst/>
              <a:gdLst>
                <a:gd name="T0" fmla="*/ 128 w 132"/>
                <a:gd name="T1" fmla="*/ 129 h 132"/>
                <a:gd name="T2" fmla="*/ 128 w 132"/>
                <a:gd name="T3" fmla="*/ 129 h 132"/>
                <a:gd name="T4" fmla="*/ 123 w 132"/>
                <a:gd name="T5" fmla="*/ 131 h 132"/>
                <a:gd name="T6" fmla="*/ 118 w 132"/>
                <a:gd name="T7" fmla="*/ 132 h 132"/>
                <a:gd name="T8" fmla="*/ 113 w 132"/>
                <a:gd name="T9" fmla="*/ 131 h 132"/>
                <a:gd name="T10" fmla="*/ 108 w 132"/>
                <a:gd name="T11" fmla="*/ 129 h 132"/>
                <a:gd name="T12" fmla="*/ 4 w 132"/>
                <a:gd name="T13" fmla="*/ 23 h 132"/>
                <a:gd name="T14" fmla="*/ 4 w 132"/>
                <a:gd name="T15" fmla="*/ 23 h 132"/>
                <a:gd name="T16" fmla="*/ 1 w 132"/>
                <a:gd name="T17" fmla="*/ 19 h 132"/>
                <a:gd name="T18" fmla="*/ 0 w 132"/>
                <a:gd name="T19" fmla="*/ 14 h 132"/>
                <a:gd name="T20" fmla="*/ 1 w 132"/>
                <a:gd name="T21" fmla="*/ 9 h 132"/>
                <a:gd name="T22" fmla="*/ 4 w 132"/>
                <a:gd name="T23" fmla="*/ 4 h 132"/>
                <a:gd name="T24" fmla="*/ 4 w 132"/>
                <a:gd name="T25" fmla="*/ 4 h 132"/>
                <a:gd name="T26" fmla="*/ 8 w 132"/>
                <a:gd name="T27" fmla="*/ 2 h 132"/>
                <a:gd name="T28" fmla="*/ 13 w 132"/>
                <a:gd name="T29" fmla="*/ 0 h 132"/>
                <a:gd name="T30" fmla="*/ 18 w 132"/>
                <a:gd name="T31" fmla="*/ 2 h 132"/>
                <a:gd name="T32" fmla="*/ 23 w 132"/>
                <a:gd name="T33" fmla="*/ 4 h 132"/>
                <a:gd name="T34" fmla="*/ 128 w 132"/>
                <a:gd name="T35" fmla="*/ 109 h 132"/>
                <a:gd name="T36" fmla="*/ 128 w 132"/>
                <a:gd name="T37" fmla="*/ 109 h 132"/>
                <a:gd name="T38" fmla="*/ 131 w 132"/>
                <a:gd name="T39" fmla="*/ 114 h 132"/>
                <a:gd name="T40" fmla="*/ 132 w 132"/>
                <a:gd name="T41" fmla="*/ 119 h 132"/>
                <a:gd name="T42" fmla="*/ 131 w 132"/>
                <a:gd name="T43" fmla="*/ 124 h 132"/>
                <a:gd name="T44" fmla="*/ 128 w 132"/>
                <a:gd name="T45" fmla="*/ 129 h 132"/>
                <a:gd name="T46" fmla="*/ 128 w 132"/>
                <a:gd name="T47"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32">
                  <a:moveTo>
                    <a:pt x="128" y="129"/>
                  </a:moveTo>
                  <a:lnTo>
                    <a:pt x="128" y="129"/>
                  </a:lnTo>
                  <a:lnTo>
                    <a:pt x="123" y="131"/>
                  </a:lnTo>
                  <a:lnTo>
                    <a:pt x="118" y="132"/>
                  </a:lnTo>
                  <a:lnTo>
                    <a:pt x="113" y="131"/>
                  </a:lnTo>
                  <a:lnTo>
                    <a:pt x="108" y="129"/>
                  </a:lnTo>
                  <a:lnTo>
                    <a:pt x="4" y="23"/>
                  </a:lnTo>
                  <a:lnTo>
                    <a:pt x="4" y="23"/>
                  </a:lnTo>
                  <a:lnTo>
                    <a:pt x="1" y="19"/>
                  </a:lnTo>
                  <a:lnTo>
                    <a:pt x="0" y="14"/>
                  </a:lnTo>
                  <a:lnTo>
                    <a:pt x="1" y="9"/>
                  </a:lnTo>
                  <a:lnTo>
                    <a:pt x="4" y="4"/>
                  </a:lnTo>
                  <a:lnTo>
                    <a:pt x="4" y="4"/>
                  </a:lnTo>
                  <a:lnTo>
                    <a:pt x="8" y="2"/>
                  </a:lnTo>
                  <a:lnTo>
                    <a:pt x="13" y="0"/>
                  </a:lnTo>
                  <a:lnTo>
                    <a:pt x="18" y="2"/>
                  </a:lnTo>
                  <a:lnTo>
                    <a:pt x="23" y="4"/>
                  </a:lnTo>
                  <a:lnTo>
                    <a:pt x="128" y="109"/>
                  </a:lnTo>
                  <a:lnTo>
                    <a:pt x="128" y="109"/>
                  </a:lnTo>
                  <a:lnTo>
                    <a:pt x="131" y="114"/>
                  </a:lnTo>
                  <a:lnTo>
                    <a:pt x="132" y="119"/>
                  </a:lnTo>
                  <a:lnTo>
                    <a:pt x="131" y="124"/>
                  </a:lnTo>
                  <a:lnTo>
                    <a:pt x="128" y="129"/>
                  </a:lnTo>
                  <a:lnTo>
                    <a:pt x="128" y="129"/>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210">
              <a:extLst>
                <a:ext uri="{FF2B5EF4-FFF2-40B4-BE49-F238E27FC236}">
                  <a16:creationId xmlns:a16="http://schemas.microsoft.com/office/drawing/2014/main" id="{77F2B91E-3152-313D-35F6-1D19A522AF18}"/>
                </a:ext>
              </a:extLst>
            </p:cNvPr>
            <p:cNvSpPr>
              <a:spLocks/>
            </p:cNvSpPr>
            <p:nvPr/>
          </p:nvSpPr>
          <p:spPr bwMode="auto">
            <a:xfrm>
              <a:off x="3392488" y="244475"/>
              <a:ext cx="427038" cy="427038"/>
            </a:xfrm>
            <a:custGeom>
              <a:avLst/>
              <a:gdLst>
                <a:gd name="T0" fmla="*/ 39 w 269"/>
                <a:gd name="T1" fmla="*/ 40 h 269"/>
                <a:gd name="T2" fmla="*/ 39 w 269"/>
                <a:gd name="T3" fmla="*/ 40 h 269"/>
                <a:gd name="T4" fmla="*/ 59 w 269"/>
                <a:gd name="T5" fmla="*/ 24 h 269"/>
                <a:gd name="T6" fmla="*/ 82 w 269"/>
                <a:gd name="T7" fmla="*/ 11 h 269"/>
                <a:gd name="T8" fmla="*/ 107 w 269"/>
                <a:gd name="T9" fmla="*/ 4 h 269"/>
                <a:gd name="T10" fmla="*/ 134 w 269"/>
                <a:gd name="T11" fmla="*/ 0 h 269"/>
                <a:gd name="T12" fmla="*/ 148 w 269"/>
                <a:gd name="T13" fmla="*/ 1 h 269"/>
                <a:gd name="T14" fmla="*/ 174 w 269"/>
                <a:gd name="T15" fmla="*/ 6 h 269"/>
                <a:gd name="T16" fmla="*/ 198 w 269"/>
                <a:gd name="T17" fmla="*/ 17 h 269"/>
                <a:gd name="T18" fmla="*/ 219 w 269"/>
                <a:gd name="T19" fmla="*/ 31 h 269"/>
                <a:gd name="T20" fmla="*/ 238 w 269"/>
                <a:gd name="T21" fmla="*/ 50 h 269"/>
                <a:gd name="T22" fmla="*/ 251 w 269"/>
                <a:gd name="T23" fmla="*/ 72 h 269"/>
                <a:gd name="T24" fmla="*/ 262 w 269"/>
                <a:gd name="T25" fmla="*/ 95 h 269"/>
                <a:gd name="T26" fmla="*/ 267 w 269"/>
                <a:gd name="T27" fmla="*/ 121 h 269"/>
                <a:gd name="T28" fmla="*/ 269 w 269"/>
                <a:gd name="T29" fmla="*/ 136 h 269"/>
                <a:gd name="T30" fmla="*/ 265 w 269"/>
                <a:gd name="T31" fmla="*/ 162 h 269"/>
                <a:gd name="T32" fmla="*/ 258 w 269"/>
                <a:gd name="T33" fmla="*/ 186 h 269"/>
                <a:gd name="T34" fmla="*/ 245 w 269"/>
                <a:gd name="T35" fmla="*/ 210 h 269"/>
                <a:gd name="T36" fmla="*/ 229 w 269"/>
                <a:gd name="T37" fmla="*/ 230 h 269"/>
                <a:gd name="T38" fmla="*/ 219 w 269"/>
                <a:gd name="T39" fmla="*/ 240 h 269"/>
                <a:gd name="T40" fmla="*/ 197 w 269"/>
                <a:gd name="T41" fmla="*/ 253 h 269"/>
                <a:gd name="T42" fmla="*/ 172 w 269"/>
                <a:gd name="T43" fmla="*/ 264 h 269"/>
                <a:gd name="T44" fmla="*/ 147 w 269"/>
                <a:gd name="T45" fmla="*/ 269 h 269"/>
                <a:gd name="T46" fmla="*/ 133 w 269"/>
                <a:gd name="T47" fmla="*/ 269 h 269"/>
                <a:gd name="T48" fmla="*/ 107 w 269"/>
                <a:gd name="T49" fmla="*/ 267 h 269"/>
                <a:gd name="T50" fmla="*/ 82 w 269"/>
                <a:gd name="T51" fmla="*/ 259 h 269"/>
                <a:gd name="T52" fmla="*/ 59 w 269"/>
                <a:gd name="T53" fmla="*/ 247 h 269"/>
                <a:gd name="T54" fmla="*/ 39 w 269"/>
                <a:gd name="T55" fmla="*/ 230 h 269"/>
                <a:gd name="T56" fmla="*/ 29 w 269"/>
                <a:gd name="T57" fmla="*/ 220 h 269"/>
                <a:gd name="T58" fmla="*/ 15 w 269"/>
                <a:gd name="T59" fmla="*/ 198 h 269"/>
                <a:gd name="T60" fmla="*/ 5 w 269"/>
                <a:gd name="T61" fmla="*/ 174 h 269"/>
                <a:gd name="T62" fmla="*/ 0 w 269"/>
                <a:gd name="T63" fmla="*/ 148 h 269"/>
                <a:gd name="T64" fmla="*/ 0 w 269"/>
                <a:gd name="T65" fmla="*/ 135 h 269"/>
                <a:gd name="T66" fmla="*/ 2 w 269"/>
                <a:gd name="T67" fmla="*/ 109 h 269"/>
                <a:gd name="T68" fmla="*/ 10 w 269"/>
                <a:gd name="T69" fmla="*/ 84 h 269"/>
                <a:gd name="T70" fmla="*/ 22 w 269"/>
                <a:gd name="T71" fmla="*/ 61 h 269"/>
                <a:gd name="T72" fmla="*/ 39 w 269"/>
                <a:gd name="T73" fmla="*/ 4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9" h="269">
                  <a:moveTo>
                    <a:pt x="39" y="40"/>
                  </a:moveTo>
                  <a:lnTo>
                    <a:pt x="39" y="40"/>
                  </a:lnTo>
                  <a:lnTo>
                    <a:pt x="39" y="40"/>
                  </a:lnTo>
                  <a:lnTo>
                    <a:pt x="39" y="40"/>
                  </a:lnTo>
                  <a:lnTo>
                    <a:pt x="49" y="31"/>
                  </a:lnTo>
                  <a:lnTo>
                    <a:pt x="59" y="24"/>
                  </a:lnTo>
                  <a:lnTo>
                    <a:pt x="70" y="16"/>
                  </a:lnTo>
                  <a:lnTo>
                    <a:pt x="82" y="11"/>
                  </a:lnTo>
                  <a:lnTo>
                    <a:pt x="95" y="6"/>
                  </a:lnTo>
                  <a:lnTo>
                    <a:pt x="107" y="4"/>
                  </a:lnTo>
                  <a:lnTo>
                    <a:pt x="121" y="1"/>
                  </a:lnTo>
                  <a:lnTo>
                    <a:pt x="134" y="0"/>
                  </a:lnTo>
                  <a:lnTo>
                    <a:pt x="134" y="0"/>
                  </a:lnTo>
                  <a:lnTo>
                    <a:pt x="148" y="1"/>
                  </a:lnTo>
                  <a:lnTo>
                    <a:pt x="161" y="4"/>
                  </a:lnTo>
                  <a:lnTo>
                    <a:pt x="174" y="6"/>
                  </a:lnTo>
                  <a:lnTo>
                    <a:pt x="186" y="11"/>
                  </a:lnTo>
                  <a:lnTo>
                    <a:pt x="198" y="17"/>
                  </a:lnTo>
                  <a:lnTo>
                    <a:pt x="209" y="24"/>
                  </a:lnTo>
                  <a:lnTo>
                    <a:pt x="219" y="31"/>
                  </a:lnTo>
                  <a:lnTo>
                    <a:pt x="229" y="40"/>
                  </a:lnTo>
                  <a:lnTo>
                    <a:pt x="238" y="50"/>
                  </a:lnTo>
                  <a:lnTo>
                    <a:pt x="245" y="61"/>
                  </a:lnTo>
                  <a:lnTo>
                    <a:pt x="251" y="72"/>
                  </a:lnTo>
                  <a:lnTo>
                    <a:pt x="258" y="83"/>
                  </a:lnTo>
                  <a:lnTo>
                    <a:pt x="262" y="95"/>
                  </a:lnTo>
                  <a:lnTo>
                    <a:pt x="265" y="109"/>
                  </a:lnTo>
                  <a:lnTo>
                    <a:pt x="267" y="121"/>
                  </a:lnTo>
                  <a:lnTo>
                    <a:pt x="269" y="136"/>
                  </a:lnTo>
                  <a:lnTo>
                    <a:pt x="269" y="136"/>
                  </a:lnTo>
                  <a:lnTo>
                    <a:pt x="267" y="148"/>
                  </a:lnTo>
                  <a:lnTo>
                    <a:pt x="265" y="162"/>
                  </a:lnTo>
                  <a:lnTo>
                    <a:pt x="262" y="174"/>
                  </a:lnTo>
                  <a:lnTo>
                    <a:pt x="258" y="186"/>
                  </a:lnTo>
                  <a:lnTo>
                    <a:pt x="253" y="199"/>
                  </a:lnTo>
                  <a:lnTo>
                    <a:pt x="245" y="210"/>
                  </a:lnTo>
                  <a:lnTo>
                    <a:pt x="238" y="220"/>
                  </a:lnTo>
                  <a:lnTo>
                    <a:pt x="229" y="230"/>
                  </a:lnTo>
                  <a:lnTo>
                    <a:pt x="229" y="230"/>
                  </a:lnTo>
                  <a:lnTo>
                    <a:pt x="219" y="240"/>
                  </a:lnTo>
                  <a:lnTo>
                    <a:pt x="208" y="247"/>
                  </a:lnTo>
                  <a:lnTo>
                    <a:pt x="197" y="253"/>
                  </a:lnTo>
                  <a:lnTo>
                    <a:pt x="185" y="259"/>
                  </a:lnTo>
                  <a:lnTo>
                    <a:pt x="172" y="264"/>
                  </a:lnTo>
                  <a:lnTo>
                    <a:pt x="160" y="267"/>
                  </a:lnTo>
                  <a:lnTo>
                    <a:pt x="147" y="269"/>
                  </a:lnTo>
                  <a:lnTo>
                    <a:pt x="133" y="269"/>
                  </a:lnTo>
                  <a:lnTo>
                    <a:pt x="133" y="269"/>
                  </a:lnTo>
                  <a:lnTo>
                    <a:pt x="121" y="269"/>
                  </a:lnTo>
                  <a:lnTo>
                    <a:pt x="107" y="267"/>
                  </a:lnTo>
                  <a:lnTo>
                    <a:pt x="95" y="263"/>
                  </a:lnTo>
                  <a:lnTo>
                    <a:pt x="82" y="259"/>
                  </a:lnTo>
                  <a:lnTo>
                    <a:pt x="70" y="253"/>
                  </a:lnTo>
                  <a:lnTo>
                    <a:pt x="59" y="247"/>
                  </a:lnTo>
                  <a:lnTo>
                    <a:pt x="49" y="238"/>
                  </a:lnTo>
                  <a:lnTo>
                    <a:pt x="39" y="230"/>
                  </a:lnTo>
                  <a:lnTo>
                    <a:pt x="39" y="230"/>
                  </a:lnTo>
                  <a:lnTo>
                    <a:pt x="29" y="220"/>
                  </a:lnTo>
                  <a:lnTo>
                    <a:pt x="22" y="209"/>
                  </a:lnTo>
                  <a:lnTo>
                    <a:pt x="15" y="198"/>
                  </a:lnTo>
                  <a:lnTo>
                    <a:pt x="10" y="186"/>
                  </a:lnTo>
                  <a:lnTo>
                    <a:pt x="5" y="174"/>
                  </a:lnTo>
                  <a:lnTo>
                    <a:pt x="2" y="162"/>
                  </a:lnTo>
                  <a:lnTo>
                    <a:pt x="0" y="148"/>
                  </a:lnTo>
                  <a:lnTo>
                    <a:pt x="0" y="135"/>
                  </a:lnTo>
                  <a:lnTo>
                    <a:pt x="0" y="135"/>
                  </a:lnTo>
                  <a:lnTo>
                    <a:pt x="0" y="121"/>
                  </a:lnTo>
                  <a:lnTo>
                    <a:pt x="2" y="109"/>
                  </a:lnTo>
                  <a:lnTo>
                    <a:pt x="5" y="96"/>
                  </a:lnTo>
                  <a:lnTo>
                    <a:pt x="10" y="84"/>
                  </a:lnTo>
                  <a:lnTo>
                    <a:pt x="16" y="72"/>
                  </a:lnTo>
                  <a:lnTo>
                    <a:pt x="22" y="61"/>
                  </a:lnTo>
                  <a:lnTo>
                    <a:pt x="29" y="50"/>
                  </a:lnTo>
                  <a:lnTo>
                    <a:pt x="39" y="40"/>
                  </a:lnTo>
                  <a:lnTo>
                    <a:pt x="39" y="40"/>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211">
              <a:extLst>
                <a:ext uri="{FF2B5EF4-FFF2-40B4-BE49-F238E27FC236}">
                  <a16:creationId xmlns:a16="http://schemas.microsoft.com/office/drawing/2014/main" id="{5ADE0955-62A0-E86E-9459-14159C638731}"/>
                </a:ext>
              </a:extLst>
            </p:cNvPr>
            <p:cNvSpPr>
              <a:spLocks/>
            </p:cNvSpPr>
            <p:nvPr/>
          </p:nvSpPr>
          <p:spPr bwMode="auto">
            <a:xfrm>
              <a:off x="3446463" y="300038"/>
              <a:ext cx="317500" cy="317500"/>
            </a:xfrm>
            <a:custGeom>
              <a:avLst/>
              <a:gdLst>
                <a:gd name="T0" fmla="*/ 29 w 200"/>
                <a:gd name="T1" fmla="*/ 29 h 200"/>
                <a:gd name="T2" fmla="*/ 16 w 200"/>
                <a:gd name="T3" fmla="*/ 44 h 200"/>
                <a:gd name="T4" fmla="*/ 8 w 200"/>
                <a:gd name="T5" fmla="*/ 61 h 200"/>
                <a:gd name="T6" fmla="*/ 2 w 200"/>
                <a:gd name="T7" fmla="*/ 80 h 200"/>
                <a:gd name="T8" fmla="*/ 0 w 200"/>
                <a:gd name="T9" fmla="*/ 100 h 200"/>
                <a:gd name="T10" fmla="*/ 0 w 200"/>
                <a:gd name="T11" fmla="*/ 110 h 200"/>
                <a:gd name="T12" fmla="*/ 4 w 200"/>
                <a:gd name="T13" fmla="*/ 129 h 200"/>
                <a:gd name="T14" fmla="*/ 11 w 200"/>
                <a:gd name="T15" fmla="*/ 148 h 200"/>
                <a:gd name="T16" fmla="*/ 22 w 200"/>
                <a:gd name="T17" fmla="*/ 164 h 200"/>
                <a:gd name="T18" fmla="*/ 36 w 200"/>
                <a:gd name="T19" fmla="*/ 177 h 200"/>
                <a:gd name="T20" fmla="*/ 52 w 200"/>
                <a:gd name="T21" fmla="*/ 187 h 200"/>
                <a:gd name="T22" fmla="*/ 69 w 200"/>
                <a:gd name="T23" fmla="*/ 196 h 200"/>
                <a:gd name="T24" fmla="*/ 89 w 200"/>
                <a:gd name="T25" fmla="*/ 200 h 200"/>
                <a:gd name="T26" fmla="*/ 99 w 200"/>
                <a:gd name="T27" fmla="*/ 200 h 200"/>
                <a:gd name="T28" fmla="*/ 119 w 200"/>
                <a:gd name="T29" fmla="*/ 198 h 200"/>
                <a:gd name="T30" fmla="*/ 138 w 200"/>
                <a:gd name="T31" fmla="*/ 192 h 200"/>
                <a:gd name="T32" fmla="*/ 156 w 200"/>
                <a:gd name="T33" fmla="*/ 184 h 200"/>
                <a:gd name="T34" fmla="*/ 170 w 200"/>
                <a:gd name="T35" fmla="*/ 171 h 200"/>
                <a:gd name="T36" fmla="*/ 170 w 200"/>
                <a:gd name="T37" fmla="*/ 171 h 200"/>
                <a:gd name="T38" fmla="*/ 183 w 200"/>
                <a:gd name="T39" fmla="*/ 155 h 200"/>
                <a:gd name="T40" fmla="*/ 193 w 200"/>
                <a:gd name="T41" fmla="*/ 138 h 200"/>
                <a:gd name="T42" fmla="*/ 198 w 200"/>
                <a:gd name="T43" fmla="*/ 119 h 200"/>
                <a:gd name="T44" fmla="*/ 200 w 200"/>
                <a:gd name="T45" fmla="*/ 100 h 200"/>
                <a:gd name="T46" fmla="*/ 199 w 200"/>
                <a:gd name="T47" fmla="*/ 90 h 200"/>
                <a:gd name="T48" fmla="*/ 195 w 200"/>
                <a:gd name="T49" fmla="*/ 71 h 200"/>
                <a:gd name="T50" fmla="*/ 188 w 200"/>
                <a:gd name="T51" fmla="*/ 53 h 200"/>
                <a:gd name="T52" fmla="*/ 177 w 200"/>
                <a:gd name="T53" fmla="*/ 37 h 200"/>
                <a:gd name="T54" fmla="*/ 170 w 200"/>
                <a:gd name="T55" fmla="*/ 29 h 200"/>
                <a:gd name="T56" fmla="*/ 156 w 200"/>
                <a:gd name="T57" fmla="*/ 17 h 200"/>
                <a:gd name="T58" fmla="*/ 138 w 200"/>
                <a:gd name="T59" fmla="*/ 7 h 200"/>
                <a:gd name="T60" fmla="*/ 120 w 200"/>
                <a:gd name="T61" fmla="*/ 2 h 200"/>
                <a:gd name="T62" fmla="*/ 100 w 200"/>
                <a:gd name="T63" fmla="*/ 0 h 200"/>
                <a:gd name="T64" fmla="*/ 90 w 200"/>
                <a:gd name="T65" fmla="*/ 1 h 200"/>
                <a:gd name="T66" fmla="*/ 71 w 200"/>
                <a:gd name="T67" fmla="*/ 5 h 200"/>
                <a:gd name="T68" fmla="*/ 53 w 200"/>
                <a:gd name="T69" fmla="*/ 12 h 200"/>
                <a:gd name="T70" fmla="*/ 36 w 200"/>
                <a:gd name="T71" fmla="*/ 23 h 200"/>
                <a:gd name="T72" fmla="*/ 29 w 200"/>
                <a:gd name="T73" fmla="*/ 2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200">
                  <a:moveTo>
                    <a:pt x="29" y="29"/>
                  </a:moveTo>
                  <a:lnTo>
                    <a:pt x="29" y="29"/>
                  </a:lnTo>
                  <a:lnTo>
                    <a:pt x="22" y="37"/>
                  </a:lnTo>
                  <a:lnTo>
                    <a:pt x="16" y="44"/>
                  </a:lnTo>
                  <a:lnTo>
                    <a:pt x="11" y="53"/>
                  </a:lnTo>
                  <a:lnTo>
                    <a:pt x="8" y="61"/>
                  </a:lnTo>
                  <a:lnTo>
                    <a:pt x="4" y="71"/>
                  </a:lnTo>
                  <a:lnTo>
                    <a:pt x="2" y="80"/>
                  </a:lnTo>
                  <a:lnTo>
                    <a:pt x="0" y="90"/>
                  </a:lnTo>
                  <a:lnTo>
                    <a:pt x="0" y="100"/>
                  </a:lnTo>
                  <a:lnTo>
                    <a:pt x="0" y="100"/>
                  </a:lnTo>
                  <a:lnTo>
                    <a:pt x="0" y="110"/>
                  </a:lnTo>
                  <a:lnTo>
                    <a:pt x="2" y="119"/>
                  </a:lnTo>
                  <a:lnTo>
                    <a:pt x="4" y="129"/>
                  </a:lnTo>
                  <a:lnTo>
                    <a:pt x="8" y="139"/>
                  </a:lnTo>
                  <a:lnTo>
                    <a:pt x="11" y="148"/>
                  </a:lnTo>
                  <a:lnTo>
                    <a:pt x="16" y="155"/>
                  </a:lnTo>
                  <a:lnTo>
                    <a:pt x="22" y="164"/>
                  </a:lnTo>
                  <a:lnTo>
                    <a:pt x="29" y="170"/>
                  </a:lnTo>
                  <a:lnTo>
                    <a:pt x="36" y="177"/>
                  </a:lnTo>
                  <a:lnTo>
                    <a:pt x="43" y="182"/>
                  </a:lnTo>
                  <a:lnTo>
                    <a:pt x="52" y="187"/>
                  </a:lnTo>
                  <a:lnTo>
                    <a:pt x="61" y="192"/>
                  </a:lnTo>
                  <a:lnTo>
                    <a:pt x="69" y="196"/>
                  </a:lnTo>
                  <a:lnTo>
                    <a:pt x="79" y="198"/>
                  </a:lnTo>
                  <a:lnTo>
                    <a:pt x="89" y="200"/>
                  </a:lnTo>
                  <a:lnTo>
                    <a:pt x="99" y="200"/>
                  </a:lnTo>
                  <a:lnTo>
                    <a:pt x="99" y="200"/>
                  </a:lnTo>
                  <a:lnTo>
                    <a:pt x="110" y="200"/>
                  </a:lnTo>
                  <a:lnTo>
                    <a:pt x="119" y="198"/>
                  </a:lnTo>
                  <a:lnTo>
                    <a:pt x="129" y="196"/>
                  </a:lnTo>
                  <a:lnTo>
                    <a:pt x="138" y="192"/>
                  </a:lnTo>
                  <a:lnTo>
                    <a:pt x="147" y="188"/>
                  </a:lnTo>
                  <a:lnTo>
                    <a:pt x="156" y="184"/>
                  </a:lnTo>
                  <a:lnTo>
                    <a:pt x="163" y="177"/>
                  </a:lnTo>
                  <a:lnTo>
                    <a:pt x="170" y="171"/>
                  </a:lnTo>
                  <a:lnTo>
                    <a:pt x="170" y="171"/>
                  </a:lnTo>
                  <a:lnTo>
                    <a:pt x="170" y="171"/>
                  </a:lnTo>
                  <a:lnTo>
                    <a:pt x="177" y="164"/>
                  </a:lnTo>
                  <a:lnTo>
                    <a:pt x="183" y="155"/>
                  </a:lnTo>
                  <a:lnTo>
                    <a:pt x="188" y="147"/>
                  </a:lnTo>
                  <a:lnTo>
                    <a:pt x="193" y="138"/>
                  </a:lnTo>
                  <a:lnTo>
                    <a:pt x="195" y="129"/>
                  </a:lnTo>
                  <a:lnTo>
                    <a:pt x="198" y="119"/>
                  </a:lnTo>
                  <a:lnTo>
                    <a:pt x="199" y="110"/>
                  </a:lnTo>
                  <a:lnTo>
                    <a:pt x="200" y="100"/>
                  </a:lnTo>
                  <a:lnTo>
                    <a:pt x="200" y="100"/>
                  </a:lnTo>
                  <a:lnTo>
                    <a:pt x="199" y="90"/>
                  </a:lnTo>
                  <a:lnTo>
                    <a:pt x="198" y="81"/>
                  </a:lnTo>
                  <a:lnTo>
                    <a:pt x="195" y="71"/>
                  </a:lnTo>
                  <a:lnTo>
                    <a:pt x="193" y="61"/>
                  </a:lnTo>
                  <a:lnTo>
                    <a:pt x="188" y="53"/>
                  </a:lnTo>
                  <a:lnTo>
                    <a:pt x="183" y="45"/>
                  </a:lnTo>
                  <a:lnTo>
                    <a:pt x="177" y="37"/>
                  </a:lnTo>
                  <a:lnTo>
                    <a:pt x="170" y="29"/>
                  </a:lnTo>
                  <a:lnTo>
                    <a:pt x="170" y="29"/>
                  </a:lnTo>
                  <a:lnTo>
                    <a:pt x="163" y="23"/>
                  </a:lnTo>
                  <a:lnTo>
                    <a:pt x="156" y="17"/>
                  </a:lnTo>
                  <a:lnTo>
                    <a:pt x="147" y="12"/>
                  </a:lnTo>
                  <a:lnTo>
                    <a:pt x="138" y="7"/>
                  </a:lnTo>
                  <a:lnTo>
                    <a:pt x="129" y="5"/>
                  </a:lnTo>
                  <a:lnTo>
                    <a:pt x="120" y="2"/>
                  </a:lnTo>
                  <a:lnTo>
                    <a:pt x="110" y="1"/>
                  </a:lnTo>
                  <a:lnTo>
                    <a:pt x="100" y="0"/>
                  </a:lnTo>
                  <a:lnTo>
                    <a:pt x="100" y="0"/>
                  </a:lnTo>
                  <a:lnTo>
                    <a:pt x="90" y="1"/>
                  </a:lnTo>
                  <a:lnTo>
                    <a:pt x="80" y="2"/>
                  </a:lnTo>
                  <a:lnTo>
                    <a:pt x="71" y="5"/>
                  </a:lnTo>
                  <a:lnTo>
                    <a:pt x="62" y="7"/>
                  </a:lnTo>
                  <a:lnTo>
                    <a:pt x="53" y="12"/>
                  </a:lnTo>
                  <a:lnTo>
                    <a:pt x="45" y="17"/>
                  </a:lnTo>
                  <a:lnTo>
                    <a:pt x="36" y="23"/>
                  </a:lnTo>
                  <a:lnTo>
                    <a:pt x="29" y="29"/>
                  </a:lnTo>
                  <a:lnTo>
                    <a:pt x="29" y="29"/>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12">
              <a:extLst>
                <a:ext uri="{FF2B5EF4-FFF2-40B4-BE49-F238E27FC236}">
                  <a16:creationId xmlns:a16="http://schemas.microsoft.com/office/drawing/2014/main" id="{73978197-90E1-0E6E-BC7D-9745580FEED1}"/>
                </a:ext>
              </a:extLst>
            </p:cNvPr>
            <p:cNvSpPr>
              <a:spLocks/>
            </p:cNvSpPr>
            <p:nvPr/>
          </p:nvSpPr>
          <p:spPr bwMode="auto">
            <a:xfrm>
              <a:off x="3476625" y="300038"/>
              <a:ext cx="287338" cy="306388"/>
            </a:xfrm>
            <a:custGeom>
              <a:avLst/>
              <a:gdLst>
                <a:gd name="T0" fmla="*/ 151 w 181"/>
                <a:gd name="T1" fmla="*/ 29 h 193"/>
                <a:gd name="T2" fmla="*/ 137 w 181"/>
                <a:gd name="T3" fmla="*/ 17 h 193"/>
                <a:gd name="T4" fmla="*/ 119 w 181"/>
                <a:gd name="T5" fmla="*/ 7 h 193"/>
                <a:gd name="T6" fmla="*/ 101 w 181"/>
                <a:gd name="T7" fmla="*/ 2 h 193"/>
                <a:gd name="T8" fmla="*/ 81 w 181"/>
                <a:gd name="T9" fmla="*/ 0 h 193"/>
                <a:gd name="T10" fmla="*/ 70 w 181"/>
                <a:gd name="T11" fmla="*/ 1 h 193"/>
                <a:gd name="T12" fmla="*/ 59 w 181"/>
                <a:gd name="T13" fmla="*/ 2 h 193"/>
                <a:gd name="T14" fmla="*/ 43 w 181"/>
                <a:gd name="T15" fmla="*/ 11 h 193"/>
                <a:gd name="T16" fmla="*/ 29 w 181"/>
                <a:gd name="T17" fmla="*/ 23 h 193"/>
                <a:gd name="T18" fmla="*/ 23 w 181"/>
                <a:gd name="T19" fmla="*/ 31 h 193"/>
                <a:gd name="T20" fmla="*/ 12 w 181"/>
                <a:gd name="T21" fmla="*/ 47 h 193"/>
                <a:gd name="T22" fmla="*/ 5 w 181"/>
                <a:gd name="T23" fmla="*/ 64 h 193"/>
                <a:gd name="T24" fmla="*/ 1 w 181"/>
                <a:gd name="T25" fmla="*/ 84 h 193"/>
                <a:gd name="T26" fmla="*/ 0 w 181"/>
                <a:gd name="T27" fmla="*/ 93 h 193"/>
                <a:gd name="T28" fmla="*/ 2 w 181"/>
                <a:gd name="T29" fmla="*/ 113 h 193"/>
                <a:gd name="T30" fmla="*/ 7 w 181"/>
                <a:gd name="T31" fmla="*/ 133 h 193"/>
                <a:gd name="T32" fmla="*/ 17 w 181"/>
                <a:gd name="T33" fmla="*/ 149 h 193"/>
                <a:gd name="T34" fmla="*/ 29 w 181"/>
                <a:gd name="T35" fmla="*/ 164 h 193"/>
                <a:gd name="T36" fmla="*/ 44 w 181"/>
                <a:gd name="T37" fmla="*/ 176 h 193"/>
                <a:gd name="T38" fmla="*/ 61 w 181"/>
                <a:gd name="T39" fmla="*/ 186 h 193"/>
                <a:gd name="T40" fmla="*/ 80 w 181"/>
                <a:gd name="T41" fmla="*/ 191 h 193"/>
                <a:gd name="T42" fmla="*/ 100 w 181"/>
                <a:gd name="T43" fmla="*/ 193 h 193"/>
                <a:gd name="T44" fmla="*/ 111 w 181"/>
                <a:gd name="T45" fmla="*/ 193 h 193"/>
                <a:gd name="T46" fmla="*/ 122 w 181"/>
                <a:gd name="T47" fmla="*/ 191 h 193"/>
                <a:gd name="T48" fmla="*/ 138 w 181"/>
                <a:gd name="T49" fmla="*/ 182 h 193"/>
                <a:gd name="T50" fmla="*/ 151 w 181"/>
                <a:gd name="T51" fmla="*/ 171 h 193"/>
                <a:gd name="T52" fmla="*/ 151 w 181"/>
                <a:gd name="T53" fmla="*/ 171 h 193"/>
                <a:gd name="T54" fmla="*/ 164 w 181"/>
                <a:gd name="T55" fmla="*/ 155 h 193"/>
                <a:gd name="T56" fmla="*/ 174 w 181"/>
                <a:gd name="T57" fmla="*/ 138 h 193"/>
                <a:gd name="T58" fmla="*/ 179 w 181"/>
                <a:gd name="T59" fmla="*/ 119 h 193"/>
                <a:gd name="T60" fmla="*/ 181 w 181"/>
                <a:gd name="T61" fmla="*/ 100 h 193"/>
                <a:gd name="T62" fmla="*/ 180 w 181"/>
                <a:gd name="T63" fmla="*/ 90 h 193"/>
                <a:gd name="T64" fmla="*/ 176 w 181"/>
                <a:gd name="T65" fmla="*/ 71 h 193"/>
                <a:gd name="T66" fmla="*/ 169 w 181"/>
                <a:gd name="T67" fmla="*/ 53 h 193"/>
                <a:gd name="T68" fmla="*/ 158 w 181"/>
                <a:gd name="T69" fmla="*/ 37 h 193"/>
                <a:gd name="T70" fmla="*/ 151 w 181"/>
                <a:gd name="T71" fmla="*/ 2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193">
                  <a:moveTo>
                    <a:pt x="151" y="29"/>
                  </a:moveTo>
                  <a:lnTo>
                    <a:pt x="151" y="29"/>
                  </a:lnTo>
                  <a:lnTo>
                    <a:pt x="144" y="23"/>
                  </a:lnTo>
                  <a:lnTo>
                    <a:pt x="137" y="17"/>
                  </a:lnTo>
                  <a:lnTo>
                    <a:pt x="128" y="12"/>
                  </a:lnTo>
                  <a:lnTo>
                    <a:pt x="119" y="7"/>
                  </a:lnTo>
                  <a:lnTo>
                    <a:pt x="110" y="5"/>
                  </a:lnTo>
                  <a:lnTo>
                    <a:pt x="101" y="2"/>
                  </a:lnTo>
                  <a:lnTo>
                    <a:pt x="91" y="1"/>
                  </a:lnTo>
                  <a:lnTo>
                    <a:pt x="81" y="0"/>
                  </a:lnTo>
                  <a:lnTo>
                    <a:pt x="81" y="0"/>
                  </a:lnTo>
                  <a:lnTo>
                    <a:pt x="70" y="1"/>
                  </a:lnTo>
                  <a:lnTo>
                    <a:pt x="59" y="2"/>
                  </a:lnTo>
                  <a:lnTo>
                    <a:pt x="59" y="2"/>
                  </a:lnTo>
                  <a:lnTo>
                    <a:pt x="50" y="7"/>
                  </a:lnTo>
                  <a:lnTo>
                    <a:pt x="43" y="11"/>
                  </a:lnTo>
                  <a:lnTo>
                    <a:pt x="36" y="17"/>
                  </a:lnTo>
                  <a:lnTo>
                    <a:pt x="29" y="23"/>
                  </a:lnTo>
                  <a:lnTo>
                    <a:pt x="29" y="23"/>
                  </a:lnTo>
                  <a:lnTo>
                    <a:pt x="23" y="31"/>
                  </a:lnTo>
                  <a:lnTo>
                    <a:pt x="17" y="38"/>
                  </a:lnTo>
                  <a:lnTo>
                    <a:pt x="12" y="47"/>
                  </a:lnTo>
                  <a:lnTo>
                    <a:pt x="7" y="55"/>
                  </a:lnTo>
                  <a:lnTo>
                    <a:pt x="5" y="64"/>
                  </a:lnTo>
                  <a:lnTo>
                    <a:pt x="2" y="74"/>
                  </a:lnTo>
                  <a:lnTo>
                    <a:pt x="1" y="84"/>
                  </a:lnTo>
                  <a:lnTo>
                    <a:pt x="0" y="93"/>
                  </a:lnTo>
                  <a:lnTo>
                    <a:pt x="0" y="93"/>
                  </a:lnTo>
                  <a:lnTo>
                    <a:pt x="1" y="103"/>
                  </a:lnTo>
                  <a:lnTo>
                    <a:pt x="2" y="113"/>
                  </a:lnTo>
                  <a:lnTo>
                    <a:pt x="5" y="123"/>
                  </a:lnTo>
                  <a:lnTo>
                    <a:pt x="7" y="133"/>
                  </a:lnTo>
                  <a:lnTo>
                    <a:pt x="12" y="142"/>
                  </a:lnTo>
                  <a:lnTo>
                    <a:pt x="17" y="149"/>
                  </a:lnTo>
                  <a:lnTo>
                    <a:pt x="23" y="158"/>
                  </a:lnTo>
                  <a:lnTo>
                    <a:pt x="29" y="164"/>
                  </a:lnTo>
                  <a:lnTo>
                    <a:pt x="37" y="171"/>
                  </a:lnTo>
                  <a:lnTo>
                    <a:pt x="44" y="176"/>
                  </a:lnTo>
                  <a:lnTo>
                    <a:pt x="52" y="181"/>
                  </a:lnTo>
                  <a:lnTo>
                    <a:pt x="61" y="186"/>
                  </a:lnTo>
                  <a:lnTo>
                    <a:pt x="70" y="188"/>
                  </a:lnTo>
                  <a:lnTo>
                    <a:pt x="80" y="191"/>
                  </a:lnTo>
                  <a:lnTo>
                    <a:pt x="90" y="193"/>
                  </a:lnTo>
                  <a:lnTo>
                    <a:pt x="100" y="193"/>
                  </a:lnTo>
                  <a:lnTo>
                    <a:pt x="100" y="193"/>
                  </a:lnTo>
                  <a:lnTo>
                    <a:pt x="111" y="193"/>
                  </a:lnTo>
                  <a:lnTo>
                    <a:pt x="122" y="191"/>
                  </a:lnTo>
                  <a:lnTo>
                    <a:pt x="122" y="191"/>
                  </a:lnTo>
                  <a:lnTo>
                    <a:pt x="129" y="187"/>
                  </a:lnTo>
                  <a:lnTo>
                    <a:pt x="138" y="182"/>
                  </a:lnTo>
                  <a:lnTo>
                    <a:pt x="144" y="177"/>
                  </a:lnTo>
                  <a:lnTo>
                    <a:pt x="151" y="171"/>
                  </a:lnTo>
                  <a:lnTo>
                    <a:pt x="151" y="171"/>
                  </a:lnTo>
                  <a:lnTo>
                    <a:pt x="151" y="171"/>
                  </a:lnTo>
                  <a:lnTo>
                    <a:pt x="158" y="164"/>
                  </a:lnTo>
                  <a:lnTo>
                    <a:pt x="164" y="155"/>
                  </a:lnTo>
                  <a:lnTo>
                    <a:pt x="169" y="147"/>
                  </a:lnTo>
                  <a:lnTo>
                    <a:pt x="174" y="138"/>
                  </a:lnTo>
                  <a:lnTo>
                    <a:pt x="176" y="129"/>
                  </a:lnTo>
                  <a:lnTo>
                    <a:pt x="179" y="119"/>
                  </a:lnTo>
                  <a:lnTo>
                    <a:pt x="180" y="110"/>
                  </a:lnTo>
                  <a:lnTo>
                    <a:pt x="181" y="100"/>
                  </a:lnTo>
                  <a:lnTo>
                    <a:pt x="181" y="100"/>
                  </a:lnTo>
                  <a:lnTo>
                    <a:pt x="180" y="90"/>
                  </a:lnTo>
                  <a:lnTo>
                    <a:pt x="179" y="81"/>
                  </a:lnTo>
                  <a:lnTo>
                    <a:pt x="176" y="71"/>
                  </a:lnTo>
                  <a:lnTo>
                    <a:pt x="174" y="61"/>
                  </a:lnTo>
                  <a:lnTo>
                    <a:pt x="169" y="53"/>
                  </a:lnTo>
                  <a:lnTo>
                    <a:pt x="164" y="45"/>
                  </a:lnTo>
                  <a:lnTo>
                    <a:pt x="158" y="37"/>
                  </a:lnTo>
                  <a:lnTo>
                    <a:pt x="151" y="29"/>
                  </a:lnTo>
                  <a:lnTo>
                    <a:pt x="151"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13">
              <a:extLst>
                <a:ext uri="{FF2B5EF4-FFF2-40B4-BE49-F238E27FC236}">
                  <a16:creationId xmlns:a16="http://schemas.microsoft.com/office/drawing/2014/main" id="{BF287D9C-96D0-6234-CEE5-9ECDA1EA9E54}"/>
                </a:ext>
              </a:extLst>
            </p:cNvPr>
            <p:cNvSpPr>
              <a:spLocks/>
            </p:cNvSpPr>
            <p:nvPr/>
          </p:nvSpPr>
          <p:spPr bwMode="auto">
            <a:xfrm>
              <a:off x="3719513" y="573088"/>
              <a:ext cx="87313" cy="90488"/>
            </a:xfrm>
            <a:custGeom>
              <a:avLst/>
              <a:gdLst>
                <a:gd name="T0" fmla="*/ 50 w 55"/>
                <a:gd name="T1" fmla="*/ 52 h 57"/>
                <a:gd name="T2" fmla="*/ 50 w 55"/>
                <a:gd name="T3" fmla="*/ 52 h 57"/>
                <a:gd name="T4" fmla="*/ 45 w 55"/>
                <a:gd name="T5" fmla="*/ 56 h 57"/>
                <a:gd name="T6" fmla="*/ 39 w 55"/>
                <a:gd name="T7" fmla="*/ 57 h 57"/>
                <a:gd name="T8" fmla="*/ 32 w 55"/>
                <a:gd name="T9" fmla="*/ 56 h 57"/>
                <a:gd name="T10" fmla="*/ 27 w 55"/>
                <a:gd name="T11" fmla="*/ 52 h 57"/>
                <a:gd name="T12" fmla="*/ 5 w 55"/>
                <a:gd name="T13" fmla="*/ 30 h 57"/>
                <a:gd name="T14" fmla="*/ 5 w 55"/>
                <a:gd name="T15" fmla="*/ 30 h 57"/>
                <a:gd name="T16" fmla="*/ 1 w 55"/>
                <a:gd name="T17" fmla="*/ 24 h 57"/>
                <a:gd name="T18" fmla="*/ 0 w 55"/>
                <a:gd name="T19" fmla="*/ 18 h 57"/>
                <a:gd name="T20" fmla="*/ 1 w 55"/>
                <a:gd name="T21" fmla="*/ 12 h 57"/>
                <a:gd name="T22" fmla="*/ 5 w 55"/>
                <a:gd name="T23" fmla="*/ 5 h 57"/>
                <a:gd name="T24" fmla="*/ 5 w 55"/>
                <a:gd name="T25" fmla="*/ 5 h 57"/>
                <a:gd name="T26" fmla="*/ 5 w 55"/>
                <a:gd name="T27" fmla="*/ 5 h 57"/>
                <a:gd name="T28" fmla="*/ 5 w 55"/>
                <a:gd name="T29" fmla="*/ 5 h 57"/>
                <a:gd name="T30" fmla="*/ 11 w 55"/>
                <a:gd name="T31" fmla="*/ 2 h 57"/>
                <a:gd name="T32" fmla="*/ 17 w 55"/>
                <a:gd name="T33" fmla="*/ 0 h 57"/>
                <a:gd name="T34" fmla="*/ 23 w 55"/>
                <a:gd name="T35" fmla="*/ 2 h 57"/>
                <a:gd name="T36" fmla="*/ 29 w 55"/>
                <a:gd name="T37" fmla="*/ 5 h 57"/>
                <a:gd name="T38" fmla="*/ 50 w 55"/>
                <a:gd name="T39" fmla="*/ 28 h 57"/>
                <a:gd name="T40" fmla="*/ 50 w 55"/>
                <a:gd name="T41" fmla="*/ 28 h 57"/>
                <a:gd name="T42" fmla="*/ 54 w 55"/>
                <a:gd name="T43" fmla="*/ 34 h 57"/>
                <a:gd name="T44" fmla="*/ 55 w 55"/>
                <a:gd name="T45" fmla="*/ 40 h 57"/>
                <a:gd name="T46" fmla="*/ 54 w 55"/>
                <a:gd name="T47" fmla="*/ 46 h 57"/>
                <a:gd name="T48" fmla="*/ 50 w 55"/>
                <a:gd name="T49" fmla="*/ 52 h 57"/>
                <a:gd name="T50" fmla="*/ 50 w 55"/>
                <a:gd name="T51" fmla="*/ 52 h 57"/>
                <a:gd name="T52" fmla="*/ 50 w 55"/>
                <a:gd name="T53" fmla="*/ 52 h 57"/>
                <a:gd name="T54" fmla="*/ 50 w 55"/>
                <a:gd name="T55" fmla="*/ 5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5" h="57">
                  <a:moveTo>
                    <a:pt x="50" y="52"/>
                  </a:moveTo>
                  <a:lnTo>
                    <a:pt x="50" y="52"/>
                  </a:lnTo>
                  <a:lnTo>
                    <a:pt x="45" y="56"/>
                  </a:lnTo>
                  <a:lnTo>
                    <a:pt x="39" y="57"/>
                  </a:lnTo>
                  <a:lnTo>
                    <a:pt x="32" y="56"/>
                  </a:lnTo>
                  <a:lnTo>
                    <a:pt x="27" y="52"/>
                  </a:lnTo>
                  <a:lnTo>
                    <a:pt x="5" y="30"/>
                  </a:lnTo>
                  <a:lnTo>
                    <a:pt x="5" y="30"/>
                  </a:lnTo>
                  <a:lnTo>
                    <a:pt x="1" y="24"/>
                  </a:lnTo>
                  <a:lnTo>
                    <a:pt x="0" y="18"/>
                  </a:lnTo>
                  <a:lnTo>
                    <a:pt x="1" y="12"/>
                  </a:lnTo>
                  <a:lnTo>
                    <a:pt x="5" y="5"/>
                  </a:lnTo>
                  <a:lnTo>
                    <a:pt x="5" y="5"/>
                  </a:lnTo>
                  <a:lnTo>
                    <a:pt x="5" y="5"/>
                  </a:lnTo>
                  <a:lnTo>
                    <a:pt x="5" y="5"/>
                  </a:lnTo>
                  <a:lnTo>
                    <a:pt x="11" y="2"/>
                  </a:lnTo>
                  <a:lnTo>
                    <a:pt x="17" y="0"/>
                  </a:lnTo>
                  <a:lnTo>
                    <a:pt x="23" y="2"/>
                  </a:lnTo>
                  <a:lnTo>
                    <a:pt x="29" y="5"/>
                  </a:lnTo>
                  <a:lnTo>
                    <a:pt x="50" y="28"/>
                  </a:lnTo>
                  <a:lnTo>
                    <a:pt x="50" y="28"/>
                  </a:lnTo>
                  <a:lnTo>
                    <a:pt x="54" y="34"/>
                  </a:lnTo>
                  <a:lnTo>
                    <a:pt x="55" y="40"/>
                  </a:lnTo>
                  <a:lnTo>
                    <a:pt x="54" y="46"/>
                  </a:lnTo>
                  <a:lnTo>
                    <a:pt x="50" y="52"/>
                  </a:lnTo>
                  <a:lnTo>
                    <a:pt x="50" y="52"/>
                  </a:lnTo>
                  <a:lnTo>
                    <a:pt x="50" y="52"/>
                  </a:lnTo>
                  <a:lnTo>
                    <a:pt x="50" y="52"/>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14">
              <a:extLst>
                <a:ext uri="{FF2B5EF4-FFF2-40B4-BE49-F238E27FC236}">
                  <a16:creationId xmlns:a16="http://schemas.microsoft.com/office/drawing/2014/main" id="{3530833A-883C-172D-FBC7-590DF985055D}"/>
                </a:ext>
              </a:extLst>
            </p:cNvPr>
            <p:cNvSpPr>
              <a:spLocks/>
            </p:cNvSpPr>
            <p:nvPr/>
          </p:nvSpPr>
          <p:spPr bwMode="auto">
            <a:xfrm>
              <a:off x="3603625" y="258763"/>
              <a:ext cx="201613" cy="401638"/>
            </a:xfrm>
            <a:custGeom>
              <a:avLst/>
              <a:gdLst>
                <a:gd name="T0" fmla="*/ 1 w 127"/>
                <a:gd name="T1" fmla="*/ 0 h 253"/>
                <a:gd name="T2" fmla="*/ 27 w 127"/>
                <a:gd name="T3" fmla="*/ 2 h 253"/>
                <a:gd name="T4" fmla="*/ 51 w 127"/>
                <a:gd name="T5" fmla="*/ 10 h 253"/>
                <a:gd name="T6" fmla="*/ 71 w 127"/>
                <a:gd name="T7" fmla="*/ 21 h 253"/>
                <a:gd name="T8" fmla="*/ 90 w 127"/>
                <a:gd name="T9" fmla="*/ 37 h 253"/>
                <a:gd name="T10" fmla="*/ 106 w 127"/>
                <a:gd name="T11" fmla="*/ 55 h 253"/>
                <a:gd name="T12" fmla="*/ 117 w 127"/>
                <a:gd name="T13" fmla="*/ 78 h 253"/>
                <a:gd name="T14" fmla="*/ 125 w 127"/>
                <a:gd name="T15" fmla="*/ 101 h 253"/>
                <a:gd name="T16" fmla="*/ 127 w 127"/>
                <a:gd name="T17" fmla="*/ 126 h 253"/>
                <a:gd name="T18" fmla="*/ 127 w 127"/>
                <a:gd name="T19" fmla="*/ 139 h 253"/>
                <a:gd name="T20" fmla="*/ 122 w 127"/>
                <a:gd name="T21" fmla="*/ 163 h 253"/>
                <a:gd name="T22" fmla="*/ 112 w 127"/>
                <a:gd name="T23" fmla="*/ 186 h 253"/>
                <a:gd name="T24" fmla="*/ 99 w 127"/>
                <a:gd name="T25" fmla="*/ 206 h 253"/>
                <a:gd name="T26" fmla="*/ 90 w 127"/>
                <a:gd name="T27" fmla="*/ 216 h 253"/>
                <a:gd name="T28" fmla="*/ 71 w 127"/>
                <a:gd name="T29" fmla="*/ 232 h 253"/>
                <a:gd name="T30" fmla="*/ 49 w 127"/>
                <a:gd name="T31" fmla="*/ 243 h 253"/>
                <a:gd name="T32" fmla="*/ 26 w 127"/>
                <a:gd name="T33" fmla="*/ 250 h 253"/>
                <a:gd name="T34" fmla="*/ 1 w 127"/>
                <a:gd name="T35" fmla="*/ 253 h 253"/>
                <a:gd name="T36" fmla="*/ 0 w 127"/>
                <a:gd name="T37" fmla="*/ 253 h 253"/>
                <a:gd name="T38" fmla="*/ 1 w 127"/>
                <a:gd name="T39" fmla="*/ 235 h 253"/>
                <a:gd name="T40" fmla="*/ 1 w 127"/>
                <a:gd name="T41" fmla="*/ 235 h 253"/>
                <a:gd name="T42" fmla="*/ 22 w 127"/>
                <a:gd name="T43" fmla="*/ 234 h 253"/>
                <a:gd name="T44" fmla="*/ 43 w 127"/>
                <a:gd name="T45" fmla="*/ 228 h 253"/>
                <a:gd name="T46" fmla="*/ 62 w 127"/>
                <a:gd name="T47" fmla="*/ 217 h 253"/>
                <a:gd name="T48" fmla="*/ 79 w 127"/>
                <a:gd name="T49" fmla="*/ 203 h 253"/>
                <a:gd name="T50" fmla="*/ 86 w 127"/>
                <a:gd name="T51" fmla="*/ 196 h 253"/>
                <a:gd name="T52" fmla="*/ 97 w 127"/>
                <a:gd name="T53" fmla="*/ 177 h 253"/>
                <a:gd name="T54" fmla="*/ 106 w 127"/>
                <a:gd name="T55" fmla="*/ 158 h 253"/>
                <a:gd name="T56" fmla="*/ 110 w 127"/>
                <a:gd name="T57" fmla="*/ 137 h 253"/>
                <a:gd name="T58" fmla="*/ 111 w 127"/>
                <a:gd name="T59" fmla="*/ 126 h 253"/>
                <a:gd name="T60" fmla="*/ 108 w 127"/>
                <a:gd name="T61" fmla="*/ 105 h 253"/>
                <a:gd name="T62" fmla="*/ 102 w 127"/>
                <a:gd name="T63" fmla="*/ 84 h 253"/>
                <a:gd name="T64" fmla="*/ 92 w 127"/>
                <a:gd name="T65" fmla="*/ 65 h 253"/>
                <a:gd name="T66" fmla="*/ 79 w 127"/>
                <a:gd name="T67" fmla="*/ 49 h 253"/>
                <a:gd name="T68" fmla="*/ 63 w 127"/>
                <a:gd name="T69" fmla="*/ 36 h 253"/>
                <a:gd name="T70" fmla="*/ 43 w 127"/>
                <a:gd name="T71" fmla="*/ 25 h 253"/>
                <a:gd name="T72" fmla="*/ 23 w 127"/>
                <a:gd name="T73" fmla="*/ 18 h 253"/>
                <a:gd name="T74" fmla="*/ 1 w 127"/>
                <a:gd name="T75" fmla="*/ 16 h 253"/>
                <a:gd name="T76" fmla="*/ 1 w 127"/>
                <a:gd name="T77"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7" h="253">
                  <a:moveTo>
                    <a:pt x="1" y="0"/>
                  </a:moveTo>
                  <a:lnTo>
                    <a:pt x="1" y="0"/>
                  </a:lnTo>
                  <a:lnTo>
                    <a:pt x="14" y="0"/>
                  </a:lnTo>
                  <a:lnTo>
                    <a:pt x="27" y="2"/>
                  </a:lnTo>
                  <a:lnTo>
                    <a:pt x="38" y="5"/>
                  </a:lnTo>
                  <a:lnTo>
                    <a:pt x="51" y="10"/>
                  </a:lnTo>
                  <a:lnTo>
                    <a:pt x="62" y="15"/>
                  </a:lnTo>
                  <a:lnTo>
                    <a:pt x="71" y="21"/>
                  </a:lnTo>
                  <a:lnTo>
                    <a:pt x="81" y="28"/>
                  </a:lnTo>
                  <a:lnTo>
                    <a:pt x="90" y="37"/>
                  </a:lnTo>
                  <a:lnTo>
                    <a:pt x="99" y="45"/>
                  </a:lnTo>
                  <a:lnTo>
                    <a:pt x="106" y="55"/>
                  </a:lnTo>
                  <a:lnTo>
                    <a:pt x="112" y="66"/>
                  </a:lnTo>
                  <a:lnTo>
                    <a:pt x="117" y="78"/>
                  </a:lnTo>
                  <a:lnTo>
                    <a:pt x="122" y="89"/>
                  </a:lnTo>
                  <a:lnTo>
                    <a:pt x="125" y="101"/>
                  </a:lnTo>
                  <a:lnTo>
                    <a:pt x="127" y="113"/>
                  </a:lnTo>
                  <a:lnTo>
                    <a:pt x="127" y="126"/>
                  </a:lnTo>
                  <a:lnTo>
                    <a:pt x="127" y="126"/>
                  </a:lnTo>
                  <a:lnTo>
                    <a:pt x="127" y="139"/>
                  </a:lnTo>
                  <a:lnTo>
                    <a:pt x="125" y="152"/>
                  </a:lnTo>
                  <a:lnTo>
                    <a:pt x="122" y="163"/>
                  </a:lnTo>
                  <a:lnTo>
                    <a:pt x="118" y="175"/>
                  </a:lnTo>
                  <a:lnTo>
                    <a:pt x="112" y="186"/>
                  </a:lnTo>
                  <a:lnTo>
                    <a:pt x="106" y="196"/>
                  </a:lnTo>
                  <a:lnTo>
                    <a:pt x="99" y="206"/>
                  </a:lnTo>
                  <a:lnTo>
                    <a:pt x="90" y="216"/>
                  </a:lnTo>
                  <a:lnTo>
                    <a:pt x="90" y="216"/>
                  </a:lnTo>
                  <a:lnTo>
                    <a:pt x="81" y="224"/>
                  </a:lnTo>
                  <a:lnTo>
                    <a:pt x="71" y="232"/>
                  </a:lnTo>
                  <a:lnTo>
                    <a:pt x="60" y="238"/>
                  </a:lnTo>
                  <a:lnTo>
                    <a:pt x="49" y="243"/>
                  </a:lnTo>
                  <a:lnTo>
                    <a:pt x="38" y="248"/>
                  </a:lnTo>
                  <a:lnTo>
                    <a:pt x="26" y="250"/>
                  </a:lnTo>
                  <a:lnTo>
                    <a:pt x="14" y="253"/>
                  </a:lnTo>
                  <a:lnTo>
                    <a:pt x="1" y="253"/>
                  </a:lnTo>
                  <a:lnTo>
                    <a:pt x="1" y="253"/>
                  </a:lnTo>
                  <a:lnTo>
                    <a:pt x="0" y="253"/>
                  </a:lnTo>
                  <a:lnTo>
                    <a:pt x="1" y="235"/>
                  </a:lnTo>
                  <a:lnTo>
                    <a:pt x="1" y="235"/>
                  </a:lnTo>
                  <a:lnTo>
                    <a:pt x="1" y="235"/>
                  </a:lnTo>
                  <a:lnTo>
                    <a:pt x="1" y="235"/>
                  </a:lnTo>
                  <a:lnTo>
                    <a:pt x="12" y="235"/>
                  </a:lnTo>
                  <a:lnTo>
                    <a:pt x="22" y="234"/>
                  </a:lnTo>
                  <a:lnTo>
                    <a:pt x="33" y="232"/>
                  </a:lnTo>
                  <a:lnTo>
                    <a:pt x="43" y="228"/>
                  </a:lnTo>
                  <a:lnTo>
                    <a:pt x="53" y="223"/>
                  </a:lnTo>
                  <a:lnTo>
                    <a:pt x="62" y="217"/>
                  </a:lnTo>
                  <a:lnTo>
                    <a:pt x="70" y="211"/>
                  </a:lnTo>
                  <a:lnTo>
                    <a:pt x="79" y="203"/>
                  </a:lnTo>
                  <a:lnTo>
                    <a:pt x="79" y="203"/>
                  </a:lnTo>
                  <a:lnTo>
                    <a:pt x="86" y="196"/>
                  </a:lnTo>
                  <a:lnTo>
                    <a:pt x="92" y="187"/>
                  </a:lnTo>
                  <a:lnTo>
                    <a:pt x="97" y="177"/>
                  </a:lnTo>
                  <a:lnTo>
                    <a:pt x="102" y="168"/>
                  </a:lnTo>
                  <a:lnTo>
                    <a:pt x="106" y="158"/>
                  </a:lnTo>
                  <a:lnTo>
                    <a:pt x="108" y="148"/>
                  </a:lnTo>
                  <a:lnTo>
                    <a:pt x="110" y="137"/>
                  </a:lnTo>
                  <a:lnTo>
                    <a:pt x="111" y="126"/>
                  </a:lnTo>
                  <a:lnTo>
                    <a:pt x="111" y="126"/>
                  </a:lnTo>
                  <a:lnTo>
                    <a:pt x="110" y="115"/>
                  </a:lnTo>
                  <a:lnTo>
                    <a:pt x="108" y="105"/>
                  </a:lnTo>
                  <a:lnTo>
                    <a:pt x="106" y="94"/>
                  </a:lnTo>
                  <a:lnTo>
                    <a:pt x="102" y="84"/>
                  </a:lnTo>
                  <a:lnTo>
                    <a:pt x="97" y="74"/>
                  </a:lnTo>
                  <a:lnTo>
                    <a:pt x="92" y="65"/>
                  </a:lnTo>
                  <a:lnTo>
                    <a:pt x="85" y="57"/>
                  </a:lnTo>
                  <a:lnTo>
                    <a:pt x="79" y="49"/>
                  </a:lnTo>
                  <a:lnTo>
                    <a:pt x="70" y="42"/>
                  </a:lnTo>
                  <a:lnTo>
                    <a:pt x="63" y="36"/>
                  </a:lnTo>
                  <a:lnTo>
                    <a:pt x="53" y="29"/>
                  </a:lnTo>
                  <a:lnTo>
                    <a:pt x="43" y="25"/>
                  </a:lnTo>
                  <a:lnTo>
                    <a:pt x="33" y="21"/>
                  </a:lnTo>
                  <a:lnTo>
                    <a:pt x="23" y="18"/>
                  </a:lnTo>
                  <a:lnTo>
                    <a:pt x="12" y="17"/>
                  </a:lnTo>
                  <a:lnTo>
                    <a:pt x="1" y="16"/>
                  </a:lnTo>
                  <a:lnTo>
                    <a:pt x="1" y="0"/>
                  </a:lnTo>
                  <a:lnTo>
                    <a:pt x="1" y="0"/>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0" name="Freeform 215">
              <a:extLst>
                <a:ext uri="{FF2B5EF4-FFF2-40B4-BE49-F238E27FC236}">
                  <a16:creationId xmlns:a16="http://schemas.microsoft.com/office/drawing/2014/main" id="{197C0CBC-2E63-27AC-5416-CE5A3088F2B9}"/>
                </a:ext>
              </a:extLst>
            </p:cNvPr>
            <p:cNvSpPr>
              <a:spLocks/>
            </p:cNvSpPr>
            <p:nvPr/>
          </p:nvSpPr>
          <p:spPr bwMode="auto">
            <a:xfrm>
              <a:off x="3471863" y="323850"/>
              <a:ext cx="290513" cy="293688"/>
            </a:xfrm>
            <a:custGeom>
              <a:avLst/>
              <a:gdLst>
                <a:gd name="T0" fmla="*/ 72 w 183"/>
                <a:gd name="T1" fmla="*/ 162 h 185"/>
                <a:gd name="T2" fmla="*/ 74 w 183"/>
                <a:gd name="T3" fmla="*/ 144 h 185"/>
                <a:gd name="T4" fmla="*/ 79 w 183"/>
                <a:gd name="T5" fmla="*/ 128 h 185"/>
                <a:gd name="T6" fmla="*/ 88 w 183"/>
                <a:gd name="T7" fmla="*/ 113 h 185"/>
                <a:gd name="T8" fmla="*/ 98 w 183"/>
                <a:gd name="T9" fmla="*/ 99 h 185"/>
                <a:gd name="T10" fmla="*/ 111 w 183"/>
                <a:gd name="T11" fmla="*/ 88 h 185"/>
                <a:gd name="T12" fmla="*/ 126 w 183"/>
                <a:gd name="T13" fmla="*/ 81 h 185"/>
                <a:gd name="T14" fmla="*/ 143 w 183"/>
                <a:gd name="T15" fmla="*/ 75 h 185"/>
                <a:gd name="T16" fmla="*/ 161 w 183"/>
                <a:gd name="T17" fmla="*/ 74 h 185"/>
                <a:gd name="T18" fmla="*/ 172 w 183"/>
                <a:gd name="T19" fmla="*/ 75 h 185"/>
                <a:gd name="T20" fmla="*/ 183 w 183"/>
                <a:gd name="T21" fmla="*/ 76 h 185"/>
                <a:gd name="T22" fmla="*/ 180 w 183"/>
                <a:gd name="T23" fmla="*/ 59 h 185"/>
                <a:gd name="T24" fmla="*/ 174 w 183"/>
                <a:gd name="T25" fmla="*/ 43 h 185"/>
                <a:gd name="T26" fmla="*/ 166 w 183"/>
                <a:gd name="T27" fmla="*/ 28 h 185"/>
                <a:gd name="T28" fmla="*/ 154 w 183"/>
                <a:gd name="T29" fmla="*/ 14 h 185"/>
                <a:gd name="T30" fmla="*/ 145 w 183"/>
                <a:gd name="T31" fmla="*/ 7 h 185"/>
                <a:gd name="T32" fmla="*/ 135 w 183"/>
                <a:gd name="T33" fmla="*/ 0 h 185"/>
                <a:gd name="T34" fmla="*/ 134 w 183"/>
                <a:gd name="T35" fmla="*/ 4 h 185"/>
                <a:gd name="T36" fmla="*/ 134 w 183"/>
                <a:gd name="T37" fmla="*/ 25 h 185"/>
                <a:gd name="T38" fmla="*/ 113 w 183"/>
                <a:gd name="T39" fmla="*/ 30 h 185"/>
                <a:gd name="T40" fmla="*/ 103 w 183"/>
                <a:gd name="T41" fmla="*/ 14 h 185"/>
                <a:gd name="T42" fmla="*/ 98 w 183"/>
                <a:gd name="T43" fmla="*/ 9 h 185"/>
                <a:gd name="T44" fmla="*/ 90 w 183"/>
                <a:gd name="T45" fmla="*/ 11 h 185"/>
                <a:gd name="T46" fmla="*/ 61 w 183"/>
                <a:gd name="T47" fmla="*/ 28 h 185"/>
                <a:gd name="T48" fmla="*/ 57 w 183"/>
                <a:gd name="T49" fmla="*/ 33 h 185"/>
                <a:gd name="T50" fmla="*/ 58 w 183"/>
                <a:gd name="T51" fmla="*/ 39 h 185"/>
                <a:gd name="T52" fmla="*/ 68 w 183"/>
                <a:gd name="T53" fmla="*/ 58 h 185"/>
                <a:gd name="T54" fmla="*/ 53 w 183"/>
                <a:gd name="T55" fmla="*/ 72 h 185"/>
                <a:gd name="T56" fmla="*/ 36 w 183"/>
                <a:gd name="T57" fmla="*/ 62 h 185"/>
                <a:gd name="T58" fmla="*/ 30 w 183"/>
                <a:gd name="T59" fmla="*/ 62 h 185"/>
                <a:gd name="T60" fmla="*/ 25 w 183"/>
                <a:gd name="T61" fmla="*/ 66 h 185"/>
                <a:gd name="T62" fmla="*/ 8 w 183"/>
                <a:gd name="T63" fmla="*/ 96 h 185"/>
                <a:gd name="T64" fmla="*/ 6 w 183"/>
                <a:gd name="T65" fmla="*/ 102 h 185"/>
                <a:gd name="T66" fmla="*/ 10 w 183"/>
                <a:gd name="T67" fmla="*/ 107 h 185"/>
                <a:gd name="T68" fmla="*/ 29 w 183"/>
                <a:gd name="T69" fmla="*/ 118 h 185"/>
                <a:gd name="T70" fmla="*/ 23 w 183"/>
                <a:gd name="T71" fmla="*/ 139 h 185"/>
                <a:gd name="T72" fmla="*/ 3 w 183"/>
                <a:gd name="T73" fmla="*/ 139 h 185"/>
                <a:gd name="T74" fmla="*/ 0 w 183"/>
                <a:gd name="T75" fmla="*/ 139 h 185"/>
                <a:gd name="T76" fmla="*/ 14 w 183"/>
                <a:gd name="T77" fmla="*/ 156 h 185"/>
                <a:gd name="T78" fmla="*/ 32 w 183"/>
                <a:gd name="T79" fmla="*/ 170 h 185"/>
                <a:gd name="T80" fmla="*/ 52 w 183"/>
                <a:gd name="T81" fmla="*/ 180 h 185"/>
                <a:gd name="T82" fmla="*/ 76 w 183"/>
                <a:gd name="T83" fmla="*/ 185 h 185"/>
                <a:gd name="T84" fmla="*/ 73 w 183"/>
                <a:gd name="T85" fmla="*/ 173 h 185"/>
                <a:gd name="T86" fmla="*/ 72 w 183"/>
                <a:gd name="T87" fmla="*/ 16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3" h="185">
                  <a:moveTo>
                    <a:pt x="72" y="162"/>
                  </a:moveTo>
                  <a:lnTo>
                    <a:pt x="72" y="162"/>
                  </a:lnTo>
                  <a:lnTo>
                    <a:pt x="73" y="154"/>
                  </a:lnTo>
                  <a:lnTo>
                    <a:pt x="74" y="144"/>
                  </a:lnTo>
                  <a:lnTo>
                    <a:pt x="77" y="136"/>
                  </a:lnTo>
                  <a:lnTo>
                    <a:pt x="79" y="128"/>
                  </a:lnTo>
                  <a:lnTo>
                    <a:pt x="83" y="120"/>
                  </a:lnTo>
                  <a:lnTo>
                    <a:pt x="88" y="113"/>
                  </a:lnTo>
                  <a:lnTo>
                    <a:pt x="93" y="106"/>
                  </a:lnTo>
                  <a:lnTo>
                    <a:pt x="98" y="99"/>
                  </a:lnTo>
                  <a:lnTo>
                    <a:pt x="104" y="93"/>
                  </a:lnTo>
                  <a:lnTo>
                    <a:pt x="111" y="88"/>
                  </a:lnTo>
                  <a:lnTo>
                    <a:pt x="119" y="85"/>
                  </a:lnTo>
                  <a:lnTo>
                    <a:pt x="126" y="81"/>
                  </a:lnTo>
                  <a:lnTo>
                    <a:pt x="135" y="77"/>
                  </a:lnTo>
                  <a:lnTo>
                    <a:pt x="143" y="75"/>
                  </a:lnTo>
                  <a:lnTo>
                    <a:pt x="152" y="74"/>
                  </a:lnTo>
                  <a:lnTo>
                    <a:pt x="161" y="74"/>
                  </a:lnTo>
                  <a:lnTo>
                    <a:pt x="161" y="74"/>
                  </a:lnTo>
                  <a:lnTo>
                    <a:pt x="172" y="75"/>
                  </a:lnTo>
                  <a:lnTo>
                    <a:pt x="183" y="76"/>
                  </a:lnTo>
                  <a:lnTo>
                    <a:pt x="183" y="76"/>
                  </a:lnTo>
                  <a:lnTo>
                    <a:pt x="182" y="67"/>
                  </a:lnTo>
                  <a:lnTo>
                    <a:pt x="180" y="59"/>
                  </a:lnTo>
                  <a:lnTo>
                    <a:pt x="178" y="51"/>
                  </a:lnTo>
                  <a:lnTo>
                    <a:pt x="174" y="43"/>
                  </a:lnTo>
                  <a:lnTo>
                    <a:pt x="171" y="35"/>
                  </a:lnTo>
                  <a:lnTo>
                    <a:pt x="166" y="28"/>
                  </a:lnTo>
                  <a:lnTo>
                    <a:pt x="161" y="21"/>
                  </a:lnTo>
                  <a:lnTo>
                    <a:pt x="154" y="14"/>
                  </a:lnTo>
                  <a:lnTo>
                    <a:pt x="154" y="14"/>
                  </a:lnTo>
                  <a:lnTo>
                    <a:pt x="145" y="7"/>
                  </a:lnTo>
                  <a:lnTo>
                    <a:pt x="135" y="0"/>
                  </a:lnTo>
                  <a:lnTo>
                    <a:pt x="135" y="0"/>
                  </a:lnTo>
                  <a:lnTo>
                    <a:pt x="134" y="2"/>
                  </a:lnTo>
                  <a:lnTo>
                    <a:pt x="134" y="4"/>
                  </a:lnTo>
                  <a:lnTo>
                    <a:pt x="134" y="25"/>
                  </a:lnTo>
                  <a:lnTo>
                    <a:pt x="134" y="25"/>
                  </a:lnTo>
                  <a:lnTo>
                    <a:pt x="122" y="28"/>
                  </a:lnTo>
                  <a:lnTo>
                    <a:pt x="113" y="30"/>
                  </a:lnTo>
                  <a:lnTo>
                    <a:pt x="103" y="14"/>
                  </a:lnTo>
                  <a:lnTo>
                    <a:pt x="103" y="14"/>
                  </a:lnTo>
                  <a:lnTo>
                    <a:pt x="100" y="11"/>
                  </a:lnTo>
                  <a:lnTo>
                    <a:pt x="98" y="9"/>
                  </a:lnTo>
                  <a:lnTo>
                    <a:pt x="94" y="9"/>
                  </a:lnTo>
                  <a:lnTo>
                    <a:pt x="90" y="11"/>
                  </a:lnTo>
                  <a:lnTo>
                    <a:pt x="61" y="28"/>
                  </a:lnTo>
                  <a:lnTo>
                    <a:pt x="61" y="28"/>
                  </a:lnTo>
                  <a:lnTo>
                    <a:pt x="58" y="30"/>
                  </a:lnTo>
                  <a:lnTo>
                    <a:pt x="57" y="33"/>
                  </a:lnTo>
                  <a:lnTo>
                    <a:pt x="57" y="37"/>
                  </a:lnTo>
                  <a:lnTo>
                    <a:pt x="58" y="39"/>
                  </a:lnTo>
                  <a:lnTo>
                    <a:pt x="68" y="58"/>
                  </a:lnTo>
                  <a:lnTo>
                    <a:pt x="68" y="58"/>
                  </a:lnTo>
                  <a:lnTo>
                    <a:pt x="61" y="65"/>
                  </a:lnTo>
                  <a:lnTo>
                    <a:pt x="53" y="72"/>
                  </a:lnTo>
                  <a:lnTo>
                    <a:pt x="36" y="62"/>
                  </a:lnTo>
                  <a:lnTo>
                    <a:pt x="36" y="62"/>
                  </a:lnTo>
                  <a:lnTo>
                    <a:pt x="34" y="61"/>
                  </a:lnTo>
                  <a:lnTo>
                    <a:pt x="30" y="62"/>
                  </a:lnTo>
                  <a:lnTo>
                    <a:pt x="26" y="64"/>
                  </a:lnTo>
                  <a:lnTo>
                    <a:pt x="25" y="66"/>
                  </a:lnTo>
                  <a:lnTo>
                    <a:pt x="8" y="96"/>
                  </a:lnTo>
                  <a:lnTo>
                    <a:pt x="8" y="96"/>
                  </a:lnTo>
                  <a:lnTo>
                    <a:pt x="6" y="98"/>
                  </a:lnTo>
                  <a:lnTo>
                    <a:pt x="6" y="102"/>
                  </a:lnTo>
                  <a:lnTo>
                    <a:pt x="8" y="104"/>
                  </a:lnTo>
                  <a:lnTo>
                    <a:pt x="10" y="107"/>
                  </a:lnTo>
                  <a:lnTo>
                    <a:pt x="29" y="118"/>
                  </a:lnTo>
                  <a:lnTo>
                    <a:pt x="29" y="118"/>
                  </a:lnTo>
                  <a:lnTo>
                    <a:pt x="25" y="128"/>
                  </a:lnTo>
                  <a:lnTo>
                    <a:pt x="23" y="139"/>
                  </a:lnTo>
                  <a:lnTo>
                    <a:pt x="3" y="139"/>
                  </a:lnTo>
                  <a:lnTo>
                    <a:pt x="3" y="139"/>
                  </a:lnTo>
                  <a:lnTo>
                    <a:pt x="0" y="139"/>
                  </a:lnTo>
                  <a:lnTo>
                    <a:pt x="0" y="139"/>
                  </a:lnTo>
                  <a:lnTo>
                    <a:pt x="6" y="149"/>
                  </a:lnTo>
                  <a:lnTo>
                    <a:pt x="14" y="156"/>
                  </a:lnTo>
                  <a:lnTo>
                    <a:pt x="23" y="164"/>
                  </a:lnTo>
                  <a:lnTo>
                    <a:pt x="32" y="170"/>
                  </a:lnTo>
                  <a:lnTo>
                    <a:pt x="42" y="176"/>
                  </a:lnTo>
                  <a:lnTo>
                    <a:pt x="52" y="180"/>
                  </a:lnTo>
                  <a:lnTo>
                    <a:pt x="63" y="183"/>
                  </a:lnTo>
                  <a:lnTo>
                    <a:pt x="76" y="185"/>
                  </a:lnTo>
                  <a:lnTo>
                    <a:pt x="76" y="185"/>
                  </a:lnTo>
                  <a:lnTo>
                    <a:pt x="73" y="173"/>
                  </a:lnTo>
                  <a:lnTo>
                    <a:pt x="72" y="162"/>
                  </a:lnTo>
                  <a:lnTo>
                    <a:pt x="72" y="162"/>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8" name="Freeform 216">
              <a:extLst>
                <a:ext uri="{FF2B5EF4-FFF2-40B4-BE49-F238E27FC236}">
                  <a16:creationId xmlns:a16="http://schemas.microsoft.com/office/drawing/2014/main" id="{9DE72A37-7394-43D3-C49C-1BFD4067B489}"/>
                </a:ext>
              </a:extLst>
            </p:cNvPr>
            <p:cNvSpPr>
              <a:spLocks/>
            </p:cNvSpPr>
            <p:nvPr/>
          </p:nvSpPr>
          <p:spPr bwMode="auto">
            <a:xfrm>
              <a:off x="3471863" y="544513"/>
              <a:ext cx="120650" cy="73025"/>
            </a:xfrm>
            <a:custGeom>
              <a:avLst/>
              <a:gdLst>
                <a:gd name="T0" fmla="*/ 23 w 76"/>
                <a:gd name="T1" fmla="*/ 0 h 46"/>
                <a:gd name="T2" fmla="*/ 23 w 76"/>
                <a:gd name="T3" fmla="*/ 0 h 46"/>
                <a:gd name="T4" fmla="*/ 23 w 76"/>
                <a:gd name="T5" fmla="*/ 0 h 46"/>
                <a:gd name="T6" fmla="*/ 3 w 76"/>
                <a:gd name="T7" fmla="*/ 0 h 46"/>
                <a:gd name="T8" fmla="*/ 3 w 76"/>
                <a:gd name="T9" fmla="*/ 0 h 46"/>
                <a:gd name="T10" fmla="*/ 0 w 76"/>
                <a:gd name="T11" fmla="*/ 0 h 46"/>
                <a:gd name="T12" fmla="*/ 0 w 76"/>
                <a:gd name="T13" fmla="*/ 0 h 46"/>
                <a:gd name="T14" fmla="*/ 3 w 76"/>
                <a:gd name="T15" fmla="*/ 4 h 46"/>
                <a:gd name="T16" fmla="*/ 3 w 76"/>
                <a:gd name="T17" fmla="*/ 4 h 46"/>
                <a:gd name="T18" fmla="*/ 4 w 76"/>
                <a:gd name="T19" fmla="*/ 6 h 46"/>
                <a:gd name="T20" fmla="*/ 4 w 76"/>
                <a:gd name="T21" fmla="*/ 6 h 46"/>
                <a:gd name="T22" fmla="*/ 9 w 76"/>
                <a:gd name="T23" fmla="*/ 12 h 46"/>
                <a:gd name="T24" fmla="*/ 9 w 76"/>
                <a:gd name="T25" fmla="*/ 12 h 46"/>
                <a:gd name="T26" fmla="*/ 11 w 76"/>
                <a:gd name="T27" fmla="*/ 15 h 46"/>
                <a:gd name="T28" fmla="*/ 11 w 76"/>
                <a:gd name="T29" fmla="*/ 15 h 46"/>
                <a:gd name="T30" fmla="*/ 15 w 76"/>
                <a:gd name="T31" fmla="*/ 18 h 46"/>
                <a:gd name="T32" fmla="*/ 15 w 76"/>
                <a:gd name="T33" fmla="*/ 18 h 46"/>
                <a:gd name="T34" fmla="*/ 19 w 76"/>
                <a:gd name="T35" fmla="*/ 22 h 46"/>
                <a:gd name="T36" fmla="*/ 19 w 76"/>
                <a:gd name="T37" fmla="*/ 22 h 46"/>
                <a:gd name="T38" fmla="*/ 23 w 76"/>
                <a:gd name="T39" fmla="*/ 25 h 46"/>
                <a:gd name="T40" fmla="*/ 23 w 76"/>
                <a:gd name="T41" fmla="*/ 25 h 46"/>
                <a:gd name="T42" fmla="*/ 25 w 76"/>
                <a:gd name="T43" fmla="*/ 27 h 46"/>
                <a:gd name="T44" fmla="*/ 25 w 76"/>
                <a:gd name="T45" fmla="*/ 27 h 46"/>
                <a:gd name="T46" fmla="*/ 30 w 76"/>
                <a:gd name="T47" fmla="*/ 31 h 46"/>
                <a:gd name="T48" fmla="*/ 30 w 76"/>
                <a:gd name="T49" fmla="*/ 31 h 46"/>
                <a:gd name="T50" fmla="*/ 34 w 76"/>
                <a:gd name="T51" fmla="*/ 32 h 46"/>
                <a:gd name="T52" fmla="*/ 34 w 76"/>
                <a:gd name="T53" fmla="*/ 32 h 46"/>
                <a:gd name="T54" fmla="*/ 40 w 76"/>
                <a:gd name="T55" fmla="*/ 36 h 46"/>
                <a:gd name="T56" fmla="*/ 40 w 76"/>
                <a:gd name="T57" fmla="*/ 36 h 46"/>
                <a:gd name="T58" fmla="*/ 42 w 76"/>
                <a:gd name="T59" fmla="*/ 37 h 46"/>
                <a:gd name="T60" fmla="*/ 42 w 76"/>
                <a:gd name="T61" fmla="*/ 37 h 46"/>
                <a:gd name="T62" fmla="*/ 47 w 76"/>
                <a:gd name="T63" fmla="*/ 39 h 46"/>
                <a:gd name="T64" fmla="*/ 47 w 76"/>
                <a:gd name="T65" fmla="*/ 39 h 46"/>
                <a:gd name="T66" fmla="*/ 51 w 76"/>
                <a:gd name="T67" fmla="*/ 41 h 46"/>
                <a:gd name="T68" fmla="*/ 51 w 76"/>
                <a:gd name="T69" fmla="*/ 41 h 46"/>
                <a:gd name="T70" fmla="*/ 57 w 76"/>
                <a:gd name="T71" fmla="*/ 42 h 46"/>
                <a:gd name="T72" fmla="*/ 57 w 76"/>
                <a:gd name="T73" fmla="*/ 42 h 46"/>
                <a:gd name="T74" fmla="*/ 60 w 76"/>
                <a:gd name="T75" fmla="*/ 43 h 46"/>
                <a:gd name="T76" fmla="*/ 60 w 76"/>
                <a:gd name="T77" fmla="*/ 43 h 46"/>
                <a:gd name="T78" fmla="*/ 67 w 76"/>
                <a:gd name="T79" fmla="*/ 44 h 46"/>
                <a:gd name="T80" fmla="*/ 67 w 76"/>
                <a:gd name="T81" fmla="*/ 44 h 46"/>
                <a:gd name="T82" fmla="*/ 71 w 76"/>
                <a:gd name="T83" fmla="*/ 46 h 46"/>
                <a:gd name="T84" fmla="*/ 71 w 76"/>
                <a:gd name="T85" fmla="*/ 46 h 46"/>
                <a:gd name="T86" fmla="*/ 76 w 76"/>
                <a:gd name="T87" fmla="*/ 46 h 46"/>
                <a:gd name="T88" fmla="*/ 76 w 76"/>
                <a:gd name="T89" fmla="*/ 46 h 46"/>
                <a:gd name="T90" fmla="*/ 73 w 76"/>
                <a:gd name="T91" fmla="*/ 34 h 46"/>
                <a:gd name="T92" fmla="*/ 73 w 76"/>
                <a:gd name="T93" fmla="*/ 34 h 46"/>
                <a:gd name="T94" fmla="*/ 58 w 76"/>
                <a:gd name="T95" fmla="*/ 30 h 46"/>
                <a:gd name="T96" fmla="*/ 45 w 76"/>
                <a:gd name="T97" fmla="*/ 21 h 46"/>
                <a:gd name="T98" fmla="*/ 34 w 76"/>
                <a:gd name="T99" fmla="*/ 11 h 46"/>
                <a:gd name="T100" fmla="*/ 23 w 76"/>
                <a:gd name="T101" fmla="*/ 0 h 46"/>
                <a:gd name="T102" fmla="*/ 23 w 76"/>
                <a:gd name="T10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 h="46">
                  <a:moveTo>
                    <a:pt x="23" y="0"/>
                  </a:moveTo>
                  <a:lnTo>
                    <a:pt x="23" y="0"/>
                  </a:lnTo>
                  <a:lnTo>
                    <a:pt x="23" y="0"/>
                  </a:lnTo>
                  <a:lnTo>
                    <a:pt x="3" y="0"/>
                  </a:lnTo>
                  <a:lnTo>
                    <a:pt x="3" y="0"/>
                  </a:lnTo>
                  <a:lnTo>
                    <a:pt x="0" y="0"/>
                  </a:lnTo>
                  <a:lnTo>
                    <a:pt x="0" y="0"/>
                  </a:lnTo>
                  <a:lnTo>
                    <a:pt x="3" y="4"/>
                  </a:lnTo>
                  <a:lnTo>
                    <a:pt x="3" y="4"/>
                  </a:lnTo>
                  <a:lnTo>
                    <a:pt x="4" y="6"/>
                  </a:lnTo>
                  <a:lnTo>
                    <a:pt x="4" y="6"/>
                  </a:lnTo>
                  <a:lnTo>
                    <a:pt x="9" y="12"/>
                  </a:lnTo>
                  <a:lnTo>
                    <a:pt x="9" y="12"/>
                  </a:lnTo>
                  <a:lnTo>
                    <a:pt x="11" y="15"/>
                  </a:lnTo>
                  <a:lnTo>
                    <a:pt x="11" y="15"/>
                  </a:lnTo>
                  <a:lnTo>
                    <a:pt x="15" y="18"/>
                  </a:lnTo>
                  <a:lnTo>
                    <a:pt x="15" y="18"/>
                  </a:lnTo>
                  <a:lnTo>
                    <a:pt x="19" y="22"/>
                  </a:lnTo>
                  <a:lnTo>
                    <a:pt x="19" y="22"/>
                  </a:lnTo>
                  <a:lnTo>
                    <a:pt x="23" y="25"/>
                  </a:lnTo>
                  <a:lnTo>
                    <a:pt x="23" y="25"/>
                  </a:lnTo>
                  <a:lnTo>
                    <a:pt x="25" y="27"/>
                  </a:lnTo>
                  <a:lnTo>
                    <a:pt x="25" y="27"/>
                  </a:lnTo>
                  <a:lnTo>
                    <a:pt x="30" y="31"/>
                  </a:lnTo>
                  <a:lnTo>
                    <a:pt x="30" y="31"/>
                  </a:lnTo>
                  <a:lnTo>
                    <a:pt x="34" y="32"/>
                  </a:lnTo>
                  <a:lnTo>
                    <a:pt x="34" y="32"/>
                  </a:lnTo>
                  <a:lnTo>
                    <a:pt x="40" y="36"/>
                  </a:lnTo>
                  <a:lnTo>
                    <a:pt x="40" y="36"/>
                  </a:lnTo>
                  <a:lnTo>
                    <a:pt x="42" y="37"/>
                  </a:lnTo>
                  <a:lnTo>
                    <a:pt x="42" y="37"/>
                  </a:lnTo>
                  <a:lnTo>
                    <a:pt x="47" y="39"/>
                  </a:lnTo>
                  <a:lnTo>
                    <a:pt x="47" y="39"/>
                  </a:lnTo>
                  <a:lnTo>
                    <a:pt x="51" y="41"/>
                  </a:lnTo>
                  <a:lnTo>
                    <a:pt x="51" y="41"/>
                  </a:lnTo>
                  <a:lnTo>
                    <a:pt x="57" y="42"/>
                  </a:lnTo>
                  <a:lnTo>
                    <a:pt x="57" y="42"/>
                  </a:lnTo>
                  <a:lnTo>
                    <a:pt x="60" y="43"/>
                  </a:lnTo>
                  <a:lnTo>
                    <a:pt x="60" y="43"/>
                  </a:lnTo>
                  <a:lnTo>
                    <a:pt x="67" y="44"/>
                  </a:lnTo>
                  <a:lnTo>
                    <a:pt x="67" y="44"/>
                  </a:lnTo>
                  <a:lnTo>
                    <a:pt x="71" y="46"/>
                  </a:lnTo>
                  <a:lnTo>
                    <a:pt x="71" y="46"/>
                  </a:lnTo>
                  <a:lnTo>
                    <a:pt x="76" y="46"/>
                  </a:lnTo>
                  <a:lnTo>
                    <a:pt x="76" y="46"/>
                  </a:lnTo>
                  <a:lnTo>
                    <a:pt x="73" y="34"/>
                  </a:lnTo>
                  <a:lnTo>
                    <a:pt x="73" y="34"/>
                  </a:lnTo>
                  <a:lnTo>
                    <a:pt x="58" y="30"/>
                  </a:lnTo>
                  <a:lnTo>
                    <a:pt x="45" y="21"/>
                  </a:lnTo>
                  <a:lnTo>
                    <a:pt x="34" y="11"/>
                  </a:lnTo>
                  <a:lnTo>
                    <a:pt x="23" y="0"/>
                  </a:lnTo>
                  <a:lnTo>
                    <a:pt x="23"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441648778"/>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46E2FDE-BF7B-883C-1214-B89AF8AC25EC}"/>
              </a:ext>
            </a:extLst>
          </p:cNvPr>
          <p:cNvSpPr txBox="1">
            <a:spLocks/>
          </p:cNvSpPr>
          <p:nvPr/>
        </p:nvSpPr>
        <p:spPr>
          <a:xfrm>
            <a:off x="228600" y="176586"/>
            <a:ext cx="11124959" cy="6596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200" b="1" i="0" u="none" strike="noStrike" kern="1200" cap="none" spc="0" normalizeH="0" baseline="0" noProof="0" dirty="0">
                <a:ln>
                  <a:noFill/>
                </a:ln>
                <a:solidFill>
                  <a:prstClr val="black"/>
                </a:solidFill>
                <a:effectLst/>
                <a:uLnTx/>
                <a:uFillTx/>
                <a:latin typeface="Open Sans"/>
                <a:ea typeface="Open Sans"/>
                <a:cs typeface="Open Sans"/>
              </a:rPr>
              <a:t>Principali richieste di chiarimento delle Scuole (9/9)</a:t>
            </a:r>
            <a:endParaRPr kumimoji="0" lang="it-IT" sz="2000" b="1" i="1"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
        <p:nvSpPr>
          <p:cNvPr id="19" name="Rectangle 27">
            <a:extLst>
              <a:ext uri="{FF2B5EF4-FFF2-40B4-BE49-F238E27FC236}">
                <a16:creationId xmlns:a16="http://schemas.microsoft.com/office/drawing/2014/main" id="{1FF3A17F-10BE-AECB-62DC-63B9B9701F13}"/>
              </a:ext>
            </a:extLst>
          </p:cNvPr>
          <p:cNvSpPr/>
          <p:nvPr/>
        </p:nvSpPr>
        <p:spPr>
          <a:xfrm>
            <a:off x="1234668" y="3079875"/>
            <a:ext cx="9722664" cy="3150769"/>
          </a:xfrm>
          <a:prstGeom prst="rect">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lIns="216000" tIns="108000" rIns="216000" bIns="108000" rtlCol="0" anchor="ctr"/>
          <a:lstStyle/>
          <a:p>
            <a:pPr marL="0" marR="0" lvl="0" indent="0" algn="just" defTabSz="914400" rtl="0" eaLnBrk="1" fontAlgn="auto" latinLnBrk="0" hangingPunct="1">
              <a:lnSpc>
                <a:spcPct val="120000"/>
              </a:lnSpc>
              <a:spcBef>
                <a:spcPts val="300"/>
              </a:spcBef>
              <a:spcAft>
                <a:spcPts val="300"/>
              </a:spcAft>
              <a:buClrTx/>
              <a:buSzTx/>
              <a:buFontTx/>
              <a:buNone/>
              <a:tabLst/>
              <a:defRPr/>
            </a:pPr>
            <a:r>
              <a:rPr kumimoji="0" lang="it-IT" sz="1400"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o</a:t>
            </a:r>
            <a:r>
              <a:rPr kumimoji="0" lang="it-IT"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Non è necessario in quanto</a:t>
            </a:r>
            <a:r>
              <a:rPr lang="it-IT"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il DM n. 63 del 5 aprile 2023 disciplina l’utilizzo delle risorse stanziate dalla Legge n. 197 del 29 dicembre 2022  per l’anno scolastico 2023/2024. Ad ogni modo, l</a:t>
            </a:r>
            <a:r>
              <a:rPr kumimoji="0" lang="it-IT"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rticolo 46 del nuovo </a:t>
            </a:r>
            <a:r>
              <a:rPr kumimoji="0" lang="it-IT" sz="1400" b="1"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CNL </a:t>
            </a:r>
            <a:r>
              <a:rPr kumimoji="0" lang="it-IT"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 fase di approvazione, prevede che in sede di  </a:t>
            </a:r>
            <a:r>
              <a:rPr lang="it-IT" sz="140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ontrattazione collettiva integrativa nazionale saranno definiti</a:t>
            </a:r>
            <a:r>
              <a:rPr kumimoji="0" lang="it-IT"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p>
          <a:p>
            <a:pPr marL="285750" lvl="0" indent="-285750" algn="just">
              <a:lnSpc>
                <a:spcPct val="120000"/>
              </a:lnSpc>
              <a:spcBef>
                <a:spcPts val="300"/>
              </a:spcBef>
              <a:spcAft>
                <a:spcPts val="300"/>
              </a:spcAft>
              <a:buFont typeface="Arial" panose="020B0604020202020204" pitchFamily="34" charset="0"/>
              <a:buChar char="•"/>
              <a:defRPr/>
            </a:pPr>
            <a:r>
              <a:rPr kumimoji="0" lang="it-IT"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odalità e criteri di utilizzazione di tutti gli eventuali finanziamenti aggiuntivi destinati al personale impegnato nelle attività di tutor, orientamento, coordinamento e nel sostegno della ricerca educativo-didattica e valutativa funzionali allo sviluppo dei processi d’innovazione e finalizzati alla valorizzazione del lavoro d’aula e al miglioramento dei livelli di apprendimento;</a:t>
            </a:r>
          </a:p>
          <a:p>
            <a:pPr marL="285750" marR="0" lvl="0" indent="-285750" algn="just" defTabSz="914400" rtl="0" eaLnBrk="1" fontAlgn="auto" latinLnBrk="0" hangingPunct="1">
              <a:lnSpc>
                <a:spcPct val="120000"/>
              </a:lnSpc>
              <a:spcBef>
                <a:spcPts val="300"/>
              </a:spcBef>
              <a:spcAft>
                <a:spcPts val="300"/>
              </a:spcAft>
              <a:buClrTx/>
              <a:buSzTx/>
              <a:buFont typeface="Arial" panose="020B0604020202020204" pitchFamily="34" charset="0"/>
              <a:buChar char="•"/>
              <a:tabLst/>
              <a:defRPr/>
            </a:pPr>
            <a:r>
              <a:rPr kumimoji="0" lang="it-IT" sz="1400" b="0" i="0"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odalità e criteri di utilizzazione di tutte le eventuali risorse aggiuntive destinate al personale delle scuole che, sulla base di valutazioni oggettive operate dal sistema nazionale di valutazione, tengano conto delle condizioni iniziali di contesto finalizzate all’elevazione degli esiti formativi.</a:t>
            </a:r>
          </a:p>
        </p:txBody>
      </p:sp>
      <p:sp>
        <p:nvSpPr>
          <p:cNvPr id="43" name="Triangolo isoscele 42">
            <a:extLst>
              <a:ext uri="{FF2B5EF4-FFF2-40B4-BE49-F238E27FC236}">
                <a16:creationId xmlns:a16="http://schemas.microsoft.com/office/drawing/2014/main" id="{65E5D22A-0988-19BA-4B1A-84D20D8AC718}"/>
              </a:ext>
            </a:extLst>
          </p:cNvPr>
          <p:cNvSpPr/>
          <p:nvPr/>
        </p:nvSpPr>
        <p:spPr>
          <a:xfrm rot="10800000">
            <a:off x="5167735" y="2410723"/>
            <a:ext cx="1856531" cy="517721"/>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Calibri" panose="020F0502020204030204"/>
              <a:ea typeface="+mn-ea"/>
              <a:cs typeface="+mn-cs"/>
            </a:endParaRPr>
          </a:p>
        </p:txBody>
      </p:sp>
      <p:sp>
        <p:nvSpPr>
          <p:cNvPr id="21" name="Rectangle 27">
            <a:extLst>
              <a:ext uri="{FF2B5EF4-FFF2-40B4-BE49-F238E27FC236}">
                <a16:creationId xmlns:a16="http://schemas.microsoft.com/office/drawing/2014/main" id="{9E5843AF-0640-417B-E8AC-E686A1843F3E}"/>
              </a:ext>
            </a:extLst>
          </p:cNvPr>
          <p:cNvSpPr/>
          <p:nvPr/>
        </p:nvSpPr>
        <p:spPr>
          <a:xfrm>
            <a:off x="1234200" y="1360800"/>
            <a:ext cx="9723600" cy="896727"/>
          </a:xfrm>
          <a:prstGeom prst="rect">
            <a:avLst/>
          </a:prstGeom>
          <a:solidFill>
            <a:schemeClr val="bg1"/>
          </a:solidFill>
          <a:ln w="19050">
            <a:solidFill>
              <a:srgbClr val="A6DAE9"/>
            </a:solidFill>
          </a:ln>
        </p:spPr>
        <p:style>
          <a:lnRef idx="2">
            <a:schemeClr val="accent1">
              <a:shade val="50000"/>
            </a:schemeClr>
          </a:lnRef>
          <a:fillRef idx="1">
            <a:schemeClr val="accent1"/>
          </a:fillRef>
          <a:effectRef idx="0">
            <a:schemeClr val="accent1"/>
          </a:effectRef>
          <a:fontRef idx="minor">
            <a:schemeClr val="lt1"/>
          </a:fontRef>
        </p:style>
        <p:txBody>
          <a:bodyPr lIns="324000" tIns="108000" rIns="324000" bIns="108000" rtlCol="0" anchor="ctr"/>
          <a:lstStyle/>
          <a:p>
            <a:pPr marL="0" marR="0" lvl="0" indent="0" algn="ctr" defTabSz="914400" rtl="0" eaLnBrk="1" fontAlgn="auto" latinLnBrk="0" hangingPunct="1">
              <a:lnSpc>
                <a:spcPct val="120000"/>
              </a:lnSpc>
              <a:spcBef>
                <a:spcPts val="300"/>
              </a:spcBef>
              <a:spcAft>
                <a:spcPts val="300"/>
              </a:spcAft>
              <a:buClrTx/>
              <a:buSzTx/>
              <a:buFontTx/>
              <a:buNone/>
              <a:tabLst/>
              <a:defRPr/>
            </a:pPr>
            <a:r>
              <a:rPr kumimoji="0" lang="it-IT" sz="1600" b="1"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È necessario aspettare l’entrata in vigore del nuovo CCNL al fine di procedere all’attivazione dei docenti tutor?</a:t>
            </a:r>
          </a:p>
        </p:txBody>
      </p:sp>
      <p:sp>
        <p:nvSpPr>
          <p:cNvPr id="3" name="Segnaposto numero diapositiva 2">
            <a:extLst>
              <a:ext uri="{FF2B5EF4-FFF2-40B4-BE49-F238E27FC236}">
                <a16:creationId xmlns:a16="http://schemas.microsoft.com/office/drawing/2014/main" id="{CD47BF9B-EA00-BB8F-0F26-9714CDCE2D68}"/>
              </a:ext>
            </a:extLst>
          </p:cNvPr>
          <p:cNvSpPr>
            <a:spLocks noGrp="1"/>
          </p:cNvSpPr>
          <p:nvPr>
            <p:ph type="sldNum" sz="quarter" idx="12"/>
          </p:nvPr>
        </p:nvSpPr>
        <p:spPr/>
        <p:txBody>
          <a:bodyPr/>
          <a:lstStyle/>
          <a:p>
            <a:fld id="{00F0C1FD-41C3-4D85-8E51-9C56B45C685D}" type="slidenum">
              <a:rPr lang="it-IT" smtClean="0"/>
              <a:t>17</a:t>
            </a:fld>
            <a:endParaRPr lang="it-IT"/>
          </a:p>
        </p:txBody>
      </p:sp>
      <p:grpSp>
        <p:nvGrpSpPr>
          <p:cNvPr id="22" name="Group 406">
            <a:extLst>
              <a:ext uri="{FF2B5EF4-FFF2-40B4-BE49-F238E27FC236}">
                <a16:creationId xmlns:a16="http://schemas.microsoft.com/office/drawing/2014/main" id="{91066B81-EB90-FAA5-BF72-A4FE09EB2D0E}"/>
              </a:ext>
            </a:extLst>
          </p:cNvPr>
          <p:cNvGrpSpPr/>
          <p:nvPr/>
        </p:nvGrpSpPr>
        <p:grpSpPr>
          <a:xfrm>
            <a:off x="910387" y="1467163"/>
            <a:ext cx="684000" cy="684000"/>
            <a:chOff x="3144838" y="0"/>
            <a:chExt cx="1112838" cy="1114425"/>
          </a:xfrm>
        </p:grpSpPr>
        <p:sp>
          <p:nvSpPr>
            <p:cNvPr id="23" name="Freeform 7">
              <a:extLst>
                <a:ext uri="{FF2B5EF4-FFF2-40B4-BE49-F238E27FC236}">
                  <a16:creationId xmlns:a16="http://schemas.microsoft.com/office/drawing/2014/main" id="{8DFAB00E-F37C-49A8-E4C3-4E28E977E684}"/>
                </a:ext>
              </a:extLst>
            </p:cNvPr>
            <p:cNvSpPr>
              <a:spLocks/>
            </p:cNvSpPr>
            <p:nvPr/>
          </p:nvSpPr>
          <p:spPr bwMode="auto">
            <a:xfrm>
              <a:off x="3144838" y="0"/>
              <a:ext cx="1112838" cy="1114425"/>
            </a:xfrm>
            <a:custGeom>
              <a:avLst/>
              <a:gdLst>
                <a:gd name="T0" fmla="*/ 332 w 701"/>
                <a:gd name="T1" fmla="*/ 701 h 702"/>
                <a:gd name="T2" fmla="*/ 280 w 701"/>
                <a:gd name="T3" fmla="*/ 695 h 702"/>
                <a:gd name="T4" fmla="*/ 230 w 701"/>
                <a:gd name="T5" fmla="*/ 680 h 702"/>
                <a:gd name="T6" fmla="*/ 183 w 701"/>
                <a:gd name="T7" fmla="*/ 659 h 702"/>
                <a:gd name="T8" fmla="*/ 141 w 701"/>
                <a:gd name="T9" fmla="*/ 632 h 702"/>
                <a:gd name="T10" fmla="*/ 103 w 701"/>
                <a:gd name="T11" fmla="*/ 598 h 702"/>
                <a:gd name="T12" fmla="*/ 69 w 701"/>
                <a:gd name="T13" fmla="*/ 561 h 702"/>
                <a:gd name="T14" fmla="*/ 42 w 701"/>
                <a:gd name="T15" fmla="*/ 518 h 702"/>
                <a:gd name="T16" fmla="*/ 21 w 701"/>
                <a:gd name="T17" fmla="*/ 471 h 702"/>
                <a:gd name="T18" fmla="*/ 7 w 701"/>
                <a:gd name="T19" fmla="*/ 422 h 702"/>
                <a:gd name="T20" fmla="*/ 0 w 701"/>
                <a:gd name="T21" fmla="*/ 369 h 702"/>
                <a:gd name="T22" fmla="*/ 0 w 701"/>
                <a:gd name="T23" fmla="*/ 333 h 702"/>
                <a:gd name="T24" fmla="*/ 7 w 701"/>
                <a:gd name="T25" fmla="*/ 280 h 702"/>
                <a:gd name="T26" fmla="*/ 21 w 701"/>
                <a:gd name="T27" fmla="*/ 231 h 702"/>
                <a:gd name="T28" fmla="*/ 42 w 701"/>
                <a:gd name="T29" fmla="*/ 184 h 702"/>
                <a:gd name="T30" fmla="*/ 69 w 701"/>
                <a:gd name="T31" fmla="*/ 142 h 702"/>
                <a:gd name="T32" fmla="*/ 103 w 701"/>
                <a:gd name="T33" fmla="*/ 104 h 702"/>
                <a:gd name="T34" fmla="*/ 141 w 701"/>
                <a:gd name="T35" fmla="*/ 70 h 702"/>
                <a:gd name="T36" fmla="*/ 183 w 701"/>
                <a:gd name="T37" fmla="*/ 43 h 702"/>
                <a:gd name="T38" fmla="*/ 230 w 701"/>
                <a:gd name="T39" fmla="*/ 22 h 702"/>
                <a:gd name="T40" fmla="*/ 280 w 701"/>
                <a:gd name="T41" fmla="*/ 7 h 702"/>
                <a:gd name="T42" fmla="*/ 332 w 701"/>
                <a:gd name="T43" fmla="*/ 1 h 702"/>
                <a:gd name="T44" fmla="*/ 368 w 701"/>
                <a:gd name="T45" fmla="*/ 1 h 702"/>
                <a:gd name="T46" fmla="*/ 421 w 701"/>
                <a:gd name="T47" fmla="*/ 7 h 702"/>
                <a:gd name="T48" fmla="*/ 470 w 701"/>
                <a:gd name="T49" fmla="*/ 22 h 702"/>
                <a:gd name="T50" fmla="*/ 517 w 701"/>
                <a:gd name="T51" fmla="*/ 43 h 702"/>
                <a:gd name="T52" fmla="*/ 560 w 701"/>
                <a:gd name="T53" fmla="*/ 70 h 702"/>
                <a:gd name="T54" fmla="*/ 599 w 701"/>
                <a:gd name="T55" fmla="*/ 104 h 702"/>
                <a:gd name="T56" fmla="*/ 631 w 701"/>
                <a:gd name="T57" fmla="*/ 142 h 702"/>
                <a:gd name="T58" fmla="*/ 659 w 701"/>
                <a:gd name="T59" fmla="*/ 184 h 702"/>
                <a:gd name="T60" fmla="*/ 680 w 701"/>
                <a:gd name="T61" fmla="*/ 231 h 702"/>
                <a:gd name="T62" fmla="*/ 693 w 701"/>
                <a:gd name="T63" fmla="*/ 280 h 702"/>
                <a:gd name="T64" fmla="*/ 701 w 701"/>
                <a:gd name="T65" fmla="*/ 333 h 702"/>
                <a:gd name="T66" fmla="*/ 701 w 701"/>
                <a:gd name="T67" fmla="*/ 369 h 702"/>
                <a:gd name="T68" fmla="*/ 693 w 701"/>
                <a:gd name="T69" fmla="*/ 422 h 702"/>
                <a:gd name="T70" fmla="*/ 680 w 701"/>
                <a:gd name="T71" fmla="*/ 471 h 702"/>
                <a:gd name="T72" fmla="*/ 659 w 701"/>
                <a:gd name="T73" fmla="*/ 518 h 702"/>
                <a:gd name="T74" fmla="*/ 631 w 701"/>
                <a:gd name="T75" fmla="*/ 561 h 702"/>
                <a:gd name="T76" fmla="*/ 599 w 701"/>
                <a:gd name="T77" fmla="*/ 598 h 702"/>
                <a:gd name="T78" fmla="*/ 560 w 701"/>
                <a:gd name="T79" fmla="*/ 632 h 702"/>
                <a:gd name="T80" fmla="*/ 517 w 701"/>
                <a:gd name="T81" fmla="*/ 659 h 702"/>
                <a:gd name="T82" fmla="*/ 470 w 701"/>
                <a:gd name="T83" fmla="*/ 680 h 702"/>
                <a:gd name="T84" fmla="*/ 421 w 701"/>
                <a:gd name="T85" fmla="*/ 695 h 702"/>
                <a:gd name="T86" fmla="*/ 368 w 701"/>
                <a:gd name="T8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1" y="702"/>
                  </a:moveTo>
                  <a:lnTo>
                    <a:pt x="351" y="702"/>
                  </a:lnTo>
                  <a:lnTo>
                    <a:pt x="332" y="701"/>
                  </a:lnTo>
                  <a:lnTo>
                    <a:pt x="315" y="699"/>
                  </a:lnTo>
                  <a:lnTo>
                    <a:pt x="298" y="697"/>
                  </a:lnTo>
                  <a:lnTo>
                    <a:pt x="280" y="695"/>
                  </a:lnTo>
                  <a:lnTo>
                    <a:pt x="263" y="691"/>
                  </a:lnTo>
                  <a:lnTo>
                    <a:pt x="246" y="686"/>
                  </a:lnTo>
                  <a:lnTo>
                    <a:pt x="230" y="680"/>
                  </a:lnTo>
                  <a:lnTo>
                    <a:pt x="214" y="674"/>
                  </a:lnTo>
                  <a:lnTo>
                    <a:pt x="199" y="667"/>
                  </a:lnTo>
                  <a:lnTo>
                    <a:pt x="183" y="659"/>
                  </a:lnTo>
                  <a:lnTo>
                    <a:pt x="168" y="651"/>
                  </a:lnTo>
                  <a:lnTo>
                    <a:pt x="155" y="641"/>
                  </a:lnTo>
                  <a:lnTo>
                    <a:pt x="141" y="632"/>
                  </a:lnTo>
                  <a:lnTo>
                    <a:pt x="127" y="622"/>
                  </a:lnTo>
                  <a:lnTo>
                    <a:pt x="115" y="611"/>
                  </a:lnTo>
                  <a:lnTo>
                    <a:pt x="103" y="598"/>
                  </a:lnTo>
                  <a:lnTo>
                    <a:pt x="90" y="587"/>
                  </a:lnTo>
                  <a:lnTo>
                    <a:pt x="81" y="574"/>
                  </a:lnTo>
                  <a:lnTo>
                    <a:pt x="69" y="561"/>
                  </a:lnTo>
                  <a:lnTo>
                    <a:pt x="60" y="546"/>
                  </a:lnTo>
                  <a:lnTo>
                    <a:pt x="51" y="533"/>
                  </a:lnTo>
                  <a:lnTo>
                    <a:pt x="42" y="518"/>
                  </a:lnTo>
                  <a:lnTo>
                    <a:pt x="35" y="503"/>
                  </a:lnTo>
                  <a:lnTo>
                    <a:pt x="27" y="487"/>
                  </a:lnTo>
                  <a:lnTo>
                    <a:pt x="21" y="471"/>
                  </a:lnTo>
                  <a:lnTo>
                    <a:pt x="15" y="455"/>
                  </a:lnTo>
                  <a:lnTo>
                    <a:pt x="11" y="439"/>
                  </a:lnTo>
                  <a:lnTo>
                    <a:pt x="7" y="422"/>
                  </a:lnTo>
                  <a:lnTo>
                    <a:pt x="4" y="405"/>
                  </a:lnTo>
                  <a:lnTo>
                    <a:pt x="2" y="387"/>
                  </a:lnTo>
                  <a:lnTo>
                    <a:pt x="0" y="369"/>
                  </a:lnTo>
                  <a:lnTo>
                    <a:pt x="0" y="352"/>
                  </a:lnTo>
                  <a:lnTo>
                    <a:pt x="0" y="352"/>
                  </a:lnTo>
                  <a:lnTo>
                    <a:pt x="0" y="333"/>
                  </a:lnTo>
                  <a:lnTo>
                    <a:pt x="2" y="316"/>
                  </a:lnTo>
                  <a:lnTo>
                    <a:pt x="4" y="297"/>
                  </a:lnTo>
                  <a:lnTo>
                    <a:pt x="7" y="280"/>
                  </a:lnTo>
                  <a:lnTo>
                    <a:pt x="11" y="264"/>
                  </a:lnTo>
                  <a:lnTo>
                    <a:pt x="15" y="247"/>
                  </a:lnTo>
                  <a:lnTo>
                    <a:pt x="21" y="231"/>
                  </a:lnTo>
                  <a:lnTo>
                    <a:pt x="27" y="215"/>
                  </a:lnTo>
                  <a:lnTo>
                    <a:pt x="35" y="199"/>
                  </a:lnTo>
                  <a:lnTo>
                    <a:pt x="42" y="184"/>
                  </a:lnTo>
                  <a:lnTo>
                    <a:pt x="51" y="169"/>
                  </a:lnTo>
                  <a:lnTo>
                    <a:pt x="60" y="155"/>
                  </a:lnTo>
                  <a:lnTo>
                    <a:pt x="69" y="142"/>
                  </a:lnTo>
                  <a:lnTo>
                    <a:pt x="81" y="128"/>
                  </a:lnTo>
                  <a:lnTo>
                    <a:pt x="90" y="116"/>
                  </a:lnTo>
                  <a:lnTo>
                    <a:pt x="103" y="104"/>
                  </a:lnTo>
                  <a:lnTo>
                    <a:pt x="115" y="91"/>
                  </a:lnTo>
                  <a:lnTo>
                    <a:pt x="127" y="80"/>
                  </a:lnTo>
                  <a:lnTo>
                    <a:pt x="141" y="70"/>
                  </a:lnTo>
                  <a:lnTo>
                    <a:pt x="155" y="60"/>
                  </a:lnTo>
                  <a:lnTo>
                    <a:pt x="168" y="52"/>
                  </a:lnTo>
                  <a:lnTo>
                    <a:pt x="183" y="43"/>
                  </a:lnTo>
                  <a:lnTo>
                    <a:pt x="199" y="35"/>
                  </a:lnTo>
                  <a:lnTo>
                    <a:pt x="214" y="28"/>
                  </a:lnTo>
                  <a:lnTo>
                    <a:pt x="230" y="22"/>
                  </a:lnTo>
                  <a:lnTo>
                    <a:pt x="246" y="16"/>
                  </a:lnTo>
                  <a:lnTo>
                    <a:pt x="263" y="11"/>
                  </a:lnTo>
                  <a:lnTo>
                    <a:pt x="280" y="7"/>
                  </a:lnTo>
                  <a:lnTo>
                    <a:pt x="298" y="5"/>
                  </a:lnTo>
                  <a:lnTo>
                    <a:pt x="315" y="2"/>
                  </a:lnTo>
                  <a:lnTo>
                    <a:pt x="332" y="1"/>
                  </a:lnTo>
                  <a:lnTo>
                    <a:pt x="351" y="0"/>
                  </a:lnTo>
                  <a:lnTo>
                    <a:pt x="351" y="0"/>
                  </a:lnTo>
                  <a:lnTo>
                    <a:pt x="368" y="1"/>
                  </a:lnTo>
                  <a:lnTo>
                    <a:pt x="386" y="2"/>
                  </a:lnTo>
                  <a:lnTo>
                    <a:pt x="404" y="5"/>
                  </a:lnTo>
                  <a:lnTo>
                    <a:pt x="421" y="7"/>
                  </a:lnTo>
                  <a:lnTo>
                    <a:pt x="438" y="11"/>
                  </a:lnTo>
                  <a:lnTo>
                    <a:pt x="454" y="16"/>
                  </a:lnTo>
                  <a:lnTo>
                    <a:pt x="470" y="22"/>
                  </a:lnTo>
                  <a:lnTo>
                    <a:pt x="486" y="28"/>
                  </a:lnTo>
                  <a:lnTo>
                    <a:pt x="502" y="35"/>
                  </a:lnTo>
                  <a:lnTo>
                    <a:pt x="517" y="43"/>
                  </a:lnTo>
                  <a:lnTo>
                    <a:pt x="532" y="52"/>
                  </a:lnTo>
                  <a:lnTo>
                    <a:pt x="547" y="60"/>
                  </a:lnTo>
                  <a:lnTo>
                    <a:pt x="560" y="70"/>
                  </a:lnTo>
                  <a:lnTo>
                    <a:pt x="574" y="80"/>
                  </a:lnTo>
                  <a:lnTo>
                    <a:pt x="586" y="91"/>
                  </a:lnTo>
                  <a:lnTo>
                    <a:pt x="599" y="104"/>
                  </a:lnTo>
                  <a:lnTo>
                    <a:pt x="610" y="116"/>
                  </a:lnTo>
                  <a:lnTo>
                    <a:pt x="621" y="128"/>
                  </a:lnTo>
                  <a:lnTo>
                    <a:pt x="631" y="142"/>
                  </a:lnTo>
                  <a:lnTo>
                    <a:pt x="640" y="155"/>
                  </a:lnTo>
                  <a:lnTo>
                    <a:pt x="650" y="169"/>
                  </a:lnTo>
                  <a:lnTo>
                    <a:pt x="659" y="184"/>
                  </a:lnTo>
                  <a:lnTo>
                    <a:pt x="666" y="199"/>
                  </a:lnTo>
                  <a:lnTo>
                    <a:pt x="674" y="215"/>
                  </a:lnTo>
                  <a:lnTo>
                    <a:pt x="680" y="231"/>
                  </a:lnTo>
                  <a:lnTo>
                    <a:pt x="685" y="247"/>
                  </a:lnTo>
                  <a:lnTo>
                    <a:pt x="690" y="264"/>
                  </a:lnTo>
                  <a:lnTo>
                    <a:pt x="693" y="280"/>
                  </a:lnTo>
                  <a:lnTo>
                    <a:pt x="697" y="297"/>
                  </a:lnTo>
                  <a:lnTo>
                    <a:pt x="698" y="316"/>
                  </a:lnTo>
                  <a:lnTo>
                    <a:pt x="701" y="333"/>
                  </a:lnTo>
                  <a:lnTo>
                    <a:pt x="701" y="352"/>
                  </a:lnTo>
                  <a:lnTo>
                    <a:pt x="701" y="352"/>
                  </a:lnTo>
                  <a:lnTo>
                    <a:pt x="701" y="369"/>
                  </a:lnTo>
                  <a:lnTo>
                    <a:pt x="698" y="387"/>
                  </a:lnTo>
                  <a:lnTo>
                    <a:pt x="697" y="405"/>
                  </a:lnTo>
                  <a:lnTo>
                    <a:pt x="693" y="422"/>
                  </a:lnTo>
                  <a:lnTo>
                    <a:pt x="690" y="439"/>
                  </a:lnTo>
                  <a:lnTo>
                    <a:pt x="685" y="455"/>
                  </a:lnTo>
                  <a:lnTo>
                    <a:pt x="680" y="471"/>
                  </a:lnTo>
                  <a:lnTo>
                    <a:pt x="674" y="487"/>
                  </a:lnTo>
                  <a:lnTo>
                    <a:pt x="666" y="503"/>
                  </a:lnTo>
                  <a:lnTo>
                    <a:pt x="659" y="518"/>
                  </a:lnTo>
                  <a:lnTo>
                    <a:pt x="650" y="533"/>
                  </a:lnTo>
                  <a:lnTo>
                    <a:pt x="640" y="546"/>
                  </a:lnTo>
                  <a:lnTo>
                    <a:pt x="631" y="561"/>
                  </a:lnTo>
                  <a:lnTo>
                    <a:pt x="621" y="574"/>
                  </a:lnTo>
                  <a:lnTo>
                    <a:pt x="610" y="587"/>
                  </a:lnTo>
                  <a:lnTo>
                    <a:pt x="599" y="598"/>
                  </a:lnTo>
                  <a:lnTo>
                    <a:pt x="586" y="611"/>
                  </a:lnTo>
                  <a:lnTo>
                    <a:pt x="574" y="622"/>
                  </a:lnTo>
                  <a:lnTo>
                    <a:pt x="560" y="632"/>
                  </a:lnTo>
                  <a:lnTo>
                    <a:pt x="547" y="641"/>
                  </a:lnTo>
                  <a:lnTo>
                    <a:pt x="532" y="651"/>
                  </a:lnTo>
                  <a:lnTo>
                    <a:pt x="517" y="659"/>
                  </a:lnTo>
                  <a:lnTo>
                    <a:pt x="502" y="667"/>
                  </a:lnTo>
                  <a:lnTo>
                    <a:pt x="486" y="674"/>
                  </a:lnTo>
                  <a:lnTo>
                    <a:pt x="470" y="680"/>
                  </a:lnTo>
                  <a:lnTo>
                    <a:pt x="454" y="686"/>
                  </a:lnTo>
                  <a:lnTo>
                    <a:pt x="438" y="691"/>
                  </a:lnTo>
                  <a:lnTo>
                    <a:pt x="421" y="695"/>
                  </a:lnTo>
                  <a:lnTo>
                    <a:pt x="404" y="697"/>
                  </a:lnTo>
                  <a:lnTo>
                    <a:pt x="386" y="699"/>
                  </a:lnTo>
                  <a:lnTo>
                    <a:pt x="368" y="701"/>
                  </a:lnTo>
                  <a:lnTo>
                    <a:pt x="351" y="702"/>
                  </a:lnTo>
                  <a:lnTo>
                    <a:pt x="351" y="702"/>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4" name="Freeform 202">
              <a:extLst>
                <a:ext uri="{FF2B5EF4-FFF2-40B4-BE49-F238E27FC236}">
                  <a16:creationId xmlns:a16="http://schemas.microsoft.com/office/drawing/2014/main" id="{5E715583-493D-6A9B-D41D-BB4E1B9BB9FC}"/>
                </a:ext>
              </a:extLst>
            </p:cNvPr>
            <p:cNvSpPr>
              <a:spLocks/>
            </p:cNvSpPr>
            <p:nvPr/>
          </p:nvSpPr>
          <p:spPr bwMode="auto">
            <a:xfrm>
              <a:off x="3392488" y="244475"/>
              <a:ext cx="841375" cy="844550"/>
            </a:xfrm>
            <a:custGeom>
              <a:avLst/>
              <a:gdLst>
                <a:gd name="T0" fmla="*/ 343 w 530"/>
                <a:gd name="T1" fmla="*/ 110 h 532"/>
                <a:gd name="T2" fmla="*/ 340 w 530"/>
                <a:gd name="T3" fmla="*/ 109 h 532"/>
                <a:gd name="T4" fmla="*/ 311 w 530"/>
                <a:gd name="T5" fmla="*/ 79 h 532"/>
                <a:gd name="T6" fmla="*/ 277 w 530"/>
                <a:gd name="T7" fmla="*/ 58 h 532"/>
                <a:gd name="T8" fmla="*/ 275 w 530"/>
                <a:gd name="T9" fmla="*/ 58 h 532"/>
                <a:gd name="T10" fmla="*/ 269 w 530"/>
                <a:gd name="T11" fmla="*/ 59 h 532"/>
                <a:gd name="T12" fmla="*/ 260 w 530"/>
                <a:gd name="T13" fmla="*/ 72 h 532"/>
                <a:gd name="T14" fmla="*/ 234 w 530"/>
                <a:gd name="T15" fmla="*/ 46 h 532"/>
                <a:gd name="T16" fmla="*/ 229 w 530"/>
                <a:gd name="T17" fmla="*/ 40 h 532"/>
                <a:gd name="T18" fmla="*/ 208 w 530"/>
                <a:gd name="T19" fmla="*/ 24 h 532"/>
                <a:gd name="T20" fmla="*/ 185 w 530"/>
                <a:gd name="T21" fmla="*/ 11 h 532"/>
                <a:gd name="T22" fmla="*/ 160 w 530"/>
                <a:gd name="T23" fmla="*/ 4 h 532"/>
                <a:gd name="T24" fmla="*/ 134 w 530"/>
                <a:gd name="T25" fmla="*/ 0 h 532"/>
                <a:gd name="T26" fmla="*/ 121 w 530"/>
                <a:gd name="T27" fmla="*/ 1 h 532"/>
                <a:gd name="T28" fmla="*/ 95 w 530"/>
                <a:gd name="T29" fmla="*/ 6 h 532"/>
                <a:gd name="T30" fmla="*/ 70 w 530"/>
                <a:gd name="T31" fmla="*/ 16 h 532"/>
                <a:gd name="T32" fmla="*/ 49 w 530"/>
                <a:gd name="T33" fmla="*/ 31 h 532"/>
                <a:gd name="T34" fmla="*/ 39 w 530"/>
                <a:gd name="T35" fmla="*/ 40 h 532"/>
                <a:gd name="T36" fmla="*/ 22 w 530"/>
                <a:gd name="T37" fmla="*/ 61 h 532"/>
                <a:gd name="T38" fmla="*/ 10 w 530"/>
                <a:gd name="T39" fmla="*/ 84 h 532"/>
                <a:gd name="T40" fmla="*/ 2 w 530"/>
                <a:gd name="T41" fmla="*/ 109 h 532"/>
                <a:gd name="T42" fmla="*/ 0 w 530"/>
                <a:gd name="T43" fmla="*/ 135 h 532"/>
                <a:gd name="T44" fmla="*/ 0 w 530"/>
                <a:gd name="T45" fmla="*/ 149 h 532"/>
                <a:gd name="T46" fmla="*/ 6 w 530"/>
                <a:gd name="T47" fmla="*/ 177 h 532"/>
                <a:gd name="T48" fmla="*/ 17 w 530"/>
                <a:gd name="T49" fmla="*/ 201 h 532"/>
                <a:gd name="T50" fmla="*/ 33 w 530"/>
                <a:gd name="T51" fmla="*/ 223 h 532"/>
                <a:gd name="T52" fmla="*/ 74 w 530"/>
                <a:gd name="T53" fmla="*/ 264 h 532"/>
                <a:gd name="T54" fmla="*/ 63 w 530"/>
                <a:gd name="T55" fmla="*/ 270 h 532"/>
                <a:gd name="T56" fmla="*/ 59 w 530"/>
                <a:gd name="T57" fmla="*/ 275 h 532"/>
                <a:gd name="T58" fmla="*/ 59 w 530"/>
                <a:gd name="T59" fmla="*/ 283 h 532"/>
                <a:gd name="T60" fmla="*/ 76 w 530"/>
                <a:gd name="T61" fmla="*/ 312 h 532"/>
                <a:gd name="T62" fmla="*/ 79 w 530"/>
                <a:gd name="T63" fmla="*/ 315 h 532"/>
                <a:gd name="T64" fmla="*/ 296 w 530"/>
                <a:gd name="T65" fmla="*/ 532 h 532"/>
                <a:gd name="T66" fmla="*/ 336 w 530"/>
                <a:gd name="T67" fmla="*/ 517 h 532"/>
                <a:gd name="T68" fmla="*/ 375 w 530"/>
                <a:gd name="T69" fmla="*/ 496 h 532"/>
                <a:gd name="T70" fmla="*/ 410 w 530"/>
                <a:gd name="T71" fmla="*/ 473 h 532"/>
                <a:gd name="T72" fmla="*/ 443 w 530"/>
                <a:gd name="T73" fmla="*/ 443 h 532"/>
                <a:gd name="T74" fmla="*/ 471 w 530"/>
                <a:gd name="T75" fmla="*/ 411 h 532"/>
                <a:gd name="T76" fmla="*/ 494 w 530"/>
                <a:gd name="T77" fmla="*/ 375 h 532"/>
                <a:gd name="T78" fmla="*/ 514 w 530"/>
                <a:gd name="T79" fmla="*/ 337 h 532"/>
                <a:gd name="T80" fmla="*/ 530 w 530"/>
                <a:gd name="T81" fmla="*/ 296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0" h="532">
                  <a:moveTo>
                    <a:pt x="343" y="110"/>
                  </a:moveTo>
                  <a:lnTo>
                    <a:pt x="343" y="110"/>
                  </a:lnTo>
                  <a:lnTo>
                    <a:pt x="343" y="110"/>
                  </a:lnTo>
                  <a:lnTo>
                    <a:pt x="340" y="109"/>
                  </a:lnTo>
                  <a:lnTo>
                    <a:pt x="311" y="79"/>
                  </a:lnTo>
                  <a:lnTo>
                    <a:pt x="311" y="79"/>
                  </a:lnTo>
                  <a:lnTo>
                    <a:pt x="307" y="75"/>
                  </a:lnTo>
                  <a:lnTo>
                    <a:pt x="277" y="58"/>
                  </a:lnTo>
                  <a:lnTo>
                    <a:pt x="277" y="58"/>
                  </a:lnTo>
                  <a:lnTo>
                    <a:pt x="275" y="58"/>
                  </a:lnTo>
                  <a:lnTo>
                    <a:pt x="271" y="58"/>
                  </a:lnTo>
                  <a:lnTo>
                    <a:pt x="269" y="59"/>
                  </a:lnTo>
                  <a:lnTo>
                    <a:pt x="266" y="62"/>
                  </a:lnTo>
                  <a:lnTo>
                    <a:pt x="260" y="72"/>
                  </a:lnTo>
                  <a:lnTo>
                    <a:pt x="234" y="46"/>
                  </a:lnTo>
                  <a:lnTo>
                    <a:pt x="234" y="46"/>
                  </a:lnTo>
                  <a:lnTo>
                    <a:pt x="229" y="40"/>
                  </a:lnTo>
                  <a:lnTo>
                    <a:pt x="229" y="40"/>
                  </a:lnTo>
                  <a:lnTo>
                    <a:pt x="219" y="31"/>
                  </a:lnTo>
                  <a:lnTo>
                    <a:pt x="208" y="24"/>
                  </a:lnTo>
                  <a:lnTo>
                    <a:pt x="197" y="16"/>
                  </a:lnTo>
                  <a:lnTo>
                    <a:pt x="185" y="11"/>
                  </a:lnTo>
                  <a:lnTo>
                    <a:pt x="174" y="6"/>
                  </a:lnTo>
                  <a:lnTo>
                    <a:pt x="160" y="4"/>
                  </a:lnTo>
                  <a:lnTo>
                    <a:pt x="148" y="1"/>
                  </a:lnTo>
                  <a:lnTo>
                    <a:pt x="134" y="0"/>
                  </a:lnTo>
                  <a:lnTo>
                    <a:pt x="134" y="0"/>
                  </a:lnTo>
                  <a:lnTo>
                    <a:pt x="121" y="1"/>
                  </a:lnTo>
                  <a:lnTo>
                    <a:pt x="107" y="4"/>
                  </a:lnTo>
                  <a:lnTo>
                    <a:pt x="95" y="6"/>
                  </a:lnTo>
                  <a:lnTo>
                    <a:pt x="82" y="11"/>
                  </a:lnTo>
                  <a:lnTo>
                    <a:pt x="70" y="16"/>
                  </a:lnTo>
                  <a:lnTo>
                    <a:pt x="59" y="24"/>
                  </a:lnTo>
                  <a:lnTo>
                    <a:pt x="49" y="31"/>
                  </a:lnTo>
                  <a:lnTo>
                    <a:pt x="39" y="40"/>
                  </a:lnTo>
                  <a:lnTo>
                    <a:pt x="39" y="40"/>
                  </a:lnTo>
                  <a:lnTo>
                    <a:pt x="29" y="50"/>
                  </a:lnTo>
                  <a:lnTo>
                    <a:pt x="22" y="61"/>
                  </a:lnTo>
                  <a:lnTo>
                    <a:pt x="16" y="72"/>
                  </a:lnTo>
                  <a:lnTo>
                    <a:pt x="10" y="84"/>
                  </a:lnTo>
                  <a:lnTo>
                    <a:pt x="5" y="96"/>
                  </a:lnTo>
                  <a:lnTo>
                    <a:pt x="2" y="109"/>
                  </a:lnTo>
                  <a:lnTo>
                    <a:pt x="0" y="121"/>
                  </a:lnTo>
                  <a:lnTo>
                    <a:pt x="0" y="135"/>
                  </a:lnTo>
                  <a:lnTo>
                    <a:pt x="0" y="135"/>
                  </a:lnTo>
                  <a:lnTo>
                    <a:pt x="0" y="149"/>
                  </a:lnTo>
                  <a:lnTo>
                    <a:pt x="2" y="163"/>
                  </a:lnTo>
                  <a:lnTo>
                    <a:pt x="6" y="177"/>
                  </a:lnTo>
                  <a:lnTo>
                    <a:pt x="11" y="190"/>
                  </a:lnTo>
                  <a:lnTo>
                    <a:pt x="17" y="201"/>
                  </a:lnTo>
                  <a:lnTo>
                    <a:pt x="24" y="214"/>
                  </a:lnTo>
                  <a:lnTo>
                    <a:pt x="33" y="223"/>
                  </a:lnTo>
                  <a:lnTo>
                    <a:pt x="43" y="233"/>
                  </a:lnTo>
                  <a:lnTo>
                    <a:pt x="74" y="264"/>
                  </a:lnTo>
                  <a:lnTo>
                    <a:pt x="63" y="270"/>
                  </a:lnTo>
                  <a:lnTo>
                    <a:pt x="63" y="270"/>
                  </a:lnTo>
                  <a:lnTo>
                    <a:pt x="60" y="273"/>
                  </a:lnTo>
                  <a:lnTo>
                    <a:pt x="59" y="275"/>
                  </a:lnTo>
                  <a:lnTo>
                    <a:pt x="58" y="279"/>
                  </a:lnTo>
                  <a:lnTo>
                    <a:pt x="59" y="283"/>
                  </a:lnTo>
                  <a:lnTo>
                    <a:pt x="76" y="312"/>
                  </a:lnTo>
                  <a:lnTo>
                    <a:pt x="76" y="312"/>
                  </a:lnTo>
                  <a:lnTo>
                    <a:pt x="79" y="315"/>
                  </a:lnTo>
                  <a:lnTo>
                    <a:pt x="79" y="315"/>
                  </a:lnTo>
                  <a:lnTo>
                    <a:pt x="296" y="532"/>
                  </a:lnTo>
                  <a:lnTo>
                    <a:pt x="296" y="532"/>
                  </a:lnTo>
                  <a:lnTo>
                    <a:pt x="317" y="526"/>
                  </a:lnTo>
                  <a:lnTo>
                    <a:pt x="336" y="517"/>
                  </a:lnTo>
                  <a:lnTo>
                    <a:pt x="356" y="507"/>
                  </a:lnTo>
                  <a:lnTo>
                    <a:pt x="375" y="496"/>
                  </a:lnTo>
                  <a:lnTo>
                    <a:pt x="393" y="485"/>
                  </a:lnTo>
                  <a:lnTo>
                    <a:pt x="410" y="473"/>
                  </a:lnTo>
                  <a:lnTo>
                    <a:pt x="426" y="458"/>
                  </a:lnTo>
                  <a:lnTo>
                    <a:pt x="443" y="443"/>
                  </a:lnTo>
                  <a:lnTo>
                    <a:pt x="457" y="428"/>
                  </a:lnTo>
                  <a:lnTo>
                    <a:pt x="471" y="411"/>
                  </a:lnTo>
                  <a:lnTo>
                    <a:pt x="483" y="394"/>
                  </a:lnTo>
                  <a:lnTo>
                    <a:pt x="494" y="375"/>
                  </a:lnTo>
                  <a:lnTo>
                    <a:pt x="505" y="357"/>
                  </a:lnTo>
                  <a:lnTo>
                    <a:pt x="514" y="337"/>
                  </a:lnTo>
                  <a:lnTo>
                    <a:pt x="523" y="317"/>
                  </a:lnTo>
                  <a:lnTo>
                    <a:pt x="530" y="296"/>
                  </a:lnTo>
                  <a:lnTo>
                    <a:pt x="343" y="11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5" name="Freeform 203">
              <a:extLst>
                <a:ext uri="{FF2B5EF4-FFF2-40B4-BE49-F238E27FC236}">
                  <a16:creationId xmlns:a16="http://schemas.microsoft.com/office/drawing/2014/main" id="{41735FC7-8B1D-9F89-0B7C-BC09430963D7}"/>
                </a:ext>
              </a:extLst>
            </p:cNvPr>
            <p:cNvSpPr>
              <a:spLocks noEditPoints="1"/>
            </p:cNvSpPr>
            <p:nvPr/>
          </p:nvSpPr>
          <p:spPr bwMode="auto">
            <a:xfrm>
              <a:off x="3462338" y="317500"/>
              <a:ext cx="528638" cy="528638"/>
            </a:xfrm>
            <a:custGeom>
              <a:avLst/>
              <a:gdLst>
                <a:gd name="T0" fmla="*/ 299 w 333"/>
                <a:gd name="T1" fmla="*/ 118 h 333"/>
                <a:gd name="T2" fmla="*/ 320 w 333"/>
                <a:gd name="T3" fmla="*/ 100 h 333"/>
                <a:gd name="T4" fmla="*/ 296 w 333"/>
                <a:gd name="T5" fmla="*/ 63 h 333"/>
                <a:gd name="T6" fmla="*/ 264 w 333"/>
                <a:gd name="T7" fmla="*/ 66 h 333"/>
                <a:gd name="T8" fmla="*/ 268 w 333"/>
                <a:gd name="T9" fmla="*/ 36 h 333"/>
                <a:gd name="T10" fmla="*/ 231 w 333"/>
                <a:gd name="T11" fmla="*/ 12 h 333"/>
                <a:gd name="T12" fmla="*/ 212 w 333"/>
                <a:gd name="T13" fmla="*/ 33 h 333"/>
                <a:gd name="T14" fmla="*/ 190 w 333"/>
                <a:gd name="T15" fmla="*/ 5 h 333"/>
                <a:gd name="T16" fmla="*/ 148 w 333"/>
                <a:gd name="T17" fmla="*/ 0 h 333"/>
                <a:gd name="T18" fmla="*/ 140 w 333"/>
                <a:gd name="T19" fmla="*/ 29 h 333"/>
                <a:gd name="T20" fmla="*/ 109 w 333"/>
                <a:gd name="T21" fmla="*/ 18 h 333"/>
                <a:gd name="T22" fmla="*/ 67 w 333"/>
                <a:gd name="T23" fmla="*/ 32 h 333"/>
                <a:gd name="T24" fmla="*/ 64 w 333"/>
                <a:gd name="T25" fmla="*/ 43 h 333"/>
                <a:gd name="T26" fmla="*/ 42 w 333"/>
                <a:gd name="T27" fmla="*/ 66 h 333"/>
                <a:gd name="T28" fmla="*/ 31 w 333"/>
                <a:gd name="T29" fmla="*/ 70 h 333"/>
                <a:gd name="T30" fmla="*/ 14 w 333"/>
                <a:gd name="T31" fmla="*/ 108 h 333"/>
                <a:gd name="T32" fmla="*/ 29 w 333"/>
                <a:gd name="T33" fmla="*/ 143 h 333"/>
                <a:gd name="T34" fmla="*/ 1 w 333"/>
                <a:gd name="T35" fmla="*/ 148 h 333"/>
                <a:gd name="T36" fmla="*/ 3 w 333"/>
                <a:gd name="T37" fmla="*/ 191 h 333"/>
                <a:gd name="T38" fmla="*/ 32 w 333"/>
                <a:gd name="T39" fmla="*/ 205 h 333"/>
                <a:gd name="T40" fmla="*/ 15 w 333"/>
                <a:gd name="T41" fmla="*/ 229 h 333"/>
                <a:gd name="T42" fmla="*/ 35 w 333"/>
                <a:gd name="T43" fmla="*/ 269 h 333"/>
                <a:gd name="T44" fmla="*/ 62 w 333"/>
                <a:gd name="T45" fmla="*/ 259 h 333"/>
                <a:gd name="T46" fmla="*/ 67 w 333"/>
                <a:gd name="T47" fmla="*/ 295 h 333"/>
                <a:gd name="T48" fmla="*/ 100 w 333"/>
                <a:gd name="T49" fmla="*/ 319 h 333"/>
                <a:gd name="T50" fmla="*/ 122 w 333"/>
                <a:gd name="T51" fmla="*/ 298 h 333"/>
                <a:gd name="T52" fmla="*/ 143 w 333"/>
                <a:gd name="T53" fmla="*/ 324 h 333"/>
                <a:gd name="T54" fmla="*/ 186 w 333"/>
                <a:gd name="T55" fmla="*/ 333 h 333"/>
                <a:gd name="T56" fmla="*/ 195 w 333"/>
                <a:gd name="T57" fmla="*/ 324 h 333"/>
                <a:gd name="T58" fmla="*/ 226 w 333"/>
                <a:gd name="T59" fmla="*/ 314 h 333"/>
                <a:gd name="T60" fmla="*/ 237 w 333"/>
                <a:gd name="T61" fmla="*/ 318 h 333"/>
                <a:gd name="T62" fmla="*/ 270 w 333"/>
                <a:gd name="T63" fmla="*/ 292 h 333"/>
                <a:gd name="T64" fmla="*/ 275 w 333"/>
                <a:gd name="T65" fmla="*/ 256 h 333"/>
                <a:gd name="T66" fmla="*/ 301 w 333"/>
                <a:gd name="T67" fmla="*/ 265 h 333"/>
                <a:gd name="T68" fmla="*/ 321 w 333"/>
                <a:gd name="T69" fmla="*/ 227 h 333"/>
                <a:gd name="T70" fmla="*/ 302 w 333"/>
                <a:gd name="T71" fmla="*/ 201 h 333"/>
                <a:gd name="T72" fmla="*/ 331 w 333"/>
                <a:gd name="T73" fmla="*/ 187 h 333"/>
                <a:gd name="T74" fmla="*/ 333 w 333"/>
                <a:gd name="T75" fmla="*/ 144 h 333"/>
                <a:gd name="T76" fmla="*/ 167 w 333"/>
                <a:gd name="T77" fmla="*/ 255 h 333"/>
                <a:gd name="T78" fmla="*/ 132 w 333"/>
                <a:gd name="T79" fmla="*/ 248 h 333"/>
                <a:gd name="T80" fmla="*/ 99 w 333"/>
                <a:gd name="T81" fmla="*/ 223 h 333"/>
                <a:gd name="T82" fmla="*/ 80 w 333"/>
                <a:gd name="T83" fmla="*/ 184 h 333"/>
                <a:gd name="T84" fmla="*/ 80 w 333"/>
                <a:gd name="T85" fmla="*/ 148 h 333"/>
                <a:gd name="T86" fmla="*/ 99 w 333"/>
                <a:gd name="T87" fmla="*/ 110 h 333"/>
                <a:gd name="T88" fmla="*/ 132 w 333"/>
                <a:gd name="T89" fmla="*/ 85 h 333"/>
                <a:gd name="T90" fmla="*/ 167 w 333"/>
                <a:gd name="T91" fmla="*/ 78 h 333"/>
                <a:gd name="T92" fmla="*/ 210 w 333"/>
                <a:gd name="T93" fmla="*/ 89 h 333"/>
                <a:gd name="T94" fmla="*/ 241 w 333"/>
                <a:gd name="T95" fmla="*/ 117 h 333"/>
                <a:gd name="T96" fmla="*/ 255 w 333"/>
                <a:gd name="T97" fmla="*/ 158 h 333"/>
                <a:gd name="T98" fmla="*/ 252 w 333"/>
                <a:gd name="T99" fmla="*/ 192 h 333"/>
                <a:gd name="T100" fmla="*/ 230 w 333"/>
                <a:gd name="T101" fmla="*/ 229 h 333"/>
                <a:gd name="T102" fmla="*/ 194 w 333"/>
                <a:gd name="T103" fmla="*/ 25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3" h="333">
                  <a:moveTo>
                    <a:pt x="325" y="139"/>
                  </a:moveTo>
                  <a:lnTo>
                    <a:pt x="305" y="139"/>
                  </a:lnTo>
                  <a:lnTo>
                    <a:pt x="305" y="139"/>
                  </a:lnTo>
                  <a:lnTo>
                    <a:pt x="302" y="128"/>
                  </a:lnTo>
                  <a:lnTo>
                    <a:pt x="299" y="118"/>
                  </a:lnTo>
                  <a:lnTo>
                    <a:pt x="316" y="108"/>
                  </a:lnTo>
                  <a:lnTo>
                    <a:pt x="316" y="108"/>
                  </a:lnTo>
                  <a:lnTo>
                    <a:pt x="318" y="106"/>
                  </a:lnTo>
                  <a:lnTo>
                    <a:pt x="320" y="102"/>
                  </a:lnTo>
                  <a:lnTo>
                    <a:pt x="320" y="100"/>
                  </a:lnTo>
                  <a:lnTo>
                    <a:pt x="318" y="96"/>
                  </a:lnTo>
                  <a:lnTo>
                    <a:pt x="301" y="66"/>
                  </a:lnTo>
                  <a:lnTo>
                    <a:pt x="301" y="66"/>
                  </a:lnTo>
                  <a:lnTo>
                    <a:pt x="299" y="64"/>
                  </a:lnTo>
                  <a:lnTo>
                    <a:pt x="296" y="63"/>
                  </a:lnTo>
                  <a:lnTo>
                    <a:pt x="292" y="63"/>
                  </a:lnTo>
                  <a:lnTo>
                    <a:pt x="290" y="64"/>
                  </a:lnTo>
                  <a:lnTo>
                    <a:pt x="271" y="74"/>
                  </a:lnTo>
                  <a:lnTo>
                    <a:pt x="271" y="74"/>
                  </a:lnTo>
                  <a:lnTo>
                    <a:pt x="264" y="66"/>
                  </a:lnTo>
                  <a:lnTo>
                    <a:pt x="257" y="59"/>
                  </a:lnTo>
                  <a:lnTo>
                    <a:pt x="267" y="42"/>
                  </a:lnTo>
                  <a:lnTo>
                    <a:pt x="267" y="42"/>
                  </a:lnTo>
                  <a:lnTo>
                    <a:pt x="268" y="38"/>
                  </a:lnTo>
                  <a:lnTo>
                    <a:pt x="268" y="36"/>
                  </a:lnTo>
                  <a:lnTo>
                    <a:pt x="265" y="32"/>
                  </a:lnTo>
                  <a:lnTo>
                    <a:pt x="263" y="29"/>
                  </a:lnTo>
                  <a:lnTo>
                    <a:pt x="233" y="12"/>
                  </a:lnTo>
                  <a:lnTo>
                    <a:pt x="233" y="12"/>
                  </a:lnTo>
                  <a:lnTo>
                    <a:pt x="231" y="12"/>
                  </a:lnTo>
                  <a:lnTo>
                    <a:pt x="227" y="12"/>
                  </a:lnTo>
                  <a:lnTo>
                    <a:pt x="225" y="13"/>
                  </a:lnTo>
                  <a:lnTo>
                    <a:pt x="222" y="16"/>
                  </a:lnTo>
                  <a:lnTo>
                    <a:pt x="212" y="33"/>
                  </a:lnTo>
                  <a:lnTo>
                    <a:pt x="212" y="33"/>
                  </a:lnTo>
                  <a:lnTo>
                    <a:pt x="201" y="31"/>
                  </a:lnTo>
                  <a:lnTo>
                    <a:pt x="191" y="28"/>
                  </a:lnTo>
                  <a:lnTo>
                    <a:pt x="191" y="8"/>
                  </a:lnTo>
                  <a:lnTo>
                    <a:pt x="191" y="8"/>
                  </a:lnTo>
                  <a:lnTo>
                    <a:pt x="190" y="5"/>
                  </a:lnTo>
                  <a:lnTo>
                    <a:pt x="188" y="2"/>
                  </a:lnTo>
                  <a:lnTo>
                    <a:pt x="185" y="1"/>
                  </a:lnTo>
                  <a:lnTo>
                    <a:pt x="183" y="0"/>
                  </a:lnTo>
                  <a:lnTo>
                    <a:pt x="148" y="0"/>
                  </a:lnTo>
                  <a:lnTo>
                    <a:pt x="148" y="0"/>
                  </a:lnTo>
                  <a:lnTo>
                    <a:pt x="144" y="1"/>
                  </a:lnTo>
                  <a:lnTo>
                    <a:pt x="142" y="2"/>
                  </a:lnTo>
                  <a:lnTo>
                    <a:pt x="140" y="5"/>
                  </a:lnTo>
                  <a:lnTo>
                    <a:pt x="140" y="8"/>
                  </a:lnTo>
                  <a:lnTo>
                    <a:pt x="140" y="29"/>
                  </a:lnTo>
                  <a:lnTo>
                    <a:pt x="140" y="29"/>
                  </a:lnTo>
                  <a:lnTo>
                    <a:pt x="128" y="32"/>
                  </a:lnTo>
                  <a:lnTo>
                    <a:pt x="119" y="34"/>
                  </a:lnTo>
                  <a:lnTo>
                    <a:pt x="109" y="18"/>
                  </a:lnTo>
                  <a:lnTo>
                    <a:pt x="109" y="18"/>
                  </a:lnTo>
                  <a:lnTo>
                    <a:pt x="106" y="15"/>
                  </a:lnTo>
                  <a:lnTo>
                    <a:pt x="104" y="13"/>
                  </a:lnTo>
                  <a:lnTo>
                    <a:pt x="100" y="13"/>
                  </a:lnTo>
                  <a:lnTo>
                    <a:pt x="96" y="15"/>
                  </a:lnTo>
                  <a:lnTo>
                    <a:pt x="67" y="32"/>
                  </a:lnTo>
                  <a:lnTo>
                    <a:pt x="67" y="32"/>
                  </a:lnTo>
                  <a:lnTo>
                    <a:pt x="64" y="34"/>
                  </a:lnTo>
                  <a:lnTo>
                    <a:pt x="63" y="37"/>
                  </a:lnTo>
                  <a:lnTo>
                    <a:pt x="63" y="41"/>
                  </a:lnTo>
                  <a:lnTo>
                    <a:pt x="64" y="43"/>
                  </a:lnTo>
                  <a:lnTo>
                    <a:pt x="74" y="62"/>
                  </a:lnTo>
                  <a:lnTo>
                    <a:pt x="74" y="62"/>
                  </a:lnTo>
                  <a:lnTo>
                    <a:pt x="67" y="69"/>
                  </a:lnTo>
                  <a:lnTo>
                    <a:pt x="59" y="76"/>
                  </a:lnTo>
                  <a:lnTo>
                    <a:pt x="42" y="66"/>
                  </a:lnTo>
                  <a:lnTo>
                    <a:pt x="42" y="66"/>
                  </a:lnTo>
                  <a:lnTo>
                    <a:pt x="40" y="65"/>
                  </a:lnTo>
                  <a:lnTo>
                    <a:pt x="36" y="66"/>
                  </a:lnTo>
                  <a:lnTo>
                    <a:pt x="32" y="68"/>
                  </a:lnTo>
                  <a:lnTo>
                    <a:pt x="31" y="70"/>
                  </a:lnTo>
                  <a:lnTo>
                    <a:pt x="14" y="100"/>
                  </a:lnTo>
                  <a:lnTo>
                    <a:pt x="14" y="100"/>
                  </a:lnTo>
                  <a:lnTo>
                    <a:pt x="12" y="102"/>
                  </a:lnTo>
                  <a:lnTo>
                    <a:pt x="12" y="106"/>
                  </a:lnTo>
                  <a:lnTo>
                    <a:pt x="14" y="108"/>
                  </a:lnTo>
                  <a:lnTo>
                    <a:pt x="16" y="111"/>
                  </a:lnTo>
                  <a:lnTo>
                    <a:pt x="35" y="122"/>
                  </a:lnTo>
                  <a:lnTo>
                    <a:pt x="35" y="122"/>
                  </a:lnTo>
                  <a:lnTo>
                    <a:pt x="31" y="132"/>
                  </a:lnTo>
                  <a:lnTo>
                    <a:pt x="29" y="143"/>
                  </a:lnTo>
                  <a:lnTo>
                    <a:pt x="9" y="143"/>
                  </a:lnTo>
                  <a:lnTo>
                    <a:pt x="9" y="143"/>
                  </a:lnTo>
                  <a:lnTo>
                    <a:pt x="6" y="143"/>
                  </a:lnTo>
                  <a:lnTo>
                    <a:pt x="3" y="145"/>
                  </a:lnTo>
                  <a:lnTo>
                    <a:pt x="1" y="148"/>
                  </a:lnTo>
                  <a:lnTo>
                    <a:pt x="0" y="152"/>
                  </a:lnTo>
                  <a:lnTo>
                    <a:pt x="0" y="185"/>
                  </a:lnTo>
                  <a:lnTo>
                    <a:pt x="0" y="185"/>
                  </a:lnTo>
                  <a:lnTo>
                    <a:pt x="1" y="189"/>
                  </a:lnTo>
                  <a:lnTo>
                    <a:pt x="3" y="191"/>
                  </a:lnTo>
                  <a:lnTo>
                    <a:pt x="6" y="194"/>
                  </a:lnTo>
                  <a:lnTo>
                    <a:pt x="9" y="194"/>
                  </a:lnTo>
                  <a:lnTo>
                    <a:pt x="30" y="194"/>
                  </a:lnTo>
                  <a:lnTo>
                    <a:pt x="30" y="194"/>
                  </a:lnTo>
                  <a:lnTo>
                    <a:pt x="32" y="205"/>
                  </a:lnTo>
                  <a:lnTo>
                    <a:pt x="36" y="214"/>
                  </a:lnTo>
                  <a:lnTo>
                    <a:pt x="19" y="224"/>
                  </a:lnTo>
                  <a:lnTo>
                    <a:pt x="19" y="224"/>
                  </a:lnTo>
                  <a:lnTo>
                    <a:pt x="16" y="227"/>
                  </a:lnTo>
                  <a:lnTo>
                    <a:pt x="15" y="229"/>
                  </a:lnTo>
                  <a:lnTo>
                    <a:pt x="14" y="233"/>
                  </a:lnTo>
                  <a:lnTo>
                    <a:pt x="15" y="237"/>
                  </a:lnTo>
                  <a:lnTo>
                    <a:pt x="32" y="266"/>
                  </a:lnTo>
                  <a:lnTo>
                    <a:pt x="32" y="266"/>
                  </a:lnTo>
                  <a:lnTo>
                    <a:pt x="35" y="269"/>
                  </a:lnTo>
                  <a:lnTo>
                    <a:pt x="37" y="270"/>
                  </a:lnTo>
                  <a:lnTo>
                    <a:pt x="41" y="270"/>
                  </a:lnTo>
                  <a:lnTo>
                    <a:pt x="45" y="269"/>
                  </a:lnTo>
                  <a:lnTo>
                    <a:pt x="62" y="259"/>
                  </a:lnTo>
                  <a:lnTo>
                    <a:pt x="62" y="259"/>
                  </a:lnTo>
                  <a:lnTo>
                    <a:pt x="69" y="266"/>
                  </a:lnTo>
                  <a:lnTo>
                    <a:pt x="78" y="274"/>
                  </a:lnTo>
                  <a:lnTo>
                    <a:pt x="68" y="291"/>
                  </a:lnTo>
                  <a:lnTo>
                    <a:pt x="68" y="291"/>
                  </a:lnTo>
                  <a:lnTo>
                    <a:pt x="67" y="295"/>
                  </a:lnTo>
                  <a:lnTo>
                    <a:pt x="67" y="297"/>
                  </a:lnTo>
                  <a:lnTo>
                    <a:pt x="68" y="301"/>
                  </a:lnTo>
                  <a:lnTo>
                    <a:pt x="70" y="302"/>
                  </a:lnTo>
                  <a:lnTo>
                    <a:pt x="100" y="319"/>
                  </a:lnTo>
                  <a:lnTo>
                    <a:pt x="100" y="319"/>
                  </a:lnTo>
                  <a:lnTo>
                    <a:pt x="104" y="321"/>
                  </a:lnTo>
                  <a:lnTo>
                    <a:pt x="106" y="321"/>
                  </a:lnTo>
                  <a:lnTo>
                    <a:pt x="110" y="319"/>
                  </a:lnTo>
                  <a:lnTo>
                    <a:pt x="112" y="317"/>
                  </a:lnTo>
                  <a:lnTo>
                    <a:pt x="122" y="298"/>
                  </a:lnTo>
                  <a:lnTo>
                    <a:pt x="122" y="298"/>
                  </a:lnTo>
                  <a:lnTo>
                    <a:pt x="132" y="302"/>
                  </a:lnTo>
                  <a:lnTo>
                    <a:pt x="143" y="305"/>
                  </a:lnTo>
                  <a:lnTo>
                    <a:pt x="143" y="324"/>
                  </a:lnTo>
                  <a:lnTo>
                    <a:pt x="143" y="324"/>
                  </a:lnTo>
                  <a:lnTo>
                    <a:pt x="144" y="327"/>
                  </a:lnTo>
                  <a:lnTo>
                    <a:pt x="146" y="330"/>
                  </a:lnTo>
                  <a:lnTo>
                    <a:pt x="148" y="332"/>
                  </a:lnTo>
                  <a:lnTo>
                    <a:pt x="152" y="333"/>
                  </a:lnTo>
                  <a:lnTo>
                    <a:pt x="186" y="333"/>
                  </a:lnTo>
                  <a:lnTo>
                    <a:pt x="186" y="333"/>
                  </a:lnTo>
                  <a:lnTo>
                    <a:pt x="189" y="332"/>
                  </a:lnTo>
                  <a:lnTo>
                    <a:pt x="193" y="330"/>
                  </a:lnTo>
                  <a:lnTo>
                    <a:pt x="194" y="327"/>
                  </a:lnTo>
                  <a:lnTo>
                    <a:pt x="195" y="324"/>
                  </a:lnTo>
                  <a:lnTo>
                    <a:pt x="195" y="303"/>
                  </a:lnTo>
                  <a:lnTo>
                    <a:pt x="195" y="303"/>
                  </a:lnTo>
                  <a:lnTo>
                    <a:pt x="205" y="301"/>
                  </a:lnTo>
                  <a:lnTo>
                    <a:pt x="216" y="297"/>
                  </a:lnTo>
                  <a:lnTo>
                    <a:pt x="226" y="314"/>
                  </a:lnTo>
                  <a:lnTo>
                    <a:pt x="226" y="314"/>
                  </a:lnTo>
                  <a:lnTo>
                    <a:pt x="227" y="317"/>
                  </a:lnTo>
                  <a:lnTo>
                    <a:pt x="231" y="319"/>
                  </a:lnTo>
                  <a:lnTo>
                    <a:pt x="233" y="319"/>
                  </a:lnTo>
                  <a:lnTo>
                    <a:pt x="237" y="318"/>
                  </a:lnTo>
                  <a:lnTo>
                    <a:pt x="267" y="301"/>
                  </a:lnTo>
                  <a:lnTo>
                    <a:pt x="267" y="301"/>
                  </a:lnTo>
                  <a:lnTo>
                    <a:pt x="269" y="298"/>
                  </a:lnTo>
                  <a:lnTo>
                    <a:pt x="270" y="296"/>
                  </a:lnTo>
                  <a:lnTo>
                    <a:pt x="270" y="292"/>
                  </a:lnTo>
                  <a:lnTo>
                    <a:pt x="270" y="288"/>
                  </a:lnTo>
                  <a:lnTo>
                    <a:pt x="259" y="271"/>
                  </a:lnTo>
                  <a:lnTo>
                    <a:pt x="259" y="271"/>
                  </a:lnTo>
                  <a:lnTo>
                    <a:pt x="268" y="264"/>
                  </a:lnTo>
                  <a:lnTo>
                    <a:pt x="275" y="256"/>
                  </a:lnTo>
                  <a:lnTo>
                    <a:pt x="291" y="266"/>
                  </a:lnTo>
                  <a:lnTo>
                    <a:pt x="291" y="266"/>
                  </a:lnTo>
                  <a:lnTo>
                    <a:pt x="295" y="266"/>
                  </a:lnTo>
                  <a:lnTo>
                    <a:pt x="299" y="266"/>
                  </a:lnTo>
                  <a:lnTo>
                    <a:pt x="301" y="265"/>
                  </a:lnTo>
                  <a:lnTo>
                    <a:pt x="304" y="263"/>
                  </a:lnTo>
                  <a:lnTo>
                    <a:pt x="321" y="233"/>
                  </a:lnTo>
                  <a:lnTo>
                    <a:pt x="321" y="233"/>
                  </a:lnTo>
                  <a:lnTo>
                    <a:pt x="322" y="229"/>
                  </a:lnTo>
                  <a:lnTo>
                    <a:pt x="321" y="227"/>
                  </a:lnTo>
                  <a:lnTo>
                    <a:pt x="320" y="223"/>
                  </a:lnTo>
                  <a:lnTo>
                    <a:pt x="317" y="221"/>
                  </a:lnTo>
                  <a:lnTo>
                    <a:pt x="300" y="211"/>
                  </a:lnTo>
                  <a:lnTo>
                    <a:pt x="300" y="211"/>
                  </a:lnTo>
                  <a:lnTo>
                    <a:pt x="302" y="201"/>
                  </a:lnTo>
                  <a:lnTo>
                    <a:pt x="305" y="190"/>
                  </a:lnTo>
                  <a:lnTo>
                    <a:pt x="325" y="190"/>
                  </a:lnTo>
                  <a:lnTo>
                    <a:pt x="325" y="190"/>
                  </a:lnTo>
                  <a:lnTo>
                    <a:pt x="328" y="190"/>
                  </a:lnTo>
                  <a:lnTo>
                    <a:pt x="331" y="187"/>
                  </a:lnTo>
                  <a:lnTo>
                    <a:pt x="333" y="185"/>
                  </a:lnTo>
                  <a:lnTo>
                    <a:pt x="333" y="181"/>
                  </a:lnTo>
                  <a:lnTo>
                    <a:pt x="333" y="148"/>
                  </a:lnTo>
                  <a:lnTo>
                    <a:pt x="333" y="148"/>
                  </a:lnTo>
                  <a:lnTo>
                    <a:pt x="333" y="144"/>
                  </a:lnTo>
                  <a:lnTo>
                    <a:pt x="331" y="142"/>
                  </a:lnTo>
                  <a:lnTo>
                    <a:pt x="328" y="139"/>
                  </a:lnTo>
                  <a:lnTo>
                    <a:pt x="325" y="139"/>
                  </a:lnTo>
                  <a:lnTo>
                    <a:pt x="325" y="139"/>
                  </a:lnTo>
                  <a:close/>
                  <a:moveTo>
                    <a:pt x="167" y="255"/>
                  </a:moveTo>
                  <a:lnTo>
                    <a:pt x="167" y="255"/>
                  </a:lnTo>
                  <a:lnTo>
                    <a:pt x="158" y="254"/>
                  </a:lnTo>
                  <a:lnTo>
                    <a:pt x="149" y="253"/>
                  </a:lnTo>
                  <a:lnTo>
                    <a:pt x="141" y="251"/>
                  </a:lnTo>
                  <a:lnTo>
                    <a:pt x="132" y="248"/>
                  </a:lnTo>
                  <a:lnTo>
                    <a:pt x="125" y="244"/>
                  </a:lnTo>
                  <a:lnTo>
                    <a:pt x="117" y="240"/>
                  </a:lnTo>
                  <a:lnTo>
                    <a:pt x="110" y="234"/>
                  </a:lnTo>
                  <a:lnTo>
                    <a:pt x="104" y="229"/>
                  </a:lnTo>
                  <a:lnTo>
                    <a:pt x="99" y="223"/>
                  </a:lnTo>
                  <a:lnTo>
                    <a:pt x="94" y="216"/>
                  </a:lnTo>
                  <a:lnTo>
                    <a:pt x="89" y="208"/>
                  </a:lnTo>
                  <a:lnTo>
                    <a:pt x="85" y="201"/>
                  </a:lnTo>
                  <a:lnTo>
                    <a:pt x="83" y="192"/>
                  </a:lnTo>
                  <a:lnTo>
                    <a:pt x="80" y="184"/>
                  </a:lnTo>
                  <a:lnTo>
                    <a:pt x="79" y="175"/>
                  </a:lnTo>
                  <a:lnTo>
                    <a:pt x="78" y="166"/>
                  </a:lnTo>
                  <a:lnTo>
                    <a:pt x="78" y="166"/>
                  </a:lnTo>
                  <a:lnTo>
                    <a:pt x="79" y="158"/>
                  </a:lnTo>
                  <a:lnTo>
                    <a:pt x="80" y="148"/>
                  </a:lnTo>
                  <a:lnTo>
                    <a:pt x="83" y="140"/>
                  </a:lnTo>
                  <a:lnTo>
                    <a:pt x="85" y="132"/>
                  </a:lnTo>
                  <a:lnTo>
                    <a:pt x="89" y="124"/>
                  </a:lnTo>
                  <a:lnTo>
                    <a:pt x="94" y="117"/>
                  </a:lnTo>
                  <a:lnTo>
                    <a:pt x="99" y="110"/>
                  </a:lnTo>
                  <a:lnTo>
                    <a:pt x="104" y="103"/>
                  </a:lnTo>
                  <a:lnTo>
                    <a:pt x="110" y="97"/>
                  </a:lnTo>
                  <a:lnTo>
                    <a:pt x="117" y="92"/>
                  </a:lnTo>
                  <a:lnTo>
                    <a:pt x="125" y="89"/>
                  </a:lnTo>
                  <a:lnTo>
                    <a:pt x="132" y="85"/>
                  </a:lnTo>
                  <a:lnTo>
                    <a:pt x="141" y="81"/>
                  </a:lnTo>
                  <a:lnTo>
                    <a:pt x="149" y="79"/>
                  </a:lnTo>
                  <a:lnTo>
                    <a:pt x="158" y="78"/>
                  </a:lnTo>
                  <a:lnTo>
                    <a:pt x="167" y="78"/>
                  </a:lnTo>
                  <a:lnTo>
                    <a:pt x="167" y="78"/>
                  </a:lnTo>
                  <a:lnTo>
                    <a:pt x="177" y="78"/>
                  </a:lnTo>
                  <a:lnTo>
                    <a:pt x="185" y="79"/>
                  </a:lnTo>
                  <a:lnTo>
                    <a:pt x="194" y="81"/>
                  </a:lnTo>
                  <a:lnTo>
                    <a:pt x="201" y="85"/>
                  </a:lnTo>
                  <a:lnTo>
                    <a:pt x="210" y="89"/>
                  </a:lnTo>
                  <a:lnTo>
                    <a:pt x="216" y="92"/>
                  </a:lnTo>
                  <a:lnTo>
                    <a:pt x="223" y="97"/>
                  </a:lnTo>
                  <a:lnTo>
                    <a:pt x="230" y="103"/>
                  </a:lnTo>
                  <a:lnTo>
                    <a:pt x="236" y="110"/>
                  </a:lnTo>
                  <a:lnTo>
                    <a:pt x="241" y="117"/>
                  </a:lnTo>
                  <a:lnTo>
                    <a:pt x="246" y="124"/>
                  </a:lnTo>
                  <a:lnTo>
                    <a:pt x="249" y="132"/>
                  </a:lnTo>
                  <a:lnTo>
                    <a:pt x="252" y="140"/>
                  </a:lnTo>
                  <a:lnTo>
                    <a:pt x="254" y="148"/>
                  </a:lnTo>
                  <a:lnTo>
                    <a:pt x="255" y="158"/>
                  </a:lnTo>
                  <a:lnTo>
                    <a:pt x="255" y="166"/>
                  </a:lnTo>
                  <a:lnTo>
                    <a:pt x="255" y="166"/>
                  </a:lnTo>
                  <a:lnTo>
                    <a:pt x="255" y="175"/>
                  </a:lnTo>
                  <a:lnTo>
                    <a:pt x="254" y="184"/>
                  </a:lnTo>
                  <a:lnTo>
                    <a:pt x="252" y="192"/>
                  </a:lnTo>
                  <a:lnTo>
                    <a:pt x="249" y="201"/>
                  </a:lnTo>
                  <a:lnTo>
                    <a:pt x="246" y="208"/>
                  </a:lnTo>
                  <a:lnTo>
                    <a:pt x="241" y="216"/>
                  </a:lnTo>
                  <a:lnTo>
                    <a:pt x="236" y="223"/>
                  </a:lnTo>
                  <a:lnTo>
                    <a:pt x="230" y="229"/>
                  </a:lnTo>
                  <a:lnTo>
                    <a:pt x="223" y="234"/>
                  </a:lnTo>
                  <a:lnTo>
                    <a:pt x="216" y="240"/>
                  </a:lnTo>
                  <a:lnTo>
                    <a:pt x="210" y="244"/>
                  </a:lnTo>
                  <a:lnTo>
                    <a:pt x="201" y="248"/>
                  </a:lnTo>
                  <a:lnTo>
                    <a:pt x="194" y="251"/>
                  </a:lnTo>
                  <a:lnTo>
                    <a:pt x="185" y="253"/>
                  </a:lnTo>
                  <a:lnTo>
                    <a:pt x="177" y="254"/>
                  </a:lnTo>
                  <a:lnTo>
                    <a:pt x="167" y="255"/>
                  </a:lnTo>
                  <a:lnTo>
                    <a:pt x="167" y="255"/>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6" name="Freeform 204">
              <a:extLst>
                <a:ext uri="{FF2B5EF4-FFF2-40B4-BE49-F238E27FC236}">
                  <a16:creationId xmlns:a16="http://schemas.microsoft.com/office/drawing/2014/main" id="{E42F4356-71CD-662E-364D-1C5AC67DDCBA}"/>
                </a:ext>
              </a:extLst>
            </p:cNvPr>
            <p:cNvSpPr>
              <a:spLocks/>
            </p:cNvSpPr>
            <p:nvPr/>
          </p:nvSpPr>
          <p:spPr bwMode="auto">
            <a:xfrm>
              <a:off x="3462338" y="317500"/>
              <a:ext cx="260350" cy="528638"/>
            </a:xfrm>
            <a:custGeom>
              <a:avLst/>
              <a:gdLst>
                <a:gd name="T0" fmla="*/ 156 w 164"/>
                <a:gd name="T1" fmla="*/ 254 h 333"/>
                <a:gd name="T2" fmla="*/ 131 w 164"/>
                <a:gd name="T3" fmla="*/ 247 h 333"/>
                <a:gd name="T4" fmla="*/ 110 w 164"/>
                <a:gd name="T5" fmla="*/ 234 h 333"/>
                <a:gd name="T6" fmla="*/ 93 w 164"/>
                <a:gd name="T7" fmla="*/ 214 h 333"/>
                <a:gd name="T8" fmla="*/ 82 w 164"/>
                <a:gd name="T9" fmla="*/ 192 h 333"/>
                <a:gd name="T10" fmla="*/ 78 w 164"/>
                <a:gd name="T11" fmla="*/ 166 h 333"/>
                <a:gd name="T12" fmla="*/ 80 w 164"/>
                <a:gd name="T13" fmla="*/ 149 h 333"/>
                <a:gd name="T14" fmla="*/ 89 w 164"/>
                <a:gd name="T15" fmla="*/ 124 h 333"/>
                <a:gd name="T16" fmla="*/ 104 w 164"/>
                <a:gd name="T17" fmla="*/ 105 h 333"/>
                <a:gd name="T18" fmla="*/ 123 w 164"/>
                <a:gd name="T19" fmla="*/ 89 h 333"/>
                <a:gd name="T20" fmla="*/ 147 w 164"/>
                <a:gd name="T21" fmla="*/ 80 h 333"/>
                <a:gd name="T22" fmla="*/ 164 w 164"/>
                <a:gd name="T23" fmla="*/ 0 h 333"/>
                <a:gd name="T24" fmla="*/ 144 w 164"/>
                <a:gd name="T25" fmla="*/ 1 h 333"/>
                <a:gd name="T26" fmla="*/ 140 w 164"/>
                <a:gd name="T27" fmla="*/ 8 h 333"/>
                <a:gd name="T28" fmla="*/ 128 w 164"/>
                <a:gd name="T29" fmla="*/ 32 h 333"/>
                <a:gd name="T30" fmla="*/ 109 w 164"/>
                <a:gd name="T31" fmla="*/ 18 h 333"/>
                <a:gd name="T32" fmla="*/ 100 w 164"/>
                <a:gd name="T33" fmla="*/ 13 h 333"/>
                <a:gd name="T34" fmla="*/ 67 w 164"/>
                <a:gd name="T35" fmla="*/ 32 h 333"/>
                <a:gd name="T36" fmla="*/ 63 w 164"/>
                <a:gd name="T37" fmla="*/ 41 h 333"/>
                <a:gd name="T38" fmla="*/ 74 w 164"/>
                <a:gd name="T39" fmla="*/ 62 h 333"/>
                <a:gd name="T40" fmla="*/ 42 w 164"/>
                <a:gd name="T41" fmla="*/ 66 h 333"/>
                <a:gd name="T42" fmla="*/ 36 w 164"/>
                <a:gd name="T43" fmla="*/ 66 h 333"/>
                <a:gd name="T44" fmla="*/ 14 w 164"/>
                <a:gd name="T45" fmla="*/ 100 h 333"/>
                <a:gd name="T46" fmla="*/ 12 w 164"/>
                <a:gd name="T47" fmla="*/ 106 h 333"/>
                <a:gd name="T48" fmla="*/ 35 w 164"/>
                <a:gd name="T49" fmla="*/ 122 h 333"/>
                <a:gd name="T50" fmla="*/ 29 w 164"/>
                <a:gd name="T51" fmla="*/ 143 h 333"/>
                <a:gd name="T52" fmla="*/ 6 w 164"/>
                <a:gd name="T53" fmla="*/ 143 h 333"/>
                <a:gd name="T54" fmla="*/ 0 w 164"/>
                <a:gd name="T55" fmla="*/ 152 h 333"/>
                <a:gd name="T56" fmla="*/ 1 w 164"/>
                <a:gd name="T57" fmla="*/ 189 h 333"/>
                <a:gd name="T58" fmla="*/ 9 w 164"/>
                <a:gd name="T59" fmla="*/ 194 h 333"/>
                <a:gd name="T60" fmla="*/ 32 w 164"/>
                <a:gd name="T61" fmla="*/ 205 h 333"/>
                <a:gd name="T62" fmla="*/ 19 w 164"/>
                <a:gd name="T63" fmla="*/ 224 h 333"/>
                <a:gd name="T64" fmla="*/ 14 w 164"/>
                <a:gd name="T65" fmla="*/ 233 h 333"/>
                <a:gd name="T66" fmla="*/ 32 w 164"/>
                <a:gd name="T67" fmla="*/ 266 h 333"/>
                <a:gd name="T68" fmla="*/ 41 w 164"/>
                <a:gd name="T69" fmla="*/ 270 h 333"/>
                <a:gd name="T70" fmla="*/ 62 w 164"/>
                <a:gd name="T71" fmla="*/ 259 h 333"/>
                <a:gd name="T72" fmla="*/ 68 w 164"/>
                <a:gd name="T73" fmla="*/ 291 h 333"/>
                <a:gd name="T74" fmla="*/ 67 w 164"/>
                <a:gd name="T75" fmla="*/ 297 h 333"/>
                <a:gd name="T76" fmla="*/ 100 w 164"/>
                <a:gd name="T77" fmla="*/ 319 h 333"/>
                <a:gd name="T78" fmla="*/ 106 w 164"/>
                <a:gd name="T79" fmla="*/ 321 h 333"/>
                <a:gd name="T80" fmla="*/ 122 w 164"/>
                <a:gd name="T81" fmla="*/ 298 h 333"/>
                <a:gd name="T82" fmla="*/ 143 w 164"/>
                <a:gd name="T83" fmla="*/ 305 h 333"/>
                <a:gd name="T84" fmla="*/ 144 w 164"/>
                <a:gd name="T85" fmla="*/ 327 h 333"/>
                <a:gd name="T86" fmla="*/ 152 w 164"/>
                <a:gd name="T87"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333">
                  <a:moveTo>
                    <a:pt x="164" y="255"/>
                  </a:moveTo>
                  <a:lnTo>
                    <a:pt x="164" y="255"/>
                  </a:lnTo>
                  <a:lnTo>
                    <a:pt x="156" y="254"/>
                  </a:lnTo>
                  <a:lnTo>
                    <a:pt x="147" y="253"/>
                  </a:lnTo>
                  <a:lnTo>
                    <a:pt x="138" y="250"/>
                  </a:lnTo>
                  <a:lnTo>
                    <a:pt x="131" y="247"/>
                  </a:lnTo>
                  <a:lnTo>
                    <a:pt x="123" y="243"/>
                  </a:lnTo>
                  <a:lnTo>
                    <a:pt x="116" y="239"/>
                  </a:lnTo>
                  <a:lnTo>
                    <a:pt x="110" y="234"/>
                  </a:lnTo>
                  <a:lnTo>
                    <a:pt x="104" y="228"/>
                  </a:lnTo>
                  <a:lnTo>
                    <a:pt x="98" y="222"/>
                  </a:lnTo>
                  <a:lnTo>
                    <a:pt x="93" y="214"/>
                  </a:lnTo>
                  <a:lnTo>
                    <a:pt x="89" y="208"/>
                  </a:lnTo>
                  <a:lnTo>
                    <a:pt x="85" y="200"/>
                  </a:lnTo>
                  <a:lnTo>
                    <a:pt x="82" y="192"/>
                  </a:lnTo>
                  <a:lnTo>
                    <a:pt x="80" y="184"/>
                  </a:lnTo>
                  <a:lnTo>
                    <a:pt x="79" y="175"/>
                  </a:lnTo>
                  <a:lnTo>
                    <a:pt x="78" y="166"/>
                  </a:lnTo>
                  <a:lnTo>
                    <a:pt x="78" y="166"/>
                  </a:lnTo>
                  <a:lnTo>
                    <a:pt x="79" y="158"/>
                  </a:lnTo>
                  <a:lnTo>
                    <a:pt x="80" y="149"/>
                  </a:lnTo>
                  <a:lnTo>
                    <a:pt x="82" y="140"/>
                  </a:lnTo>
                  <a:lnTo>
                    <a:pt x="85" y="132"/>
                  </a:lnTo>
                  <a:lnTo>
                    <a:pt x="89" y="124"/>
                  </a:lnTo>
                  <a:lnTo>
                    <a:pt x="93" y="117"/>
                  </a:lnTo>
                  <a:lnTo>
                    <a:pt x="98" y="111"/>
                  </a:lnTo>
                  <a:lnTo>
                    <a:pt x="104" y="105"/>
                  </a:lnTo>
                  <a:lnTo>
                    <a:pt x="110" y="99"/>
                  </a:lnTo>
                  <a:lnTo>
                    <a:pt x="116" y="94"/>
                  </a:lnTo>
                  <a:lnTo>
                    <a:pt x="123" y="89"/>
                  </a:lnTo>
                  <a:lnTo>
                    <a:pt x="131" y="85"/>
                  </a:lnTo>
                  <a:lnTo>
                    <a:pt x="138" y="82"/>
                  </a:lnTo>
                  <a:lnTo>
                    <a:pt x="147" y="80"/>
                  </a:lnTo>
                  <a:lnTo>
                    <a:pt x="156" y="79"/>
                  </a:lnTo>
                  <a:lnTo>
                    <a:pt x="164" y="78"/>
                  </a:lnTo>
                  <a:lnTo>
                    <a:pt x="164" y="0"/>
                  </a:lnTo>
                  <a:lnTo>
                    <a:pt x="148" y="0"/>
                  </a:lnTo>
                  <a:lnTo>
                    <a:pt x="148" y="0"/>
                  </a:lnTo>
                  <a:lnTo>
                    <a:pt x="144" y="1"/>
                  </a:lnTo>
                  <a:lnTo>
                    <a:pt x="142" y="2"/>
                  </a:lnTo>
                  <a:lnTo>
                    <a:pt x="140" y="5"/>
                  </a:lnTo>
                  <a:lnTo>
                    <a:pt x="140" y="8"/>
                  </a:lnTo>
                  <a:lnTo>
                    <a:pt x="140" y="29"/>
                  </a:lnTo>
                  <a:lnTo>
                    <a:pt x="140" y="29"/>
                  </a:lnTo>
                  <a:lnTo>
                    <a:pt x="128" y="32"/>
                  </a:lnTo>
                  <a:lnTo>
                    <a:pt x="119" y="34"/>
                  </a:lnTo>
                  <a:lnTo>
                    <a:pt x="109" y="18"/>
                  </a:lnTo>
                  <a:lnTo>
                    <a:pt x="109" y="18"/>
                  </a:lnTo>
                  <a:lnTo>
                    <a:pt x="106" y="15"/>
                  </a:lnTo>
                  <a:lnTo>
                    <a:pt x="104" y="13"/>
                  </a:lnTo>
                  <a:lnTo>
                    <a:pt x="100" y="13"/>
                  </a:lnTo>
                  <a:lnTo>
                    <a:pt x="96" y="15"/>
                  </a:lnTo>
                  <a:lnTo>
                    <a:pt x="67" y="32"/>
                  </a:lnTo>
                  <a:lnTo>
                    <a:pt x="67" y="32"/>
                  </a:lnTo>
                  <a:lnTo>
                    <a:pt x="64" y="34"/>
                  </a:lnTo>
                  <a:lnTo>
                    <a:pt x="63" y="37"/>
                  </a:lnTo>
                  <a:lnTo>
                    <a:pt x="63" y="41"/>
                  </a:lnTo>
                  <a:lnTo>
                    <a:pt x="64" y="43"/>
                  </a:lnTo>
                  <a:lnTo>
                    <a:pt x="74" y="62"/>
                  </a:lnTo>
                  <a:lnTo>
                    <a:pt x="74" y="62"/>
                  </a:lnTo>
                  <a:lnTo>
                    <a:pt x="67" y="69"/>
                  </a:lnTo>
                  <a:lnTo>
                    <a:pt x="59" y="76"/>
                  </a:lnTo>
                  <a:lnTo>
                    <a:pt x="42" y="66"/>
                  </a:lnTo>
                  <a:lnTo>
                    <a:pt x="42" y="66"/>
                  </a:lnTo>
                  <a:lnTo>
                    <a:pt x="40" y="65"/>
                  </a:lnTo>
                  <a:lnTo>
                    <a:pt x="36" y="66"/>
                  </a:lnTo>
                  <a:lnTo>
                    <a:pt x="32" y="68"/>
                  </a:lnTo>
                  <a:lnTo>
                    <a:pt x="31" y="70"/>
                  </a:lnTo>
                  <a:lnTo>
                    <a:pt x="14" y="100"/>
                  </a:lnTo>
                  <a:lnTo>
                    <a:pt x="14" y="100"/>
                  </a:lnTo>
                  <a:lnTo>
                    <a:pt x="12" y="102"/>
                  </a:lnTo>
                  <a:lnTo>
                    <a:pt x="12" y="106"/>
                  </a:lnTo>
                  <a:lnTo>
                    <a:pt x="14" y="108"/>
                  </a:lnTo>
                  <a:lnTo>
                    <a:pt x="16" y="111"/>
                  </a:lnTo>
                  <a:lnTo>
                    <a:pt x="35" y="122"/>
                  </a:lnTo>
                  <a:lnTo>
                    <a:pt x="35" y="122"/>
                  </a:lnTo>
                  <a:lnTo>
                    <a:pt x="31" y="132"/>
                  </a:lnTo>
                  <a:lnTo>
                    <a:pt x="29" y="143"/>
                  </a:lnTo>
                  <a:lnTo>
                    <a:pt x="9" y="143"/>
                  </a:lnTo>
                  <a:lnTo>
                    <a:pt x="9" y="143"/>
                  </a:lnTo>
                  <a:lnTo>
                    <a:pt x="6" y="143"/>
                  </a:lnTo>
                  <a:lnTo>
                    <a:pt x="3" y="145"/>
                  </a:lnTo>
                  <a:lnTo>
                    <a:pt x="1" y="148"/>
                  </a:lnTo>
                  <a:lnTo>
                    <a:pt x="0" y="152"/>
                  </a:lnTo>
                  <a:lnTo>
                    <a:pt x="0" y="185"/>
                  </a:lnTo>
                  <a:lnTo>
                    <a:pt x="0" y="185"/>
                  </a:lnTo>
                  <a:lnTo>
                    <a:pt x="1" y="189"/>
                  </a:lnTo>
                  <a:lnTo>
                    <a:pt x="3" y="191"/>
                  </a:lnTo>
                  <a:lnTo>
                    <a:pt x="6" y="194"/>
                  </a:lnTo>
                  <a:lnTo>
                    <a:pt x="9" y="194"/>
                  </a:lnTo>
                  <a:lnTo>
                    <a:pt x="30" y="194"/>
                  </a:lnTo>
                  <a:lnTo>
                    <a:pt x="30" y="194"/>
                  </a:lnTo>
                  <a:lnTo>
                    <a:pt x="32" y="205"/>
                  </a:lnTo>
                  <a:lnTo>
                    <a:pt x="36" y="214"/>
                  </a:lnTo>
                  <a:lnTo>
                    <a:pt x="19" y="224"/>
                  </a:lnTo>
                  <a:lnTo>
                    <a:pt x="19" y="224"/>
                  </a:lnTo>
                  <a:lnTo>
                    <a:pt x="16" y="227"/>
                  </a:lnTo>
                  <a:lnTo>
                    <a:pt x="15" y="229"/>
                  </a:lnTo>
                  <a:lnTo>
                    <a:pt x="14" y="233"/>
                  </a:lnTo>
                  <a:lnTo>
                    <a:pt x="15" y="237"/>
                  </a:lnTo>
                  <a:lnTo>
                    <a:pt x="32" y="266"/>
                  </a:lnTo>
                  <a:lnTo>
                    <a:pt x="32" y="266"/>
                  </a:lnTo>
                  <a:lnTo>
                    <a:pt x="35" y="269"/>
                  </a:lnTo>
                  <a:lnTo>
                    <a:pt x="37" y="270"/>
                  </a:lnTo>
                  <a:lnTo>
                    <a:pt x="41" y="270"/>
                  </a:lnTo>
                  <a:lnTo>
                    <a:pt x="45" y="269"/>
                  </a:lnTo>
                  <a:lnTo>
                    <a:pt x="62" y="259"/>
                  </a:lnTo>
                  <a:lnTo>
                    <a:pt x="62" y="259"/>
                  </a:lnTo>
                  <a:lnTo>
                    <a:pt x="69" y="266"/>
                  </a:lnTo>
                  <a:lnTo>
                    <a:pt x="78" y="274"/>
                  </a:lnTo>
                  <a:lnTo>
                    <a:pt x="68" y="291"/>
                  </a:lnTo>
                  <a:lnTo>
                    <a:pt x="68" y="291"/>
                  </a:lnTo>
                  <a:lnTo>
                    <a:pt x="67" y="295"/>
                  </a:lnTo>
                  <a:lnTo>
                    <a:pt x="67" y="297"/>
                  </a:lnTo>
                  <a:lnTo>
                    <a:pt x="68" y="301"/>
                  </a:lnTo>
                  <a:lnTo>
                    <a:pt x="70" y="302"/>
                  </a:lnTo>
                  <a:lnTo>
                    <a:pt x="100" y="319"/>
                  </a:lnTo>
                  <a:lnTo>
                    <a:pt x="100" y="319"/>
                  </a:lnTo>
                  <a:lnTo>
                    <a:pt x="104" y="321"/>
                  </a:lnTo>
                  <a:lnTo>
                    <a:pt x="106" y="321"/>
                  </a:lnTo>
                  <a:lnTo>
                    <a:pt x="110" y="319"/>
                  </a:lnTo>
                  <a:lnTo>
                    <a:pt x="112" y="317"/>
                  </a:lnTo>
                  <a:lnTo>
                    <a:pt x="122" y="298"/>
                  </a:lnTo>
                  <a:lnTo>
                    <a:pt x="122" y="298"/>
                  </a:lnTo>
                  <a:lnTo>
                    <a:pt x="132" y="302"/>
                  </a:lnTo>
                  <a:lnTo>
                    <a:pt x="143" y="305"/>
                  </a:lnTo>
                  <a:lnTo>
                    <a:pt x="143" y="324"/>
                  </a:lnTo>
                  <a:lnTo>
                    <a:pt x="143" y="324"/>
                  </a:lnTo>
                  <a:lnTo>
                    <a:pt x="144" y="327"/>
                  </a:lnTo>
                  <a:lnTo>
                    <a:pt x="146" y="330"/>
                  </a:lnTo>
                  <a:lnTo>
                    <a:pt x="148" y="332"/>
                  </a:lnTo>
                  <a:lnTo>
                    <a:pt x="152" y="333"/>
                  </a:lnTo>
                  <a:lnTo>
                    <a:pt x="164" y="333"/>
                  </a:lnTo>
                  <a:lnTo>
                    <a:pt x="164" y="255"/>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7" name="Freeform 206">
              <a:extLst>
                <a:ext uri="{FF2B5EF4-FFF2-40B4-BE49-F238E27FC236}">
                  <a16:creationId xmlns:a16="http://schemas.microsoft.com/office/drawing/2014/main" id="{DD8DC471-C3EA-4835-B745-0F282374CC19}"/>
                </a:ext>
              </a:extLst>
            </p:cNvPr>
            <p:cNvSpPr>
              <a:spLocks noEditPoints="1"/>
            </p:cNvSpPr>
            <p:nvPr/>
          </p:nvSpPr>
          <p:spPr bwMode="auto">
            <a:xfrm>
              <a:off x="3556000" y="409575"/>
              <a:ext cx="342900" cy="344488"/>
            </a:xfrm>
            <a:custGeom>
              <a:avLst/>
              <a:gdLst>
                <a:gd name="T0" fmla="*/ 97 w 216"/>
                <a:gd name="T1" fmla="*/ 1 h 217"/>
                <a:gd name="T2" fmla="*/ 66 w 216"/>
                <a:gd name="T3" fmla="*/ 8 h 217"/>
                <a:gd name="T4" fmla="*/ 40 w 216"/>
                <a:gd name="T5" fmla="*/ 24 h 217"/>
                <a:gd name="T6" fmla="*/ 19 w 216"/>
                <a:gd name="T7" fmla="*/ 48 h 217"/>
                <a:gd name="T8" fmla="*/ 5 w 216"/>
                <a:gd name="T9" fmla="*/ 76 h 217"/>
                <a:gd name="T10" fmla="*/ 0 w 216"/>
                <a:gd name="T11" fmla="*/ 108 h 217"/>
                <a:gd name="T12" fmla="*/ 2 w 216"/>
                <a:gd name="T13" fmla="*/ 131 h 217"/>
                <a:gd name="T14" fmla="*/ 13 w 216"/>
                <a:gd name="T15" fmla="*/ 160 h 217"/>
                <a:gd name="T16" fmla="*/ 31 w 216"/>
                <a:gd name="T17" fmla="*/ 185 h 217"/>
                <a:gd name="T18" fmla="*/ 56 w 216"/>
                <a:gd name="T19" fmla="*/ 203 h 217"/>
                <a:gd name="T20" fmla="*/ 87 w 216"/>
                <a:gd name="T21" fmla="*/ 214 h 217"/>
                <a:gd name="T22" fmla="*/ 108 w 216"/>
                <a:gd name="T23" fmla="*/ 217 h 217"/>
                <a:gd name="T24" fmla="*/ 140 w 216"/>
                <a:gd name="T25" fmla="*/ 212 h 217"/>
                <a:gd name="T26" fmla="*/ 168 w 216"/>
                <a:gd name="T27" fmla="*/ 198 h 217"/>
                <a:gd name="T28" fmla="*/ 192 w 216"/>
                <a:gd name="T29" fmla="*/ 177 h 217"/>
                <a:gd name="T30" fmla="*/ 208 w 216"/>
                <a:gd name="T31" fmla="*/ 150 h 217"/>
                <a:gd name="T32" fmla="*/ 215 w 216"/>
                <a:gd name="T33" fmla="*/ 119 h 217"/>
                <a:gd name="T34" fmla="*/ 215 w 216"/>
                <a:gd name="T35" fmla="*/ 97 h 217"/>
                <a:gd name="T36" fmla="*/ 208 w 216"/>
                <a:gd name="T37" fmla="*/ 66 h 217"/>
                <a:gd name="T38" fmla="*/ 192 w 216"/>
                <a:gd name="T39" fmla="*/ 39 h 217"/>
                <a:gd name="T40" fmla="*/ 168 w 216"/>
                <a:gd name="T41" fmla="*/ 18 h 217"/>
                <a:gd name="T42" fmla="*/ 140 w 216"/>
                <a:gd name="T43" fmla="*/ 5 h 217"/>
                <a:gd name="T44" fmla="*/ 108 w 216"/>
                <a:gd name="T45" fmla="*/ 0 h 217"/>
                <a:gd name="T46" fmla="*/ 108 w 216"/>
                <a:gd name="T47" fmla="*/ 197 h 217"/>
                <a:gd name="T48" fmla="*/ 82 w 216"/>
                <a:gd name="T49" fmla="*/ 193 h 217"/>
                <a:gd name="T50" fmla="*/ 58 w 216"/>
                <a:gd name="T51" fmla="*/ 182 h 217"/>
                <a:gd name="T52" fmla="*/ 40 w 216"/>
                <a:gd name="T53" fmla="*/ 165 h 217"/>
                <a:gd name="T54" fmla="*/ 26 w 216"/>
                <a:gd name="T55" fmla="*/ 143 h 217"/>
                <a:gd name="T56" fmla="*/ 20 w 216"/>
                <a:gd name="T57" fmla="*/ 117 h 217"/>
                <a:gd name="T58" fmla="*/ 20 w 216"/>
                <a:gd name="T59" fmla="*/ 100 h 217"/>
                <a:gd name="T60" fmla="*/ 26 w 216"/>
                <a:gd name="T61" fmla="*/ 74 h 217"/>
                <a:gd name="T62" fmla="*/ 40 w 216"/>
                <a:gd name="T63" fmla="*/ 52 h 217"/>
                <a:gd name="T64" fmla="*/ 58 w 216"/>
                <a:gd name="T65" fmla="*/ 34 h 217"/>
                <a:gd name="T66" fmla="*/ 82 w 216"/>
                <a:gd name="T67" fmla="*/ 23 h 217"/>
                <a:gd name="T68" fmla="*/ 108 w 216"/>
                <a:gd name="T69" fmla="*/ 20 h 217"/>
                <a:gd name="T70" fmla="*/ 126 w 216"/>
                <a:gd name="T71" fmla="*/ 21 h 217"/>
                <a:gd name="T72" fmla="*/ 151 w 216"/>
                <a:gd name="T73" fmla="*/ 31 h 217"/>
                <a:gd name="T74" fmla="*/ 171 w 216"/>
                <a:gd name="T75" fmla="*/ 45 h 217"/>
                <a:gd name="T76" fmla="*/ 187 w 216"/>
                <a:gd name="T77" fmla="*/ 66 h 217"/>
                <a:gd name="T78" fmla="*/ 195 w 216"/>
                <a:gd name="T79" fmla="*/ 90 h 217"/>
                <a:gd name="T80" fmla="*/ 196 w 216"/>
                <a:gd name="T81" fmla="*/ 108 h 217"/>
                <a:gd name="T82" fmla="*/ 193 w 216"/>
                <a:gd name="T83" fmla="*/ 134 h 217"/>
                <a:gd name="T84" fmla="*/ 182 w 216"/>
                <a:gd name="T85" fmla="*/ 158 h 217"/>
                <a:gd name="T86" fmla="*/ 164 w 216"/>
                <a:gd name="T87" fmla="*/ 176 h 217"/>
                <a:gd name="T88" fmla="*/ 142 w 216"/>
                <a:gd name="T89" fmla="*/ 190 h 217"/>
                <a:gd name="T90" fmla="*/ 118 w 216"/>
                <a:gd name="T91" fmla="*/ 19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6" h="217">
                  <a:moveTo>
                    <a:pt x="108" y="0"/>
                  </a:moveTo>
                  <a:lnTo>
                    <a:pt x="108" y="0"/>
                  </a:lnTo>
                  <a:lnTo>
                    <a:pt x="97" y="1"/>
                  </a:lnTo>
                  <a:lnTo>
                    <a:pt x="87" y="2"/>
                  </a:lnTo>
                  <a:lnTo>
                    <a:pt x="76" y="5"/>
                  </a:lnTo>
                  <a:lnTo>
                    <a:pt x="66" y="8"/>
                  </a:lnTo>
                  <a:lnTo>
                    <a:pt x="56" y="13"/>
                  </a:lnTo>
                  <a:lnTo>
                    <a:pt x="47" y="18"/>
                  </a:lnTo>
                  <a:lnTo>
                    <a:pt x="40" y="24"/>
                  </a:lnTo>
                  <a:lnTo>
                    <a:pt x="31" y="32"/>
                  </a:lnTo>
                  <a:lnTo>
                    <a:pt x="25" y="39"/>
                  </a:lnTo>
                  <a:lnTo>
                    <a:pt x="19" y="48"/>
                  </a:lnTo>
                  <a:lnTo>
                    <a:pt x="13" y="57"/>
                  </a:lnTo>
                  <a:lnTo>
                    <a:pt x="9" y="66"/>
                  </a:lnTo>
                  <a:lnTo>
                    <a:pt x="5" y="76"/>
                  </a:lnTo>
                  <a:lnTo>
                    <a:pt x="2" y="86"/>
                  </a:lnTo>
                  <a:lnTo>
                    <a:pt x="0" y="97"/>
                  </a:lnTo>
                  <a:lnTo>
                    <a:pt x="0" y="108"/>
                  </a:lnTo>
                  <a:lnTo>
                    <a:pt x="0" y="108"/>
                  </a:lnTo>
                  <a:lnTo>
                    <a:pt x="0" y="119"/>
                  </a:lnTo>
                  <a:lnTo>
                    <a:pt x="2" y="131"/>
                  </a:lnTo>
                  <a:lnTo>
                    <a:pt x="5" y="140"/>
                  </a:lnTo>
                  <a:lnTo>
                    <a:pt x="9" y="150"/>
                  </a:lnTo>
                  <a:lnTo>
                    <a:pt x="13" y="160"/>
                  </a:lnTo>
                  <a:lnTo>
                    <a:pt x="19" y="169"/>
                  </a:lnTo>
                  <a:lnTo>
                    <a:pt x="25" y="177"/>
                  </a:lnTo>
                  <a:lnTo>
                    <a:pt x="31" y="185"/>
                  </a:lnTo>
                  <a:lnTo>
                    <a:pt x="40" y="191"/>
                  </a:lnTo>
                  <a:lnTo>
                    <a:pt x="47" y="198"/>
                  </a:lnTo>
                  <a:lnTo>
                    <a:pt x="56" y="203"/>
                  </a:lnTo>
                  <a:lnTo>
                    <a:pt x="66" y="208"/>
                  </a:lnTo>
                  <a:lnTo>
                    <a:pt x="76" y="212"/>
                  </a:lnTo>
                  <a:lnTo>
                    <a:pt x="87" y="214"/>
                  </a:lnTo>
                  <a:lnTo>
                    <a:pt x="97" y="216"/>
                  </a:lnTo>
                  <a:lnTo>
                    <a:pt x="108" y="217"/>
                  </a:lnTo>
                  <a:lnTo>
                    <a:pt x="108" y="217"/>
                  </a:lnTo>
                  <a:lnTo>
                    <a:pt x="119" y="216"/>
                  </a:lnTo>
                  <a:lnTo>
                    <a:pt x="130" y="214"/>
                  </a:lnTo>
                  <a:lnTo>
                    <a:pt x="140" y="212"/>
                  </a:lnTo>
                  <a:lnTo>
                    <a:pt x="150" y="208"/>
                  </a:lnTo>
                  <a:lnTo>
                    <a:pt x="159" y="203"/>
                  </a:lnTo>
                  <a:lnTo>
                    <a:pt x="168" y="198"/>
                  </a:lnTo>
                  <a:lnTo>
                    <a:pt x="177" y="191"/>
                  </a:lnTo>
                  <a:lnTo>
                    <a:pt x="184" y="185"/>
                  </a:lnTo>
                  <a:lnTo>
                    <a:pt x="192" y="177"/>
                  </a:lnTo>
                  <a:lnTo>
                    <a:pt x="198" y="169"/>
                  </a:lnTo>
                  <a:lnTo>
                    <a:pt x="203" y="160"/>
                  </a:lnTo>
                  <a:lnTo>
                    <a:pt x="208" y="150"/>
                  </a:lnTo>
                  <a:lnTo>
                    <a:pt x="211" y="140"/>
                  </a:lnTo>
                  <a:lnTo>
                    <a:pt x="214" y="131"/>
                  </a:lnTo>
                  <a:lnTo>
                    <a:pt x="215" y="119"/>
                  </a:lnTo>
                  <a:lnTo>
                    <a:pt x="216" y="108"/>
                  </a:lnTo>
                  <a:lnTo>
                    <a:pt x="216" y="108"/>
                  </a:lnTo>
                  <a:lnTo>
                    <a:pt x="215" y="97"/>
                  </a:lnTo>
                  <a:lnTo>
                    <a:pt x="214" y="86"/>
                  </a:lnTo>
                  <a:lnTo>
                    <a:pt x="211" y="76"/>
                  </a:lnTo>
                  <a:lnTo>
                    <a:pt x="208" y="66"/>
                  </a:lnTo>
                  <a:lnTo>
                    <a:pt x="203" y="57"/>
                  </a:lnTo>
                  <a:lnTo>
                    <a:pt x="198" y="48"/>
                  </a:lnTo>
                  <a:lnTo>
                    <a:pt x="192" y="39"/>
                  </a:lnTo>
                  <a:lnTo>
                    <a:pt x="184" y="32"/>
                  </a:lnTo>
                  <a:lnTo>
                    <a:pt x="177" y="24"/>
                  </a:lnTo>
                  <a:lnTo>
                    <a:pt x="168" y="18"/>
                  </a:lnTo>
                  <a:lnTo>
                    <a:pt x="159" y="13"/>
                  </a:lnTo>
                  <a:lnTo>
                    <a:pt x="150" y="8"/>
                  </a:lnTo>
                  <a:lnTo>
                    <a:pt x="140" y="5"/>
                  </a:lnTo>
                  <a:lnTo>
                    <a:pt x="130" y="2"/>
                  </a:lnTo>
                  <a:lnTo>
                    <a:pt x="119" y="1"/>
                  </a:lnTo>
                  <a:lnTo>
                    <a:pt x="108" y="0"/>
                  </a:lnTo>
                  <a:lnTo>
                    <a:pt x="108" y="0"/>
                  </a:lnTo>
                  <a:close/>
                  <a:moveTo>
                    <a:pt x="108" y="197"/>
                  </a:moveTo>
                  <a:lnTo>
                    <a:pt x="108" y="197"/>
                  </a:lnTo>
                  <a:lnTo>
                    <a:pt x="99" y="196"/>
                  </a:lnTo>
                  <a:lnTo>
                    <a:pt x="90" y="195"/>
                  </a:lnTo>
                  <a:lnTo>
                    <a:pt x="82" y="193"/>
                  </a:lnTo>
                  <a:lnTo>
                    <a:pt x="73" y="190"/>
                  </a:lnTo>
                  <a:lnTo>
                    <a:pt x="66" y="186"/>
                  </a:lnTo>
                  <a:lnTo>
                    <a:pt x="58" y="182"/>
                  </a:lnTo>
                  <a:lnTo>
                    <a:pt x="51" y="176"/>
                  </a:lnTo>
                  <a:lnTo>
                    <a:pt x="45" y="171"/>
                  </a:lnTo>
                  <a:lnTo>
                    <a:pt x="40" y="165"/>
                  </a:lnTo>
                  <a:lnTo>
                    <a:pt x="35" y="158"/>
                  </a:lnTo>
                  <a:lnTo>
                    <a:pt x="30" y="150"/>
                  </a:lnTo>
                  <a:lnTo>
                    <a:pt x="26" y="143"/>
                  </a:lnTo>
                  <a:lnTo>
                    <a:pt x="24" y="134"/>
                  </a:lnTo>
                  <a:lnTo>
                    <a:pt x="21" y="126"/>
                  </a:lnTo>
                  <a:lnTo>
                    <a:pt x="20" y="117"/>
                  </a:lnTo>
                  <a:lnTo>
                    <a:pt x="19" y="108"/>
                  </a:lnTo>
                  <a:lnTo>
                    <a:pt x="19" y="108"/>
                  </a:lnTo>
                  <a:lnTo>
                    <a:pt x="20" y="100"/>
                  </a:lnTo>
                  <a:lnTo>
                    <a:pt x="21" y="90"/>
                  </a:lnTo>
                  <a:lnTo>
                    <a:pt x="24" y="82"/>
                  </a:lnTo>
                  <a:lnTo>
                    <a:pt x="26" y="74"/>
                  </a:lnTo>
                  <a:lnTo>
                    <a:pt x="30" y="66"/>
                  </a:lnTo>
                  <a:lnTo>
                    <a:pt x="35" y="59"/>
                  </a:lnTo>
                  <a:lnTo>
                    <a:pt x="40" y="52"/>
                  </a:lnTo>
                  <a:lnTo>
                    <a:pt x="45" y="45"/>
                  </a:lnTo>
                  <a:lnTo>
                    <a:pt x="51" y="39"/>
                  </a:lnTo>
                  <a:lnTo>
                    <a:pt x="58" y="34"/>
                  </a:lnTo>
                  <a:lnTo>
                    <a:pt x="66" y="31"/>
                  </a:lnTo>
                  <a:lnTo>
                    <a:pt x="73" y="27"/>
                  </a:lnTo>
                  <a:lnTo>
                    <a:pt x="82" y="23"/>
                  </a:lnTo>
                  <a:lnTo>
                    <a:pt x="90" y="21"/>
                  </a:lnTo>
                  <a:lnTo>
                    <a:pt x="99" y="20"/>
                  </a:lnTo>
                  <a:lnTo>
                    <a:pt x="108" y="20"/>
                  </a:lnTo>
                  <a:lnTo>
                    <a:pt x="108" y="20"/>
                  </a:lnTo>
                  <a:lnTo>
                    <a:pt x="118" y="20"/>
                  </a:lnTo>
                  <a:lnTo>
                    <a:pt x="126" y="21"/>
                  </a:lnTo>
                  <a:lnTo>
                    <a:pt x="135" y="23"/>
                  </a:lnTo>
                  <a:lnTo>
                    <a:pt x="142" y="27"/>
                  </a:lnTo>
                  <a:lnTo>
                    <a:pt x="151" y="31"/>
                  </a:lnTo>
                  <a:lnTo>
                    <a:pt x="157" y="34"/>
                  </a:lnTo>
                  <a:lnTo>
                    <a:pt x="164" y="39"/>
                  </a:lnTo>
                  <a:lnTo>
                    <a:pt x="171" y="45"/>
                  </a:lnTo>
                  <a:lnTo>
                    <a:pt x="177" y="52"/>
                  </a:lnTo>
                  <a:lnTo>
                    <a:pt x="182" y="59"/>
                  </a:lnTo>
                  <a:lnTo>
                    <a:pt x="187" y="66"/>
                  </a:lnTo>
                  <a:lnTo>
                    <a:pt x="190" y="74"/>
                  </a:lnTo>
                  <a:lnTo>
                    <a:pt x="193" y="82"/>
                  </a:lnTo>
                  <a:lnTo>
                    <a:pt x="195" y="90"/>
                  </a:lnTo>
                  <a:lnTo>
                    <a:pt x="196" y="100"/>
                  </a:lnTo>
                  <a:lnTo>
                    <a:pt x="196" y="108"/>
                  </a:lnTo>
                  <a:lnTo>
                    <a:pt x="196" y="108"/>
                  </a:lnTo>
                  <a:lnTo>
                    <a:pt x="196" y="117"/>
                  </a:lnTo>
                  <a:lnTo>
                    <a:pt x="195" y="126"/>
                  </a:lnTo>
                  <a:lnTo>
                    <a:pt x="193" y="134"/>
                  </a:lnTo>
                  <a:lnTo>
                    <a:pt x="190" y="143"/>
                  </a:lnTo>
                  <a:lnTo>
                    <a:pt x="187" y="150"/>
                  </a:lnTo>
                  <a:lnTo>
                    <a:pt x="182" y="158"/>
                  </a:lnTo>
                  <a:lnTo>
                    <a:pt x="177" y="165"/>
                  </a:lnTo>
                  <a:lnTo>
                    <a:pt x="171" y="171"/>
                  </a:lnTo>
                  <a:lnTo>
                    <a:pt x="164" y="176"/>
                  </a:lnTo>
                  <a:lnTo>
                    <a:pt x="157" y="182"/>
                  </a:lnTo>
                  <a:lnTo>
                    <a:pt x="151" y="186"/>
                  </a:lnTo>
                  <a:lnTo>
                    <a:pt x="142" y="190"/>
                  </a:lnTo>
                  <a:lnTo>
                    <a:pt x="135" y="193"/>
                  </a:lnTo>
                  <a:lnTo>
                    <a:pt x="126" y="195"/>
                  </a:lnTo>
                  <a:lnTo>
                    <a:pt x="118" y="196"/>
                  </a:lnTo>
                  <a:lnTo>
                    <a:pt x="108" y="197"/>
                  </a:lnTo>
                  <a:lnTo>
                    <a:pt x="108" y="197"/>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8" name="Freeform 207">
              <a:extLst>
                <a:ext uri="{FF2B5EF4-FFF2-40B4-BE49-F238E27FC236}">
                  <a16:creationId xmlns:a16="http://schemas.microsoft.com/office/drawing/2014/main" id="{CCA6FE7D-1819-8472-9536-6ABC198A4421}"/>
                </a:ext>
              </a:extLst>
            </p:cNvPr>
            <p:cNvSpPr>
              <a:spLocks/>
            </p:cNvSpPr>
            <p:nvPr/>
          </p:nvSpPr>
          <p:spPr bwMode="auto">
            <a:xfrm>
              <a:off x="3722688" y="409575"/>
              <a:ext cx="176213" cy="344488"/>
            </a:xfrm>
            <a:custGeom>
              <a:avLst/>
              <a:gdLst>
                <a:gd name="T0" fmla="*/ 3 w 111"/>
                <a:gd name="T1" fmla="*/ 0 h 217"/>
                <a:gd name="T2" fmla="*/ 0 w 111"/>
                <a:gd name="T3" fmla="*/ 20 h 217"/>
                <a:gd name="T4" fmla="*/ 3 w 111"/>
                <a:gd name="T5" fmla="*/ 20 h 217"/>
                <a:gd name="T6" fmla="*/ 13 w 111"/>
                <a:gd name="T7" fmla="*/ 20 h 217"/>
                <a:gd name="T8" fmla="*/ 30 w 111"/>
                <a:gd name="T9" fmla="*/ 23 h 217"/>
                <a:gd name="T10" fmla="*/ 46 w 111"/>
                <a:gd name="T11" fmla="*/ 31 h 217"/>
                <a:gd name="T12" fmla="*/ 59 w 111"/>
                <a:gd name="T13" fmla="*/ 39 h 217"/>
                <a:gd name="T14" fmla="*/ 72 w 111"/>
                <a:gd name="T15" fmla="*/ 52 h 217"/>
                <a:gd name="T16" fmla="*/ 82 w 111"/>
                <a:gd name="T17" fmla="*/ 66 h 217"/>
                <a:gd name="T18" fmla="*/ 88 w 111"/>
                <a:gd name="T19" fmla="*/ 82 h 217"/>
                <a:gd name="T20" fmla="*/ 91 w 111"/>
                <a:gd name="T21" fmla="*/ 100 h 217"/>
                <a:gd name="T22" fmla="*/ 91 w 111"/>
                <a:gd name="T23" fmla="*/ 108 h 217"/>
                <a:gd name="T24" fmla="*/ 90 w 111"/>
                <a:gd name="T25" fmla="*/ 126 h 217"/>
                <a:gd name="T26" fmla="*/ 85 w 111"/>
                <a:gd name="T27" fmla="*/ 143 h 217"/>
                <a:gd name="T28" fmla="*/ 77 w 111"/>
                <a:gd name="T29" fmla="*/ 158 h 217"/>
                <a:gd name="T30" fmla="*/ 66 w 111"/>
                <a:gd name="T31" fmla="*/ 171 h 217"/>
                <a:gd name="T32" fmla="*/ 52 w 111"/>
                <a:gd name="T33" fmla="*/ 182 h 217"/>
                <a:gd name="T34" fmla="*/ 37 w 111"/>
                <a:gd name="T35" fmla="*/ 190 h 217"/>
                <a:gd name="T36" fmla="*/ 21 w 111"/>
                <a:gd name="T37" fmla="*/ 195 h 217"/>
                <a:gd name="T38" fmla="*/ 3 w 111"/>
                <a:gd name="T39" fmla="*/ 197 h 217"/>
                <a:gd name="T40" fmla="*/ 0 w 111"/>
                <a:gd name="T41" fmla="*/ 197 h 217"/>
                <a:gd name="T42" fmla="*/ 0 w 111"/>
                <a:gd name="T43" fmla="*/ 216 h 217"/>
                <a:gd name="T44" fmla="*/ 3 w 111"/>
                <a:gd name="T45" fmla="*/ 217 h 217"/>
                <a:gd name="T46" fmla="*/ 25 w 111"/>
                <a:gd name="T47" fmla="*/ 214 h 217"/>
                <a:gd name="T48" fmla="*/ 45 w 111"/>
                <a:gd name="T49" fmla="*/ 208 h 217"/>
                <a:gd name="T50" fmla="*/ 63 w 111"/>
                <a:gd name="T51" fmla="*/ 198 h 217"/>
                <a:gd name="T52" fmla="*/ 79 w 111"/>
                <a:gd name="T53" fmla="*/ 185 h 217"/>
                <a:gd name="T54" fmla="*/ 93 w 111"/>
                <a:gd name="T55" fmla="*/ 169 h 217"/>
                <a:gd name="T56" fmla="*/ 103 w 111"/>
                <a:gd name="T57" fmla="*/ 150 h 217"/>
                <a:gd name="T58" fmla="*/ 109 w 111"/>
                <a:gd name="T59" fmla="*/ 131 h 217"/>
                <a:gd name="T60" fmla="*/ 111 w 111"/>
                <a:gd name="T61" fmla="*/ 108 h 217"/>
                <a:gd name="T62" fmla="*/ 110 w 111"/>
                <a:gd name="T63" fmla="*/ 97 h 217"/>
                <a:gd name="T64" fmla="*/ 106 w 111"/>
                <a:gd name="T65" fmla="*/ 76 h 217"/>
                <a:gd name="T66" fmla="*/ 98 w 111"/>
                <a:gd name="T67" fmla="*/ 57 h 217"/>
                <a:gd name="T68" fmla="*/ 87 w 111"/>
                <a:gd name="T69" fmla="*/ 39 h 217"/>
                <a:gd name="T70" fmla="*/ 72 w 111"/>
                <a:gd name="T71" fmla="*/ 24 h 217"/>
                <a:gd name="T72" fmla="*/ 54 w 111"/>
                <a:gd name="T73" fmla="*/ 13 h 217"/>
                <a:gd name="T74" fmla="*/ 35 w 111"/>
                <a:gd name="T75" fmla="*/ 5 h 217"/>
                <a:gd name="T76" fmla="*/ 14 w 111"/>
                <a:gd name="T77" fmla="*/ 1 h 217"/>
                <a:gd name="T78" fmla="*/ 3 w 111"/>
                <a:gd name="T7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1" h="217">
                  <a:moveTo>
                    <a:pt x="3" y="0"/>
                  </a:moveTo>
                  <a:lnTo>
                    <a:pt x="3" y="0"/>
                  </a:lnTo>
                  <a:lnTo>
                    <a:pt x="0" y="0"/>
                  </a:lnTo>
                  <a:lnTo>
                    <a:pt x="0" y="20"/>
                  </a:lnTo>
                  <a:lnTo>
                    <a:pt x="0" y="20"/>
                  </a:lnTo>
                  <a:lnTo>
                    <a:pt x="3" y="20"/>
                  </a:lnTo>
                  <a:lnTo>
                    <a:pt x="3" y="20"/>
                  </a:lnTo>
                  <a:lnTo>
                    <a:pt x="13" y="20"/>
                  </a:lnTo>
                  <a:lnTo>
                    <a:pt x="21" y="21"/>
                  </a:lnTo>
                  <a:lnTo>
                    <a:pt x="30" y="23"/>
                  </a:lnTo>
                  <a:lnTo>
                    <a:pt x="37" y="27"/>
                  </a:lnTo>
                  <a:lnTo>
                    <a:pt x="46" y="31"/>
                  </a:lnTo>
                  <a:lnTo>
                    <a:pt x="52" y="34"/>
                  </a:lnTo>
                  <a:lnTo>
                    <a:pt x="59" y="39"/>
                  </a:lnTo>
                  <a:lnTo>
                    <a:pt x="66" y="45"/>
                  </a:lnTo>
                  <a:lnTo>
                    <a:pt x="72" y="52"/>
                  </a:lnTo>
                  <a:lnTo>
                    <a:pt x="77" y="59"/>
                  </a:lnTo>
                  <a:lnTo>
                    <a:pt x="82" y="66"/>
                  </a:lnTo>
                  <a:lnTo>
                    <a:pt x="85" y="74"/>
                  </a:lnTo>
                  <a:lnTo>
                    <a:pt x="88" y="82"/>
                  </a:lnTo>
                  <a:lnTo>
                    <a:pt x="90" y="90"/>
                  </a:lnTo>
                  <a:lnTo>
                    <a:pt x="91" y="100"/>
                  </a:lnTo>
                  <a:lnTo>
                    <a:pt x="91" y="108"/>
                  </a:lnTo>
                  <a:lnTo>
                    <a:pt x="91" y="108"/>
                  </a:lnTo>
                  <a:lnTo>
                    <a:pt x="91" y="117"/>
                  </a:lnTo>
                  <a:lnTo>
                    <a:pt x="90" y="126"/>
                  </a:lnTo>
                  <a:lnTo>
                    <a:pt x="88" y="134"/>
                  </a:lnTo>
                  <a:lnTo>
                    <a:pt x="85" y="143"/>
                  </a:lnTo>
                  <a:lnTo>
                    <a:pt x="82" y="150"/>
                  </a:lnTo>
                  <a:lnTo>
                    <a:pt x="77" y="158"/>
                  </a:lnTo>
                  <a:lnTo>
                    <a:pt x="72" y="165"/>
                  </a:lnTo>
                  <a:lnTo>
                    <a:pt x="66" y="171"/>
                  </a:lnTo>
                  <a:lnTo>
                    <a:pt x="59" y="176"/>
                  </a:lnTo>
                  <a:lnTo>
                    <a:pt x="52" y="182"/>
                  </a:lnTo>
                  <a:lnTo>
                    <a:pt x="46" y="186"/>
                  </a:lnTo>
                  <a:lnTo>
                    <a:pt x="37" y="190"/>
                  </a:lnTo>
                  <a:lnTo>
                    <a:pt x="30" y="193"/>
                  </a:lnTo>
                  <a:lnTo>
                    <a:pt x="21" y="195"/>
                  </a:lnTo>
                  <a:lnTo>
                    <a:pt x="13" y="196"/>
                  </a:lnTo>
                  <a:lnTo>
                    <a:pt x="3" y="197"/>
                  </a:lnTo>
                  <a:lnTo>
                    <a:pt x="3" y="197"/>
                  </a:lnTo>
                  <a:lnTo>
                    <a:pt x="0" y="197"/>
                  </a:lnTo>
                  <a:lnTo>
                    <a:pt x="0" y="216"/>
                  </a:lnTo>
                  <a:lnTo>
                    <a:pt x="0" y="216"/>
                  </a:lnTo>
                  <a:lnTo>
                    <a:pt x="3" y="217"/>
                  </a:lnTo>
                  <a:lnTo>
                    <a:pt x="3" y="217"/>
                  </a:lnTo>
                  <a:lnTo>
                    <a:pt x="14" y="216"/>
                  </a:lnTo>
                  <a:lnTo>
                    <a:pt x="25" y="214"/>
                  </a:lnTo>
                  <a:lnTo>
                    <a:pt x="35" y="212"/>
                  </a:lnTo>
                  <a:lnTo>
                    <a:pt x="45" y="208"/>
                  </a:lnTo>
                  <a:lnTo>
                    <a:pt x="54" y="203"/>
                  </a:lnTo>
                  <a:lnTo>
                    <a:pt x="63" y="198"/>
                  </a:lnTo>
                  <a:lnTo>
                    <a:pt x="72" y="191"/>
                  </a:lnTo>
                  <a:lnTo>
                    <a:pt x="79" y="185"/>
                  </a:lnTo>
                  <a:lnTo>
                    <a:pt x="87" y="177"/>
                  </a:lnTo>
                  <a:lnTo>
                    <a:pt x="93" y="169"/>
                  </a:lnTo>
                  <a:lnTo>
                    <a:pt x="98" y="160"/>
                  </a:lnTo>
                  <a:lnTo>
                    <a:pt x="103" y="150"/>
                  </a:lnTo>
                  <a:lnTo>
                    <a:pt x="106" y="140"/>
                  </a:lnTo>
                  <a:lnTo>
                    <a:pt x="109" y="131"/>
                  </a:lnTo>
                  <a:lnTo>
                    <a:pt x="110" y="119"/>
                  </a:lnTo>
                  <a:lnTo>
                    <a:pt x="111" y="108"/>
                  </a:lnTo>
                  <a:lnTo>
                    <a:pt x="111" y="108"/>
                  </a:lnTo>
                  <a:lnTo>
                    <a:pt x="110" y="97"/>
                  </a:lnTo>
                  <a:lnTo>
                    <a:pt x="109" y="86"/>
                  </a:lnTo>
                  <a:lnTo>
                    <a:pt x="106" y="76"/>
                  </a:lnTo>
                  <a:lnTo>
                    <a:pt x="103" y="66"/>
                  </a:lnTo>
                  <a:lnTo>
                    <a:pt x="98" y="57"/>
                  </a:lnTo>
                  <a:lnTo>
                    <a:pt x="93" y="48"/>
                  </a:lnTo>
                  <a:lnTo>
                    <a:pt x="87" y="39"/>
                  </a:lnTo>
                  <a:lnTo>
                    <a:pt x="79" y="32"/>
                  </a:lnTo>
                  <a:lnTo>
                    <a:pt x="72" y="24"/>
                  </a:lnTo>
                  <a:lnTo>
                    <a:pt x="63" y="18"/>
                  </a:lnTo>
                  <a:lnTo>
                    <a:pt x="54" y="13"/>
                  </a:lnTo>
                  <a:lnTo>
                    <a:pt x="45" y="8"/>
                  </a:lnTo>
                  <a:lnTo>
                    <a:pt x="35" y="5"/>
                  </a:lnTo>
                  <a:lnTo>
                    <a:pt x="25" y="2"/>
                  </a:lnTo>
                  <a:lnTo>
                    <a:pt x="14" y="1"/>
                  </a:lnTo>
                  <a:lnTo>
                    <a:pt x="3" y="0"/>
                  </a:lnTo>
                  <a:lnTo>
                    <a:pt x="3" y="0"/>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29" name="Freeform 208">
              <a:extLst>
                <a:ext uri="{FF2B5EF4-FFF2-40B4-BE49-F238E27FC236}">
                  <a16:creationId xmlns:a16="http://schemas.microsoft.com/office/drawing/2014/main" id="{D80F5ED3-A790-E499-C5CC-895AF0E12679}"/>
                </a:ext>
              </a:extLst>
            </p:cNvPr>
            <p:cNvSpPr>
              <a:spLocks/>
            </p:cNvSpPr>
            <p:nvPr/>
          </p:nvSpPr>
          <p:spPr bwMode="auto">
            <a:xfrm>
              <a:off x="3762375" y="617538"/>
              <a:ext cx="276225" cy="276225"/>
            </a:xfrm>
            <a:custGeom>
              <a:avLst/>
              <a:gdLst>
                <a:gd name="T0" fmla="*/ 164 w 174"/>
                <a:gd name="T1" fmla="*/ 164 h 174"/>
                <a:gd name="T2" fmla="*/ 164 w 174"/>
                <a:gd name="T3" fmla="*/ 164 h 174"/>
                <a:gd name="T4" fmla="*/ 164 w 174"/>
                <a:gd name="T5" fmla="*/ 164 h 174"/>
                <a:gd name="T6" fmla="*/ 164 w 174"/>
                <a:gd name="T7" fmla="*/ 164 h 174"/>
                <a:gd name="T8" fmla="*/ 158 w 174"/>
                <a:gd name="T9" fmla="*/ 169 h 174"/>
                <a:gd name="T10" fmla="*/ 152 w 174"/>
                <a:gd name="T11" fmla="*/ 171 h 174"/>
                <a:gd name="T12" fmla="*/ 145 w 174"/>
                <a:gd name="T13" fmla="*/ 174 h 174"/>
                <a:gd name="T14" fmla="*/ 139 w 174"/>
                <a:gd name="T15" fmla="*/ 174 h 174"/>
                <a:gd name="T16" fmla="*/ 133 w 174"/>
                <a:gd name="T17" fmla="*/ 174 h 174"/>
                <a:gd name="T18" fmla="*/ 127 w 174"/>
                <a:gd name="T19" fmla="*/ 171 h 174"/>
                <a:gd name="T20" fmla="*/ 121 w 174"/>
                <a:gd name="T21" fmla="*/ 169 h 174"/>
                <a:gd name="T22" fmla="*/ 115 w 174"/>
                <a:gd name="T23" fmla="*/ 164 h 174"/>
                <a:gd name="T24" fmla="*/ 10 w 174"/>
                <a:gd name="T25" fmla="*/ 59 h 174"/>
                <a:gd name="T26" fmla="*/ 10 w 174"/>
                <a:gd name="T27" fmla="*/ 59 h 174"/>
                <a:gd name="T28" fmla="*/ 6 w 174"/>
                <a:gd name="T29" fmla="*/ 53 h 174"/>
                <a:gd name="T30" fmla="*/ 2 w 174"/>
                <a:gd name="T31" fmla="*/ 48 h 174"/>
                <a:gd name="T32" fmla="*/ 1 w 174"/>
                <a:gd name="T33" fmla="*/ 40 h 174"/>
                <a:gd name="T34" fmla="*/ 0 w 174"/>
                <a:gd name="T35" fmla="*/ 34 h 174"/>
                <a:gd name="T36" fmla="*/ 1 w 174"/>
                <a:gd name="T37" fmla="*/ 28 h 174"/>
                <a:gd name="T38" fmla="*/ 2 w 174"/>
                <a:gd name="T39" fmla="*/ 22 h 174"/>
                <a:gd name="T40" fmla="*/ 6 w 174"/>
                <a:gd name="T41" fmla="*/ 16 h 174"/>
                <a:gd name="T42" fmla="*/ 10 w 174"/>
                <a:gd name="T43" fmla="*/ 9 h 174"/>
                <a:gd name="T44" fmla="*/ 10 w 174"/>
                <a:gd name="T45" fmla="*/ 9 h 174"/>
                <a:gd name="T46" fmla="*/ 10 w 174"/>
                <a:gd name="T47" fmla="*/ 9 h 174"/>
                <a:gd name="T48" fmla="*/ 10 w 174"/>
                <a:gd name="T49" fmla="*/ 9 h 174"/>
                <a:gd name="T50" fmla="*/ 16 w 174"/>
                <a:gd name="T51" fmla="*/ 6 h 174"/>
                <a:gd name="T52" fmla="*/ 22 w 174"/>
                <a:gd name="T53" fmla="*/ 2 h 174"/>
                <a:gd name="T54" fmla="*/ 28 w 174"/>
                <a:gd name="T55" fmla="*/ 1 h 174"/>
                <a:gd name="T56" fmla="*/ 34 w 174"/>
                <a:gd name="T57" fmla="*/ 0 h 174"/>
                <a:gd name="T58" fmla="*/ 42 w 174"/>
                <a:gd name="T59" fmla="*/ 1 h 174"/>
                <a:gd name="T60" fmla="*/ 48 w 174"/>
                <a:gd name="T61" fmla="*/ 2 h 174"/>
                <a:gd name="T62" fmla="*/ 53 w 174"/>
                <a:gd name="T63" fmla="*/ 6 h 174"/>
                <a:gd name="T64" fmla="*/ 59 w 174"/>
                <a:gd name="T65" fmla="*/ 11 h 174"/>
                <a:gd name="T66" fmla="*/ 164 w 174"/>
                <a:gd name="T67" fmla="*/ 116 h 174"/>
                <a:gd name="T68" fmla="*/ 164 w 174"/>
                <a:gd name="T69" fmla="*/ 116 h 174"/>
                <a:gd name="T70" fmla="*/ 168 w 174"/>
                <a:gd name="T71" fmla="*/ 120 h 174"/>
                <a:gd name="T72" fmla="*/ 171 w 174"/>
                <a:gd name="T73" fmla="*/ 127 h 174"/>
                <a:gd name="T74" fmla="*/ 173 w 174"/>
                <a:gd name="T75" fmla="*/ 133 h 174"/>
                <a:gd name="T76" fmla="*/ 174 w 174"/>
                <a:gd name="T77" fmla="*/ 140 h 174"/>
                <a:gd name="T78" fmla="*/ 173 w 174"/>
                <a:gd name="T79" fmla="*/ 146 h 174"/>
                <a:gd name="T80" fmla="*/ 171 w 174"/>
                <a:gd name="T81" fmla="*/ 153 h 174"/>
                <a:gd name="T82" fmla="*/ 168 w 174"/>
                <a:gd name="T83" fmla="*/ 159 h 174"/>
                <a:gd name="T84" fmla="*/ 164 w 174"/>
                <a:gd name="T85" fmla="*/ 164 h 174"/>
                <a:gd name="T86" fmla="*/ 164 w 174"/>
                <a:gd name="T87" fmla="*/ 16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4" h="174">
                  <a:moveTo>
                    <a:pt x="164" y="164"/>
                  </a:moveTo>
                  <a:lnTo>
                    <a:pt x="164" y="164"/>
                  </a:lnTo>
                  <a:lnTo>
                    <a:pt x="164" y="164"/>
                  </a:lnTo>
                  <a:lnTo>
                    <a:pt x="164" y="164"/>
                  </a:lnTo>
                  <a:lnTo>
                    <a:pt x="158" y="169"/>
                  </a:lnTo>
                  <a:lnTo>
                    <a:pt x="152" y="171"/>
                  </a:lnTo>
                  <a:lnTo>
                    <a:pt x="145" y="174"/>
                  </a:lnTo>
                  <a:lnTo>
                    <a:pt x="139" y="174"/>
                  </a:lnTo>
                  <a:lnTo>
                    <a:pt x="133" y="174"/>
                  </a:lnTo>
                  <a:lnTo>
                    <a:pt x="127" y="171"/>
                  </a:lnTo>
                  <a:lnTo>
                    <a:pt x="121" y="169"/>
                  </a:lnTo>
                  <a:lnTo>
                    <a:pt x="115" y="164"/>
                  </a:lnTo>
                  <a:lnTo>
                    <a:pt x="10" y="59"/>
                  </a:lnTo>
                  <a:lnTo>
                    <a:pt x="10" y="59"/>
                  </a:lnTo>
                  <a:lnTo>
                    <a:pt x="6" y="53"/>
                  </a:lnTo>
                  <a:lnTo>
                    <a:pt x="2" y="48"/>
                  </a:lnTo>
                  <a:lnTo>
                    <a:pt x="1" y="40"/>
                  </a:lnTo>
                  <a:lnTo>
                    <a:pt x="0" y="34"/>
                  </a:lnTo>
                  <a:lnTo>
                    <a:pt x="1" y="28"/>
                  </a:lnTo>
                  <a:lnTo>
                    <a:pt x="2" y="22"/>
                  </a:lnTo>
                  <a:lnTo>
                    <a:pt x="6" y="16"/>
                  </a:lnTo>
                  <a:lnTo>
                    <a:pt x="10" y="9"/>
                  </a:lnTo>
                  <a:lnTo>
                    <a:pt x="10" y="9"/>
                  </a:lnTo>
                  <a:lnTo>
                    <a:pt x="10" y="9"/>
                  </a:lnTo>
                  <a:lnTo>
                    <a:pt x="10" y="9"/>
                  </a:lnTo>
                  <a:lnTo>
                    <a:pt x="16" y="6"/>
                  </a:lnTo>
                  <a:lnTo>
                    <a:pt x="22" y="2"/>
                  </a:lnTo>
                  <a:lnTo>
                    <a:pt x="28" y="1"/>
                  </a:lnTo>
                  <a:lnTo>
                    <a:pt x="34" y="0"/>
                  </a:lnTo>
                  <a:lnTo>
                    <a:pt x="42" y="1"/>
                  </a:lnTo>
                  <a:lnTo>
                    <a:pt x="48" y="2"/>
                  </a:lnTo>
                  <a:lnTo>
                    <a:pt x="53" y="6"/>
                  </a:lnTo>
                  <a:lnTo>
                    <a:pt x="59" y="11"/>
                  </a:lnTo>
                  <a:lnTo>
                    <a:pt x="164" y="116"/>
                  </a:lnTo>
                  <a:lnTo>
                    <a:pt x="164" y="116"/>
                  </a:lnTo>
                  <a:lnTo>
                    <a:pt x="168" y="120"/>
                  </a:lnTo>
                  <a:lnTo>
                    <a:pt x="171" y="127"/>
                  </a:lnTo>
                  <a:lnTo>
                    <a:pt x="173" y="133"/>
                  </a:lnTo>
                  <a:lnTo>
                    <a:pt x="174" y="140"/>
                  </a:lnTo>
                  <a:lnTo>
                    <a:pt x="173" y="146"/>
                  </a:lnTo>
                  <a:lnTo>
                    <a:pt x="171" y="153"/>
                  </a:lnTo>
                  <a:lnTo>
                    <a:pt x="168" y="159"/>
                  </a:lnTo>
                  <a:lnTo>
                    <a:pt x="164" y="164"/>
                  </a:lnTo>
                  <a:lnTo>
                    <a:pt x="164" y="164"/>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0" name="Freeform 209">
              <a:extLst>
                <a:ext uri="{FF2B5EF4-FFF2-40B4-BE49-F238E27FC236}">
                  <a16:creationId xmlns:a16="http://schemas.microsoft.com/office/drawing/2014/main" id="{201FEAEA-E7F7-39AB-B8A1-DA29799AF855}"/>
                </a:ext>
              </a:extLst>
            </p:cNvPr>
            <p:cNvSpPr>
              <a:spLocks/>
            </p:cNvSpPr>
            <p:nvPr/>
          </p:nvSpPr>
          <p:spPr bwMode="auto">
            <a:xfrm>
              <a:off x="3795713" y="673100"/>
              <a:ext cx="209550" cy="209550"/>
            </a:xfrm>
            <a:custGeom>
              <a:avLst/>
              <a:gdLst>
                <a:gd name="T0" fmla="*/ 128 w 132"/>
                <a:gd name="T1" fmla="*/ 129 h 132"/>
                <a:gd name="T2" fmla="*/ 128 w 132"/>
                <a:gd name="T3" fmla="*/ 129 h 132"/>
                <a:gd name="T4" fmla="*/ 123 w 132"/>
                <a:gd name="T5" fmla="*/ 131 h 132"/>
                <a:gd name="T6" fmla="*/ 118 w 132"/>
                <a:gd name="T7" fmla="*/ 132 h 132"/>
                <a:gd name="T8" fmla="*/ 113 w 132"/>
                <a:gd name="T9" fmla="*/ 131 h 132"/>
                <a:gd name="T10" fmla="*/ 108 w 132"/>
                <a:gd name="T11" fmla="*/ 129 h 132"/>
                <a:gd name="T12" fmla="*/ 4 w 132"/>
                <a:gd name="T13" fmla="*/ 23 h 132"/>
                <a:gd name="T14" fmla="*/ 4 w 132"/>
                <a:gd name="T15" fmla="*/ 23 h 132"/>
                <a:gd name="T16" fmla="*/ 1 w 132"/>
                <a:gd name="T17" fmla="*/ 19 h 132"/>
                <a:gd name="T18" fmla="*/ 0 w 132"/>
                <a:gd name="T19" fmla="*/ 14 h 132"/>
                <a:gd name="T20" fmla="*/ 1 w 132"/>
                <a:gd name="T21" fmla="*/ 9 h 132"/>
                <a:gd name="T22" fmla="*/ 4 w 132"/>
                <a:gd name="T23" fmla="*/ 4 h 132"/>
                <a:gd name="T24" fmla="*/ 4 w 132"/>
                <a:gd name="T25" fmla="*/ 4 h 132"/>
                <a:gd name="T26" fmla="*/ 8 w 132"/>
                <a:gd name="T27" fmla="*/ 2 h 132"/>
                <a:gd name="T28" fmla="*/ 13 w 132"/>
                <a:gd name="T29" fmla="*/ 0 h 132"/>
                <a:gd name="T30" fmla="*/ 18 w 132"/>
                <a:gd name="T31" fmla="*/ 2 h 132"/>
                <a:gd name="T32" fmla="*/ 23 w 132"/>
                <a:gd name="T33" fmla="*/ 4 h 132"/>
                <a:gd name="T34" fmla="*/ 128 w 132"/>
                <a:gd name="T35" fmla="*/ 109 h 132"/>
                <a:gd name="T36" fmla="*/ 128 w 132"/>
                <a:gd name="T37" fmla="*/ 109 h 132"/>
                <a:gd name="T38" fmla="*/ 131 w 132"/>
                <a:gd name="T39" fmla="*/ 114 h 132"/>
                <a:gd name="T40" fmla="*/ 132 w 132"/>
                <a:gd name="T41" fmla="*/ 119 h 132"/>
                <a:gd name="T42" fmla="*/ 131 w 132"/>
                <a:gd name="T43" fmla="*/ 124 h 132"/>
                <a:gd name="T44" fmla="*/ 128 w 132"/>
                <a:gd name="T45" fmla="*/ 129 h 132"/>
                <a:gd name="T46" fmla="*/ 128 w 132"/>
                <a:gd name="T47"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32">
                  <a:moveTo>
                    <a:pt x="128" y="129"/>
                  </a:moveTo>
                  <a:lnTo>
                    <a:pt x="128" y="129"/>
                  </a:lnTo>
                  <a:lnTo>
                    <a:pt x="123" y="131"/>
                  </a:lnTo>
                  <a:lnTo>
                    <a:pt x="118" y="132"/>
                  </a:lnTo>
                  <a:lnTo>
                    <a:pt x="113" y="131"/>
                  </a:lnTo>
                  <a:lnTo>
                    <a:pt x="108" y="129"/>
                  </a:lnTo>
                  <a:lnTo>
                    <a:pt x="4" y="23"/>
                  </a:lnTo>
                  <a:lnTo>
                    <a:pt x="4" y="23"/>
                  </a:lnTo>
                  <a:lnTo>
                    <a:pt x="1" y="19"/>
                  </a:lnTo>
                  <a:lnTo>
                    <a:pt x="0" y="14"/>
                  </a:lnTo>
                  <a:lnTo>
                    <a:pt x="1" y="9"/>
                  </a:lnTo>
                  <a:lnTo>
                    <a:pt x="4" y="4"/>
                  </a:lnTo>
                  <a:lnTo>
                    <a:pt x="4" y="4"/>
                  </a:lnTo>
                  <a:lnTo>
                    <a:pt x="8" y="2"/>
                  </a:lnTo>
                  <a:lnTo>
                    <a:pt x="13" y="0"/>
                  </a:lnTo>
                  <a:lnTo>
                    <a:pt x="18" y="2"/>
                  </a:lnTo>
                  <a:lnTo>
                    <a:pt x="23" y="4"/>
                  </a:lnTo>
                  <a:lnTo>
                    <a:pt x="128" y="109"/>
                  </a:lnTo>
                  <a:lnTo>
                    <a:pt x="128" y="109"/>
                  </a:lnTo>
                  <a:lnTo>
                    <a:pt x="131" y="114"/>
                  </a:lnTo>
                  <a:lnTo>
                    <a:pt x="132" y="119"/>
                  </a:lnTo>
                  <a:lnTo>
                    <a:pt x="131" y="124"/>
                  </a:lnTo>
                  <a:lnTo>
                    <a:pt x="128" y="129"/>
                  </a:lnTo>
                  <a:lnTo>
                    <a:pt x="128" y="129"/>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1" name="Freeform 210">
              <a:extLst>
                <a:ext uri="{FF2B5EF4-FFF2-40B4-BE49-F238E27FC236}">
                  <a16:creationId xmlns:a16="http://schemas.microsoft.com/office/drawing/2014/main" id="{9E71D326-E7B4-40BE-2BE3-B10B2DB4333B}"/>
                </a:ext>
              </a:extLst>
            </p:cNvPr>
            <p:cNvSpPr>
              <a:spLocks/>
            </p:cNvSpPr>
            <p:nvPr/>
          </p:nvSpPr>
          <p:spPr bwMode="auto">
            <a:xfrm>
              <a:off x="3392488" y="244475"/>
              <a:ext cx="427038" cy="427038"/>
            </a:xfrm>
            <a:custGeom>
              <a:avLst/>
              <a:gdLst>
                <a:gd name="T0" fmla="*/ 39 w 269"/>
                <a:gd name="T1" fmla="*/ 40 h 269"/>
                <a:gd name="T2" fmla="*/ 39 w 269"/>
                <a:gd name="T3" fmla="*/ 40 h 269"/>
                <a:gd name="T4" fmla="*/ 59 w 269"/>
                <a:gd name="T5" fmla="*/ 24 h 269"/>
                <a:gd name="T6" fmla="*/ 82 w 269"/>
                <a:gd name="T7" fmla="*/ 11 h 269"/>
                <a:gd name="T8" fmla="*/ 107 w 269"/>
                <a:gd name="T9" fmla="*/ 4 h 269"/>
                <a:gd name="T10" fmla="*/ 134 w 269"/>
                <a:gd name="T11" fmla="*/ 0 h 269"/>
                <a:gd name="T12" fmla="*/ 148 w 269"/>
                <a:gd name="T13" fmla="*/ 1 h 269"/>
                <a:gd name="T14" fmla="*/ 174 w 269"/>
                <a:gd name="T15" fmla="*/ 6 h 269"/>
                <a:gd name="T16" fmla="*/ 198 w 269"/>
                <a:gd name="T17" fmla="*/ 17 h 269"/>
                <a:gd name="T18" fmla="*/ 219 w 269"/>
                <a:gd name="T19" fmla="*/ 31 h 269"/>
                <a:gd name="T20" fmla="*/ 238 w 269"/>
                <a:gd name="T21" fmla="*/ 50 h 269"/>
                <a:gd name="T22" fmla="*/ 251 w 269"/>
                <a:gd name="T23" fmla="*/ 72 h 269"/>
                <a:gd name="T24" fmla="*/ 262 w 269"/>
                <a:gd name="T25" fmla="*/ 95 h 269"/>
                <a:gd name="T26" fmla="*/ 267 w 269"/>
                <a:gd name="T27" fmla="*/ 121 h 269"/>
                <a:gd name="T28" fmla="*/ 269 w 269"/>
                <a:gd name="T29" fmla="*/ 136 h 269"/>
                <a:gd name="T30" fmla="*/ 265 w 269"/>
                <a:gd name="T31" fmla="*/ 162 h 269"/>
                <a:gd name="T32" fmla="*/ 258 w 269"/>
                <a:gd name="T33" fmla="*/ 186 h 269"/>
                <a:gd name="T34" fmla="*/ 245 w 269"/>
                <a:gd name="T35" fmla="*/ 210 h 269"/>
                <a:gd name="T36" fmla="*/ 229 w 269"/>
                <a:gd name="T37" fmla="*/ 230 h 269"/>
                <a:gd name="T38" fmla="*/ 219 w 269"/>
                <a:gd name="T39" fmla="*/ 240 h 269"/>
                <a:gd name="T40" fmla="*/ 197 w 269"/>
                <a:gd name="T41" fmla="*/ 253 h 269"/>
                <a:gd name="T42" fmla="*/ 172 w 269"/>
                <a:gd name="T43" fmla="*/ 264 h 269"/>
                <a:gd name="T44" fmla="*/ 147 w 269"/>
                <a:gd name="T45" fmla="*/ 269 h 269"/>
                <a:gd name="T46" fmla="*/ 133 w 269"/>
                <a:gd name="T47" fmla="*/ 269 h 269"/>
                <a:gd name="T48" fmla="*/ 107 w 269"/>
                <a:gd name="T49" fmla="*/ 267 h 269"/>
                <a:gd name="T50" fmla="*/ 82 w 269"/>
                <a:gd name="T51" fmla="*/ 259 h 269"/>
                <a:gd name="T52" fmla="*/ 59 w 269"/>
                <a:gd name="T53" fmla="*/ 247 h 269"/>
                <a:gd name="T54" fmla="*/ 39 w 269"/>
                <a:gd name="T55" fmla="*/ 230 h 269"/>
                <a:gd name="T56" fmla="*/ 29 w 269"/>
                <a:gd name="T57" fmla="*/ 220 h 269"/>
                <a:gd name="T58" fmla="*/ 15 w 269"/>
                <a:gd name="T59" fmla="*/ 198 h 269"/>
                <a:gd name="T60" fmla="*/ 5 w 269"/>
                <a:gd name="T61" fmla="*/ 174 h 269"/>
                <a:gd name="T62" fmla="*/ 0 w 269"/>
                <a:gd name="T63" fmla="*/ 148 h 269"/>
                <a:gd name="T64" fmla="*/ 0 w 269"/>
                <a:gd name="T65" fmla="*/ 135 h 269"/>
                <a:gd name="T66" fmla="*/ 2 w 269"/>
                <a:gd name="T67" fmla="*/ 109 h 269"/>
                <a:gd name="T68" fmla="*/ 10 w 269"/>
                <a:gd name="T69" fmla="*/ 84 h 269"/>
                <a:gd name="T70" fmla="*/ 22 w 269"/>
                <a:gd name="T71" fmla="*/ 61 h 269"/>
                <a:gd name="T72" fmla="*/ 39 w 269"/>
                <a:gd name="T73" fmla="*/ 4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9" h="269">
                  <a:moveTo>
                    <a:pt x="39" y="40"/>
                  </a:moveTo>
                  <a:lnTo>
                    <a:pt x="39" y="40"/>
                  </a:lnTo>
                  <a:lnTo>
                    <a:pt x="39" y="40"/>
                  </a:lnTo>
                  <a:lnTo>
                    <a:pt x="39" y="40"/>
                  </a:lnTo>
                  <a:lnTo>
                    <a:pt x="49" y="31"/>
                  </a:lnTo>
                  <a:lnTo>
                    <a:pt x="59" y="24"/>
                  </a:lnTo>
                  <a:lnTo>
                    <a:pt x="70" y="16"/>
                  </a:lnTo>
                  <a:lnTo>
                    <a:pt x="82" y="11"/>
                  </a:lnTo>
                  <a:lnTo>
                    <a:pt x="95" y="6"/>
                  </a:lnTo>
                  <a:lnTo>
                    <a:pt x="107" y="4"/>
                  </a:lnTo>
                  <a:lnTo>
                    <a:pt x="121" y="1"/>
                  </a:lnTo>
                  <a:lnTo>
                    <a:pt x="134" y="0"/>
                  </a:lnTo>
                  <a:lnTo>
                    <a:pt x="134" y="0"/>
                  </a:lnTo>
                  <a:lnTo>
                    <a:pt x="148" y="1"/>
                  </a:lnTo>
                  <a:lnTo>
                    <a:pt x="161" y="4"/>
                  </a:lnTo>
                  <a:lnTo>
                    <a:pt x="174" y="6"/>
                  </a:lnTo>
                  <a:lnTo>
                    <a:pt x="186" y="11"/>
                  </a:lnTo>
                  <a:lnTo>
                    <a:pt x="198" y="17"/>
                  </a:lnTo>
                  <a:lnTo>
                    <a:pt x="209" y="24"/>
                  </a:lnTo>
                  <a:lnTo>
                    <a:pt x="219" y="31"/>
                  </a:lnTo>
                  <a:lnTo>
                    <a:pt x="229" y="40"/>
                  </a:lnTo>
                  <a:lnTo>
                    <a:pt x="238" y="50"/>
                  </a:lnTo>
                  <a:lnTo>
                    <a:pt x="245" y="61"/>
                  </a:lnTo>
                  <a:lnTo>
                    <a:pt x="251" y="72"/>
                  </a:lnTo>
                  <a:lnTo>
                    <a:pt x="258" y="83"/>
                  </a:lnTo>
                  <a:lnTo>
                    <a:pt x="262" y="95"/>
                  </a:lnTo>
                  <a:lnTo>
                    <a:pt x="265" y="109"/>
                  </a:lnTo>
                  <a:lnTo>
                    <a:pt x="267" y="121"/>
                  </a:lnTo>
                  <a:lnTo>
                    <a:pt x="269" y="136"/>
                  </a:lnTo>
                  <a:lnTo>
                    <a:pt x="269" y="136"/>
                  </a:lnTo>
                  <a:lnTo>
                    <a:pt x="267" y="148"/>
                  </a:lnTo>
                  <a:lnTo>
                    <a:pt x="265" y="162"/>
                  </a:lnTo>
                  <a:lnTo>
                    <a:pt x="262" y="174"/>
                  </a:lnTo>
                  <a:lnTo>
                    <a:pt x="258" y="186"/>
                  </a:lnTo>
                  <a:lnTo>
                    <a:pt x="253" y="199"/>
                  </a:lnTo>
                  <a:lnTo>
                    <a:pt x="245" y="210"/>
                  </a:lnTo>
                  <a:lnTo>
                    <a:pt x="238" y="220"/>
                  </a:lnTo>
                  <a:lnTo>
                    <a:pt x="229" y="230"/>
                  </a:lnTo>
                  <a:lnTo>
                    <a:pt x="229" y="230"/>
                  </a:lnTo>
                  <a:lnTo>
                    <a:pt x="219" y="240"/>
                  </a:lnTo>
                  <a:lnTo>
                    <a:pt x="208" y="247"/>
                  </a:lnTo>
                  <a:lnTo>
                    <a:pt x="197" y="253"/>
                  </a:lnTo>
                  <a:lnTo>
                    <a:pt x="185" y="259"/>
                  </a:lnTo>
                  <a:lnTo>
                    <a:pt x="172" y="264"/>
                  </a:lnTo>
                  <a:lnTo>
                    <a:pt x="160" y="267"/>
                  </a:lnTo>
                  <a:lnTo>
                    <a:pt x="147" y="269"/>
                  </a:lnTo>
                  <a:lnTo>
                    <a:pt x="133" y="269"/>
                  </a:lnTo>
                  <a:lnTo>
                    <a:pt x="133" y="269"/>
                  </a:lnTo>
                  <a:lnTo>
                    <a:pt x="121" y="269"/>
                  </a:lnTo>
                  <a:lnTo>
                    <a:pt x="107" y="267"/>
                  </a:lnTo>
                  <a:lnTo>
                    <a:pt x="95" y="263"/>
                  </a:lnTo>
                  <a:lnTo>
                    <a:pt x="82" y="259"/>
                  </a:lnTo>
                  <a:lnTo>
                    <a:pt x="70" y="253"/>
                  </a:lnTo>
                  <a:lnTo>
                    <a:pt x="59" y="247"/>
                  </a:lnTo>
                  <a:lnTo>
                    <a:pt x="49" y="238"/>
                  </a:lnTo>
                  <a:lnTo>
                    <a:pt x="39" y="230"/>
                  </a:lnTo>
                  <a:lnTo>
                    <a:pt x="39" y="230"/>
                  </a:lnTo>
                  <a:lnTo>
                    <a:pt x="29" y="220"/>
                  </a:lnTo>
                  <a:lnTo>
                    <a:pt x="22" y="209"/>
                  </a:lnTo>
                  <a:lnTo>
                    <a:pt x="15" y="198"/>
                  </a:lnTo>
                  <a:lnTo>
                    <a:pt x="10" y="186"/>
                  </a:lnTo>
                  <a:lnTo>
                    <a:pt x="5" y="174"/>
                  </a:lnTo>
                  <a:lnTo>
                    <a:pt x="2" y="162"/>
                  </a:lnTo>
                  <a:lnTo>
                    <a:pt x="0" y="148"/>
                  </a:lnTo>
                  <a:lnTo>
                    <a:pt x="0" y="135"/>
                  </a:lnTo>
                  <a:lnTo>
                    <a:pt x="0" y="135"/>
                  </a:lnTo>
                  <a:lnTo>
                    <a:pt x="0" y="121"/>
                  </a:lnTo>
                  <a:lnTo>
                    <a:pt x="2" y="109"/>
                  </a:lnTo>
                  <a:lnTo>
                    <a:pt x="5" y="96"/>
                  </a:lnTo>
                  <a:lnTo>
                    <a:pt x="10" y="84"/>
                  </a:lnTo>
                  <a:lnTo>
                    <a:pt x="16" y="72"/>
                  </a:lnTo>
                  <a:lnTo>
                    <a:pt x="22" y="61"/>
                  </a:lnTo>
                  <a:lnTo>
                    <a:pt x="29" y="50"/>
                  </a:lnTo>
                  <a:lnTo>
                    <a:pt x="39" y="40"/>
                  </a:lnTo>
                  <a:lnTo>
                    <a:pt x="39" y="40"/>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2" name="Freeform 211">
              <a:extLst>
                <a:ext uri="{FF2B5EF4-FFF2-40B4-BE49-F238E27FC236}">
                  <a16:creationId xmlns:a16="http://schemas.microsoft.com/office/drawing/2014/main" id="{E270B150-EC55-2288-26A7-06C86D54F4F6}"/>
                </a:ext>
              </a:extLst>
            </p:cNvPr>
            <p:cNvSpPr>
              <a:spLocks/>
            </p:cNvSpPr>
            <p:nvPr/>
          </p:nvSpPr>
          <p:spPr bwMode="auto">
            <a:xfrm>
              <a:off x="3446463" y="300038"/>
              <a:ext cx="317500" cy="317500"/>
            </a:xfrm>
            <a:custGeom>
              <a:avLst/>
              <a:gdLst>
                <a:gd name="T0" fmla="*/ 29 w 200"/>
                <a:gd name="T1" fmla="*/ 29 h 200"/>
                <a:gd name="T2" fmla="*/ 16 w 200"/>
                <a:gd name="T3" fmla="*/ 44 h 200"/>
                <a:gd name="T4" fmla="*/ 8 w 200"/>
                <a:gd name="T5" fmla="*/ 61 h 200"/>
                <a:gd name="T6" fmla="*/ 2 w 200"/>
                <a:gd name="T7" fmla="*/ 80 h 200"/>
                <a:gd name="T8" fmla="*/ 0 w 200"/>
                <a:gd name="T9" fmla="*/ 100 h 200"/>
                <a:gd name="T10" fmla="*/ 0 w 200"/>
                <a:gd name="T11" fmla="*/ 110 h 200"/>
                <a:gd name="T12" fmla="*/ 4 w 200"/>
                <a:gd name="T13" fmla="*/ 129 h 200"/>
                <a:gd name="T14" fmla="*/ 11 w 200"/>
                <a:gd name="T15" fmla="*/ 148 h 200"/>
                <a:gd name="T16" fmla="*/ 22 w 200"/>
                <a:gd name="T17" fmla="*/ 164 h 200"/>
                <a:gd name="T18" fmla="*/ 36 w 200"/>
                <a:gd name="T19" fmla="*/ 177 h 200"/>
                <a:gd name="T20" fmla="*/ 52 w 200"/>
                <a:gd name="T21" fmla="*/ 187 h 200"/>
                <a:gd name="T22" fmla="*/ 69 w 200"/>
                <a:gd name="T23" fmla="*/ 196 h 200"/>
                <a:gd name="T24" fmla="*/ 89 w 200"/>
                <a:gd name="T25" fmla="*/ 200 h 200"/>
                <a:gd name="T26" fmla="*/ 99 w 200"/>
                <a:gd name="T27" fmla="*/ 200 h 200"/>
                <a:gd name="T28" fmla="*/ 119 w 200"/>
                <a:gd name="T29" fmla="*/ 198 h 200"/>
                <a:gd name="T30" fmla="*/ 138 w 200"/>
                <a:gd name="T31" fmla="*/ 192 h 200"/>
                <a:gd name="T32" fmla="*/ 156 w 200"/>
                <a:gd name="T33" fmla="*/ 184 h 200"/>
                <a:gd name="T34" fmla="*/ 170 w 200"/>
                <a:gd name="T35" fmla="*/ 171 h 200"/>
                <a:gd name="T36" fmla="*/ 170 w 200"/>
                <a:gd name="T37" fmla="*/ 171 h 200"/>
                <a:gd name="T38" fmla="*/ 183 w 200"/>
                <a:gd name="T39" fmla="*/ 155 h 200"/>
                <a:gd name="T40" fmla="*/ 193 w 200"/>
                <a:gd name="T41" fmla="*/ 138 h 200"/>
                <a:gd name="T42" fmla="*/ 198 w 200"/>
                <a:gd name="T43" fmla="*/ 119 h 200"/>
                <a:gd name="T44" fmla="*/ 200 w 200"/>
                <a:gd name="T45" fmla="*/ 100 h 200"/>
                <a:gd name="T46" fmla="*/ 199 w 200"/>
                <a:gd name="T47" fmla="*/ 90 h 200"/>
                <a:gd name="T48" fmla="*/ 195 w 200"/>
                <a:gd name="T49" fmla="*/ 71 h 200"/>
                <a:gd name="T50" fmla="*/ 188 w 200"/>
                <a:gd name="T51" fmla="*/ 53 h 200"/>
                <a:gd name="T52" fmla="*/ 177 w 200"/>
                <a:gd name="T53" fmla="*/ 37 h 200"/>
                <a:gd name="T54" fmla="*/ 170 w 200"/>
                <a:gd name="T55" fmla="*/ 29 h 200"/>
                <a:gd name="T56" fmla="*/ 156 w 200"/>
                <a:gd name="T57" fmla="*/ 17 h 200"/>
                <a:gd name="T58" fmla="*/ 138 w 200"/>
                <a:gd name="T59" fmla="*/ 7 h 200"/>
                <a:gd name="T60" fmla="*/ 120 w 200"/>
                <a:gd name="T61" fmla="*/ 2 h 200"/>
                <a:gd name="T62" fmla="*/ 100 w 200"/>
                <a:gd name="T63" fmla="*/ 0 h 200"/>
                <a:gd name="T64" fmla="*/ 90 w 200"/>
                <a:gd name="T65" fmla="*/ 1 h 200"/>
                <a:gd name="T66" fmla="*/ 71 w 200"/>
                <a:gd name="T67" fmla="*/ 5 h 200"/>
                <a:gd name="T68" fmla="*/ 53 w 200"/>
                <a:gd name="T69" fmla="*/ 12 h 200"/>
                <a:gd name="T70" fmla="*/ 36 w 200"/>
                <a:gd name="T71" fmla="*/ 23 h 200"/>
                <a:gd name="T72" fmla="*/ 29 w 200"/>
                <a:gd name="T73" fmla="*/ 2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200">
                  <a:moveTo>
                    <a:pt x="29" y="29"/>
                  </a:moveTo>
                  <a:lnTo>
                    <a:pt x="29" y="29"/>
                  </a:lnTo>
                  <a:lnTo>
                    <a:pt x="22" y="37"/>
                  </a:lnTo>
                  <a:lnTo>
                    <a:pt x="16" y="44"/>
                  </a:lnTo>
                  <a:lnTo>
                    <a:pt x="11" y="53"/>
                  </a:lnTo>
                  <a:lnTo>
                    <a:pt x="8" y="61"/>
                  </a:lnTo>
                  <a:lnTo>
                    <a:pt x="4" y="71"/>
                  </a:lnTo>
                  <a:lnTo>
                    <a:pt x="2" y="80"/>
                  </a:lnTo>
                  <a:lnTo>
                    <a:pt x="0" y="90"/>
                  </a:lnTo>
                  <a:lnTo>
                    <a:pt x="0" y="100"/>
                  </a:lnTo>
                  <a:lnTo>
                    <a:pt x="0" y="100"/>
                  </a:lnTo>
                  <a:lnTo>
                    <a:pt x="0" y="110"/>
                  </a:lnTo>
                  <a:lnTo>
                    <a:pt x="2" y="119"/>
                  </a:lnTo>
                  <a:lnTo>
                    <a:pt x="4" y="129"/>
                  </a:lnTo>
                  <a:lnTo>
                    <a:pt x="8" y="139"/>
                  </a:lnTo>
                  <a:lnTo>
                    <a:pt x="11" y="148"/>
                  </a:lnTo>
                  <a:lnTo>
                    <a:pt x="16" y="155"/>
                  </a:lnTo>
                  <a:lnTo>
                    <a:pt x="22" y="164"/>
                  </a:lnTo>
                  <a:lnTo>
                    <a:pt x="29" y="170"/>
                  </a:lnTo>
                  <a:lnTo>
                    <a:pt x="36" y="177"/>
                  </a:lnTo>
                  <a:lnTo>
                    <a:pt x="43" y="182"/>
                  </a:lnTo>
                  <a:lnTo>
                    <a:pt x="52" y="187"/>
                  </a:lnTo>
                  <a:lnTo>
                    <a:pt x="61" y="192"/>
                  </a:lnTo>
                  <a:lnTo>
                    <a:pt x="69" y="196"/>
                  </a:lnTo>
                  <a:lnTo>
                    <a:pt x="79" y="198"/>
                  </a:lnTo>
                  <a:lnTo>
                    <a:pt x="89" y="200"/>
                  </a:lnTo>
                  <a:lnTo>
                    <a:pt x="99" y="200"/>
                  </a:lnTo>
                  <a:lnTo>
                    <a:pt x="99" y="200"/>
                  </a:lnTo>
                  <a:lnTo>
                    <a:pt x="110" y="200"/>
                  </a:lnTo>
                  <a:lnTo>
                    <a:pt x="119" y="198"/>
                  </a:lnTo>
                  <a:lnTo>
                    <a:pt x="129" y="196"/>
                  </a:lnTo>
                  <a:lnTo>
                    <a:pt x="138" y="192"/>
                  </a:lnTo>
                  <a:lnTo>
                    <a:pt x="147" y="188"/>
                  </a:lnTo>
                  <a:lnTo>
                    <a:pt x="156" y="184"/>
                  </a:lnTo>
                  <a:lnTo>
                    <a:pt x="163" y="177"/>
                  </a:lnTo>
                  <a:lnTo>
                    <a:pt x="170" y="171"/>
                  </a:lnTo>
                  <a:lnTo>
                    <a:pt x="170" y="171"/>
                  </a:lnTo>
                  <a:lnTo>
                    <a:pt x="170" y="171"/>
                  </a:lnTo>
                  <a:lnTo>
                    <a:pt x="177" y="164"/>
                  </a:lnTo>
                  <a:lnTo>
                    <a:pt x="183" y="155"/>
                  </a:lnTo>
                  <a:lnTo>
                    <a:pt x="188" y="147"/>
                  </a:lnTo>
                  <a:lnTo>
                    <a:pt x="193" y="138"/>
                  </a:lnTo>
                  <a:lnTo>
                    <a:pt x="195" y="129"/>
                  </a:lnTo>
                  <a:lnTo>
                    <a:pt x="198" y="119"/>
                  </a:lnTo>
                  <a:lnTo>
                    <a:pt x="199" y="110"/>
                  </a:lnTo>
                  <a:lnTo>
                    <a:pt x="200" y="100"/>
                  </a:lnTo>
                  <a:lnTo>
                    <a:pt x="200" y="100"/>
                  </a:lnTo>
                  <a:lnTo>
                    <a:pt x="199" y="90"/>
                  </a:lnTo>
                  <a:lnTo>
                    <a:pt x="198" y="81"/>
                  </a:lnTo>
                  <a:lnTo>
                    <a:pt x="195" y="71"/>
                  </a:lnTo>
                  <a:lnTo>
                    <a:pt x="193" y="61"/>
                  </a:lnTo>
                  <a:lnTo>
                    <a:pt x="188" y="53"/>
                  </a:lnTo>
                  <a:lnTo>
                    <a:pt x="183" y="45"/>
                  </a:lnTo>
                  <a:lnTo>
                    <a:pt x="177" y="37"/>
                  </a:lnTo>
                  <a:lnTo>
                    <a:pt x="170" y="29"/>
                  </a:lnTo>
                  <a:lnTo>
                    <a:pt x="170" y="29"/>
                  </a:lnTo>
                  <a:lnTo>
                    <a:pt x="163" y="23"/>
                  </a:lnTo>
                  <a:lnTo>
                    <a:pt x="156" y="17"/>
                  </a:lnTo>
                  <a:lnTo>
                    <a:pt x="147" y="12"/>
                  </a:lnTo>
                  <a:lnTo>
                    <a:pt x="138" y="7"/>
                  </a:lnTo>
                  <a:lnTo>
                    <a:pt x="129" y="5"/>
                  </a:lnTo>
                  <a:lnTo>
                    <a:pt x="120" y="2"/>
                  </a:lnTo>
                  <a:lnTo>
                    <a:pt x="110" y="1"/>
                  </a:lnTo>
                  <a:lnTo>
                    <a:pt x="100" y="0"/>
                  </a:lnTo>
                  <a:lnTo>
                    <a:pt x="100" y="0"/>
                  </a:lnTo>
                  <a:lnTo>
                    <a:pt x="90" y="1"/>
                  </a:lnTo>
                  <a:lnTo>
                    <a:pt x="80" y="2"/>
                  </a:lnTo>
                  <a:lnTo>
                    <a:pt x="71" y="5"/>
                  </a:lnTo>
                  <a:lnTo>
                    <a:pt x="62" y="7"/>
                  </a:lnTo>
                  <a:lnTo>
                    <a:pt x="53" y="12"/>
                  </a:lnTo>
                  <a:lnTo>
                    <a:pt x="45" y="17"/>
                  </a:lnTo>
                  <a:lnTo>
                    <a:pt x="36" y="23"/>
                  </a:lnTo>
                  <a:lnTo>
                    <a:pt x="29" y="29"/>
                  </a:lnTo>
                  <a:lnTo>
                    <a:pt x="29" y="29"/>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3" name="Freeform 212">
              <a:extLst>
                <a:ext uri="{FF2B5EF4-FFF2-40B4-BE49-F238E27FC236}">
                  <a16:creationId xmlns:a16="http://schemas.microsoft.com/office/drawing/2014/main" id="{E27277AE-E09C-FEEE-F329-2E56CA360543}"/>
                </a:ext>
              </a:extLst>
            </p:cNvPr>
            <p:cNvSpPr>
              <a:spLocks/>
            </p:cNvSpPr>
            <p:nvPr/>
          </p:nvSpPr>
          <p:spPr bwMode="auto">
            <a:xfrm>
              <a:off x="3476625" y="300038"/>
              <a:ext cx="287338" cy="306388"/>
            </a:xfrm>
            <a:custGeom>
              <a:avLst/>
              <a:gdLst>
                <a:gd name="T0" fmla="*/ 151 w 181"/>
                <a:gd name="T1" fmla="*/ 29 h 193"/>
                <a:gd name="T2" fmla="*/ 137 w 181"/>
                <a:gd name="T3" fmla="*/ 17 h 193"/>
                <a:gd name="T4" fmla="*/ 119 w 181"/>
                <a:gd name="T5" fmla="*/ 7 h 193"/>
                <a:gd name="T6" fmla="*/ 101 w 181"/>
                <a:gd name="T7" fmla="*/ 2 h 193"/>
                <a:gd name="T8" fmla="*/ 81 w 181"/>
                <a:gd name="T9" fmla="*/ 0 h 193"/>
                <a:gd name="T10" fmla="*/ 70 w 181"/>
                <a:gd name="T11" fmla="*/ 1 h 193"/>
                <a:gd name="T12" fmla="*/ 59 w 181"/>
                <a:gd name="T13" fmla="*/ 2 h 193"/>
                <a:gd name="T14" fmla="*/ 43 w 181"/>
                <a:gd name="T15" fmla="*/ 11 h 193"/>
                <a:gd name="T16" fmla="*/ 29 w 181"/>
                <a:gd name="T17" fmla="*/ 23 h 193"/>
                <a:gd name="T18" fmla="*/ 23 w 181"/>
                <a:gd name="T19" fmla="*/ 31 h 193"/>
                <a:gd name="T20" fmla="*/ 12 w 181"/>
                <a:gd name="T21" fmla="*/ 47 h 193"/>
                <a:gd name="T22" fmla="*/ 5 w 181"/>
                <a:gd name="T23" fmla="*/ 64 h 193"/>
                <a:gd name="T24" fmla="*/ 1 w 181"/>
                <a:gd name="T25" fmla="*/ 84 h 193"/>
                <a:gd name="T26" fmla="*/ 0 w 181"/>
                <a:gd name="T27" fmla="*/ 93 h 193"/>
                <a:gd name="T28" fmla="*/ 2 w 181"/>
                <a:gd name="T29" fmla="*/ 113 h 193"/>
                <a:gd name="T30" fmla="*/ 7 w 181"/>
                <a:gd name="T31" fmla="*/ 133 h 193"/>
                <a:gd name="T32" fmla="*/ 17 w 181"/>
                <a:gd name="T33" fmla="*/ 149 h 193"/>
                <a:gd name="T34" fmla="*/ 29 w 181"/>
                <a:gd name="T35" fmla="*/ 164 h 193"/>
                <a:gd name="T36" fmla="*/ 44 w 181"/>
                <a:gd name="T37" fmla="*/ 176 h 193"/>
                <a:gd name="T38" fmla="*/ 61 w 181"/>
                <a:gd name="T39" fmla="*/ 186 h 193"/>
                <a:gd name="T40" fmla="*/ 80 w 181"/>
                <a:gd name="T41" fmla="*/ 191 h 193"/>
                <a:gd name="T42" fmla="*/ 100 w 181"/>
                <a:gd name="T43" fmla="*/ 193 h 193"/>
                <a:gd name="T44" fmla="*/ 111 w 181"/>
                <a:gd name="T45" fmla="*/ 193 h 193"/>
                <a:gd name="T46" fmla="*/ 122 w 181"/>
                <a:gd name="T47" fmla="*/ 191 h 193"/>
                <a:gd name="T48" fmla="*/ 138 w 181"/>
                <a:gd name="T49" fmla="*/ 182 h 193"/>
                <a:gd name="T50" fmla="*/ 151 w 181"/>
                <a:gd name="T51" fmla="*/ 171 h 193"/>
                <a:gd name="T52" fmla="*/ 151 w 181"/>
                <a:gd name="T53" fmla="*/ 171 h 193"/>
                <a:gd name="T54" fmla="*/ 164 w 181"/>
                <a:gd name="T55" fmla="*/ 155 h 193"/>
                <a:gd name="T56" fmla="*/ 174 w 181"/>
                <a:gd name="T57" fmla="*/ 138 h 193"/>
                <a:gd name="T58" fmla="*/ 179 w 181"/>
                <a:gd name="T59" fmla="*/ 119 h 193"/>
                <a:gd name="T60" fmla="*/ 181 w 181"/>
                <a:gd name="T61" fmla="*/ 100 h 193"/>
                <a:gd name="T62" fmla="*/ 180 w 181"/>
                <a:gd name="T63" fmla="*/ 90 h 193"/>
                <a:gd name="T64" fmla="*/ 176 w 181"/>
                <a:gd name="T65" fmla="*/ 71 h 193"/>
                <a:gd name="T66" fmla="*/ 169 w 181"/>
                <a:gd name="T67" fmla="*/ 53 h 193"/>
                <a:gd name="T68" fmla="*/ 158 w 181"/>
                <a:gd name="T69" fmla="*/ 37 h 193"/>
                <a:gd name="T70" fmla="*/ 151 w 181"/>
                <a:gd name="T71" fmla="*/ 2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193">
                  <a:moveTo>
                    <a:pt x="151" y="29"/>
                  </a:moveTo>
                  <a:lnTo>
                    <a:pt x="151" y="29"/>
                  </a:lnTo>
                  <a:lnTo>
                    <a:pt x="144" y="23"/>
                  </a:lnTo>
                  <a:lnTo>
                    <a:pt x="137" y="17"/>
                  </a:lnTo>
                  <a:lnTo>
                    <a:pt x="128" y="12"/>
                  </a:lnTo>
                  <a:lnTo>
                    <a:pt x="119" y="7"/>
                  </a:lnTo>
                  <a:lnTo>
                    <a:pt x="110" y="5"/>
                  </a:lnTo>
                  <a:lnTo>
                    <a:pt x="101" y="2"/>
                  </a:lnTo>
                  <a:lnTo>
                    <a:pt x="91" y="1"/>
                  </a:lnTo>
                  <a:lnTo>
                    <a:pt x="81" y="0"/>
                  </a:lnTo>
                  <a:lnTo>
                    <a:pt x="81" y="0"/>
                  </a:lnTo>
                  <a:lnTo>
                    <a:pt x="70" y="1"/>
                  </a:lnTo>
                  <a:lnTo>
                    <a:pt x="59" y="2"/>
                  </a:lnTo>
                  <a:lnTo>
                    <a:pt x="59" y="2"/>
                  </a:lnTo>
                  <a:lnTo>
                    <a:pt x="50" y="7"/>
                  </a:lnTo>
                  <a:lnTo>
                    <a:pt x="43" y="11"/>
                  </a:lnTo>
                  <a:lnTo>
                    <a:pt x="36" y="17"/>
                  </a:lnTo>
                  <a:lnTo>
                    <a:pt x="29" y="23"/>
                  </a:lnTo>
                  <a:lnTo>
                    <a:pt x="29" y="23"/>
                  </a:lnTo>
                  <a:lnTo>
                    <a:pt x="23" y="31"/>
                  </a:lnTo>
                  <a:lnTo>
                    <a:pt x="17" y="38"/>
                  </a:lnTo>
                  <a:lnTo>
                    <a:pt x="12" y="47"/>
                  </a:lnTo>
                  <a:lnTo>
                    <a:pt x="7" y="55"/>
                  </a:lnTo>
                  <a:lnTo>
                    <a:pt x="5" y="64"/>
                  </a:lnTo>
                  <a:lnTo>
                    <a:pt x="2" y="74"/>
                  </a:lnTo>
                  <a:lnTo>
                    <a:pt x="1" y="84"/>
                  </a:lnTo>
                  <a:lnTo>
                    <a:pt x="0" y="93"/>
                  </a:lnTo>
                  <a:lnTo>
                    <a:pt x="0" y="93"/>
                  </a:lnTo>
                  <a:lnTo>
                    <a:pt x="1" y="103"/>
                  </a:lnTo>
                  <a:lnTo>
                    <a:pt x="2" y="113"/>
                  </a:lnTo>
                  <a:lnTo>
                    <a:pt x="5" y="123"/>
                  </a:lnTo>
                  <a:lnTo>
                    <a:pt x="7" y="133"/>
                  </a:lnTo>
                  <a:lnTo>
                    <a:pt x="12" y="142"/>
                  </a:lnTo>
                  <a:lnTo>
                    <a:pt x="17" y="149"/>
                  </a:lnTo>
                  <a:lnTo>
                    <a:pt x="23" y="158"/>
                  </a:lnTo>
                  <a:lnTo>
                    <a:pt x="29" y="164"/>
                  </a:lnTo>
                  <a:lnTo>
                    <a:pt x="37" y="171"/>
                  </a:lnTo>
                  <a:lnTo>
                    <a:pt x="44" y="176"/>
                  </a:lnTo>
                  <a:lnTo>
                    <a:pt x="52" y="181"/>
                  </a:lnTo>
                  <a:lnTo>
                    <a:pt x="61" y="186"/>
                  </a:lnTo>
                  <a:lnTo>
                    <a:pt x="70" y="188"/>
                  </a:lnTo>
                  <a:lnTo>
                    <a:pt x="80" y="191"/>
                  </a:lnTo>
                  <a:lnTo>
                    <a:pt x="90" y="193"/>
                  </a:lnTo>
                  <a:lnTo>
                    <a:pt x="100" y="193"/>
                  </a:lnTo>
                  <a:lnTo>
                    <a:pt x="100" y="193"/>
                  </a:lnTo>
                  <a:lnTo>
                    <a:pt x="111" y="193"/>
                  </a:lnTo>
                  <a:lnTo>
                    <a:pt x="122" y="191"/>
                  </a:lnTo>
                  <a:lnTo>
                    <a:pt x="122" y="191"/>
                  </a:lnTo>
                  <a:lnTo>
                    <a:pt x="129" y="187"/>
                  </a:lnTo>
                  <a:lnTo>
                    <a:pt x="138" y="182"/>
                  </a:lnTo>
                  <a:lnTo>
                    <a:pt x="144" y="177"/>
                  </a:lnTo>
                  <a:lnTo>
                    <a:pt x="151" y="171"/>
                  </a:lnTo>
                  <a:lnTo>
                    <a:pt x="151" y="171"/>
                  </a:lnTo>
                  <a:lnTo>
                    <a:pt x="151" y="171"/>
                  </a:lnTo>
                  <a:lnTo>
                    <a:pt x="158" y="164"/>
                  </a:lnTo>
                  <a:lnTo>
                    <a:pt x="164" y="155"/>
                  </a:lnTo>
                  <a:lnTo>
                    <a:pt x="169" y="147"/>
                  </a:lnTo>
                  <a:lnTo>
                    <a:pt x="174" y="138"/>
                  </a:lnTo>
                  <a:lnTo>
                    <a:pt x="176" y="129"/>
                  </a:lnTo>
                  <a:lnTo>
                    <a:pt x="179" y="119"/>
                  </a:lnTo>
                  <a:lnTo>
                    <a:pt x="180" y="110"/>
                  </a:lnTo>
                  <a:lnTo>
                    <a:pt x="181" y="100"/>
                  </a:lnTo>
                  <a:lnTo>
                    <a:pt x="181" y="100"/>
                  </a:lnTo>
                  <a:lnTo>
                    <a:pt x="180" y="90"/>
                  </a:lnTo>
                  <a:lnTo>
                    <a:pt x="179" y="81"/>
                  </a:lnTo>
                  <a:lnTo>
                    <a:pt x="176" y="71"/>
                  </a:lnTo>
                  <a:lnTo>
                    <a:pt x="174" y="61"/>
                  </a:lnTo>
                  <a:lnTo>
                    <a:pt x="169" y="53"/>
                  </a:lnTo>
                  <a:lnTo>
                    <a:pt x="164" y="45"/>
                  </a:lnTo>
                  <a:lnTo>
                    <a:pt x="158" y="37"/>
                  </a:lnTo>
                  <a:lnTo>
                    <a:pt x="151" y="29"/>
                  </a:lnTo>
                  <a:lnTo>
                    <a:pt x="151"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4" name="Freeform 213">
              <a:extLst>
                <a:ext uri="{FF2B5EF4-FFF2-40B4-BE49-F238E27FC236}">
                  <a16:creationId xmlns:a16="http://schemas.microsoft.com/office/drawing/2014/main" id="{808B7553-33E8-8BE8-E976-5807A0FBDC45}"/>
                </a:ext>
              </a:extLst>
            </p:cNvPr>
            <p:cNvSpPr>
              <a:spLocks/>
            </p:cNvSpPr>
            <p:nvPr/>
          </p:nvSpPr>
          <p:spPr bwMode="auto">
            <a:xfrm>
              <a:off x="3719513" y="573088"/>
              <a:ext cx="87313" cy="90488"/>
            </a:xfrm>
            <a:custGeom>
              <a:avLst/>
              <a:gdLst>
                <a:gd name="T0" fmla="*/ 50 w 55"/>
                <a:gd name="T1" fmla="*/ 52 h 57"/>
                <a:gd name="T2" fmla="*/ 50 w 55"/>
                <a:gd name="T3" fmla="*/ 52 h 57"/>
                <a:gd name="T4" fmla="*/ 45 w 55"/>
                <a:gd name="T5" fmla="*/ 56 h 57"/>
                <a:gd name="T6" fmla="*/ 39 w 55"/>
                <a:gd name="T7" fmla="*/ 57 h 57"/>
                <a:gd name="T8" fmla="*/ 32 w 55"/>
                <a:gd name="T9" fmla="*/ 56 h 57"/>
                <a:gd name="T10" fmla="*/ 27 w 55"/>
                <a:gd name="T11" fmla="*/ 52 h 57"/>
                <a:gd name="T12" fmla="*/ 5 w 55"/>
                <a:gd name="T13" fmla="*/ 30 h 57"/>
                <a:gd name="T14" fmla="*/ 5 w 55"/>
                <a:gd name="T15" fmla="*/ 30 h 57"/>
                <a:gd name="T16" fmla="*/ 1 w 55"/>
                <a:gd name="T17" fmla="*/ 24 h 57"/>
                <a:gd name="T18" fmla="*/ 0 w 55"/>
                <a:gd name="T19" fmla="*/ 18 h 57"/>
                <a:gd name="T20" fmla="*/ 1 w 55"/>
                <a:gd name="T21" fmla="*/ 12 h 57"/>
                <a:gd name="T22" fmla="*/ 5 w 55"/>
                <a:gd name="T23" fmla="*/ 5 h 57"/>
                <a:gd name="T24" fmla="*/ 5 w 55"/>
                <a:gd name="T25" fmla="*/ 5 h 57"/>
                <a:gd name="T26" fmla="*/ 5 w 55"/>
                <a:gd name="T27" fmla="*/ 5 h 57"/>
                <a:gd name="T28" fmla="*/ 5 w 55"/>
                <a:gd name="T29" fmla="*/ 5 h 57"/>
                <a:gd name="T30" fmla="*/ 11 w 55"/>
                <a:gd name="T31" fmla="*/ 2 h 57"/>
                <a:gd name="T32" fmla="*/ 17 w 55"/>
                <a:gd name="T33" fmla="*/ 0 h 57"/>
                <a:gd name="T34" fmla="*/ 23 w 55"/>
                <a:gd name="T35" fmla="*/ 2 h 57"/>
                <a:gd name="T36" fmla="*/ 29 w 55"/>
                <a:gd name="T37" fmla="*/ 5 h 57"/>
                <a:gd name="T38" fmla="*/ 50 w 55"/>
                <a:gd name="T39" fmla="*/ 28 h 57"/>
                <a:gd name="T40" fmla="*/ 50 w 55"/>
                <a:gd name="T41" fmla="*/ 28 h 57"/>
                <a:gd name="T42" fmla="*/ 54 w 55"/>
                <a:gd name="T43" fmla="*/ 34 h 57"/>
                <a:gd name="T44" fmla="*/ 55 w 55"/>
                <a:gd name="T45" fmla="*/ 40 h 57"/>
                <a:gd name="T46" fmla="*/ 54 w 55"/>
                <a:gd name="T47" fmla="*/ 46 h 57"/>
                <a:gd name="T48" fmla="*/ 50 w 55"/>
                <a:gd name="T49" fmla="*/ 52 h 57"/>
                <a:gd name="T50" fmla="*/ 50 w 55"/>
                <a:gd name="T51" fmla="*/ 52 h 57"/>
                <a:gd name="T52" fmla="*/ 50 w 55"/>
                <a:gd name="T53" fmla="*/ 52 h 57"/>
                <a:gd name="T54" fmla="*/ 50 w 55"/>
                <a:gd name="T55" fmla="*/ 5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5" h="57">
                  <a:moveTo>
                    <a:pt x="50" y="52"/>
                  </a:moveTo>
                  <a:lnTo>
                    <a:pt x="50" y="52"/>
                  </a:lnTo>
                  <a:lnTo>
                    <a:pt x="45" y="56"/>
                  </a:lnTo>
                  <a:lnTo>
                    <a:pt x="39" y="57"/>
                  </a:lnTo>
                  <a:lnTo>
                    <a:pt x="32" y="56"/>
                  </a:lnTo>
                  <a:lnTo>
                    <a:pt x="27" y="52"/>
                  </a:lnTo>
                  <a:lnTo>
                    <a:pt x="5" y="30"/>
                  </a:lnTo>
                  <a:lnTo>
                    <a:pt x="5" y="30"/>
                  </a:lnTo>
                  <a:lnTo>
                    <a:pt x="1" y="24"/>
                  </a:lnTo>
                  <a:lnTo>
                    <a:pt x="0" y="18"/>
                  </a:lnTo>
                  <a:lnTo>
                    <a:pt x="1" y="12"/>
                  </a:lnTo>
                  <a:lnTo>
                    <a:pt x="5" y="5"/>
                  </a:lnTo>
                  <a:lnTo>
                    <a:pt x="5" y="5"/>
                  </a:lnTo>
                  <a:lnTo>
                    <a:pt x="5" y="5"/>
                  </a:lnTo>
                  <a:lnTo>
                    <a:pt x="5" y="5"/>
                  </a:lnTo>
                  <a:lnTo>
                    <a:pt x="11" y="2"/>
                  </a:lnTo>
                  <a:lnTo>
                    <a:pt x="17" y="0"/>
                  </a:lnTo>
                  <a:lnTo>
                    <a:pt x="23" y="2"/>
                  </a:lnTo>
                  <a:lnTo>
                    <a:pt x="29" y="5"/>
                  </a:lnTo>
                  <a:lnTo>
                    <a:pt x="50" y="28"/>
                  </a:lnTo>
                  <a:lnTo>
                    <a:pt x="50" y="28"/>
                  </a:lnTo>
                  <a:lnTo>
                    <a:pt x="54" y="34"/>
                  </a:lnTo>
                  <a:lnTo>
                    <a:pt x="55" y="40"/>
                  </a:lnTo>
                  <a:lnTo>
                    <a:pt x="54" y="46"/>
                  </a:lnTo>
                  <a:lnTo>
                    <a:pt x="50" y="52"/>
                  </a:lnTo>
                  <a:lnTo>
                    <a:pt x="50" y="52"/>
                  </a:lnTo>
                  <a:lnTo>
                    <a:pt x="50" y="52"/>
                  </a:lnTo>
                  <a:lnTo>
                    <a:pt x="50" y="52"/>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5" name="Freeform 214">
              <a:extLst>
                <a:ext uri="{FF2B5EF4-FFF2-40B4-BE49-F238E27FC236}">
                  <a16:creationId xmlns:a16="http://schemas.microsoft.com/office/drawing/2014/main" id="{923079B4-E36A-D2C6-9015-AE188C79E3F3}"/>
                </a:ext>
              </a:extLst>
            </p:cNvPr>
            <p:cNvSpPr>
              <a:spLocks/>
            </p:cNvSpPr>
            <p:nvPr/>
          </p:nvSpPr>
          <p:spPr bwMode="auto">
            <a:xfrm>
              <a:off x="3603625" y="258763"/>
              <a:ext cx="201613" cy="401638"/>
            </a:xfrm>
            <a:custGeom>
              <a:avLst/>
              <a:gdLst>
                <a:gd name="T0" fmla="*/ 1 w 127"/>
                <a:gd name="T1" fmla="*/ 0 h 253"/>
                <a:gd name="T2" fmla="*/ 27 w 127"/>
                <a:gd name="T3" fmla="*/ 2 h 253"/>
                <a:gd name="T4" fmla="*/ 51 w 127"/>
                <a:gd name="T5" fmla="*/ 10 h 253"/>
                <a:gd name="T6" fmla="*/ 71 w 127"/>
                <a:gd name="T7" fmla="*/ 21 h 253"/>
                <a:gd name="T8" fmla="*/ 90 w 127"/>
                <a:gd name="T9" fmla="*/ 37 h 253"/>
                <a:gd name="T10" fmla="*/ 106 w 127"/>
                <a:gd name="T11" fmla="*/ 55 h 253"/>
                <a:gd name="T12" fmla="*/ 117 w 127"/>
                <a:gd name="T13" fmla="*/ 78 h 253"/>
                <a:gd name="T14" fmla="*/ 125 w 127"/>
                <a:gd name="T15" fmla="*/ 101 h 253"/>
                <a:gd name="T16" fmla="*/ 127 w 127"/>
                <a:gd name="T17" fmla="*/ 126 h 253"/>
                <a:gd name="T18" fmla="*/ 127 w 127"/>
                <a:gd name="T19" fmla="*/ 139 h 253"/>
                <a:gd name="T20" fmla="*/ 122 w 127"/>
                <a:gd name="T21" fmla="*/ 163 h 253"/>
                <a:gd name="T22" fmla="*/ 112 w 127"/>
                <a:gd name="T23" fmla="*/ 186 h 253"/>
                <a:gd name="T24" fmla="*/ 99 w 127"/>
                <a:gd name="T25" fmla="*/ 206 h 253"/>
                <a:gd name="T26" fmla="*/ 90 w 127"/>
                <a:gd name="T27" fmla="*/ 216 h 253"/>
                <a:gd name="T28" fmla="*/ 71 w 127"/>
                <a:gd name="T29" fmla="*/ 232 h 253"/>
                <a:gd name="T30" fmla="*/ 49 w 127"/>
                <a:gd name="T31" fmla="*/ 243 h 253"/>
                <a:gd name="T32" fmla="*/ 26 w 127"/>
                <a:gd name="T33" fmla="*/ 250 h 253"/>
                <a:gd name="T34" fmla="*/ 1 w 127"/>
                <a:gd name="T35" fmla="*/ 253 h 253"/>
                <a:gd name="T36" fmla="*/ 0 w 127"/>
                <a:gd name="T37" fmla="*/ 253 h 253"/>
                <a:gd name="T38" fmla="*/ 1 w 127"/>
                <a:gd name="T39" fmla="*/ 235 h 253"/>
                <a:gd name="T40" fmla="*/ 1 w 127"/>
                <a:gd name="T41" fmla="*/ 235 h 253"/>
                <a:gd name="T42" fmla="*/ 22 w 127"/>
                <a:gd name="T43" fmla="*/ 234 h 253"/>
                <a:gd name="T44" fmla="*/ 43 w 127"/>
                <a:gd name="T45" fmla="*/ 228 h 253"/>
                <a:gd name="T46" fmla="*/ 62 w 127"/>
                <a:gd name="T47" fmla="*/ 217 h 253"/>
                <a:gd name="T48" fmla="*/ 79 w 127"/>
                <a:gd name="T49" fmla="*/ 203 h 253"/>
                <a:gd name="T50" fmla="*/ 86 w 127"/>
                <a:gd name="T51" fmla="*/ 196 h 253"/>
                <a:gd name="T52" fmla="*/ 97 w 127"/>
                <a:gd name="T53" fmla="*/ 177 h 253"/>
                <a:gd name="T54" fmla="*/ 106 w 127"/>
                <a:gd name="T55" fmla="*/ 158 h 253"/>
                <a:gd name="T56" fmla="*/ 110 w 127"/>
                <a:gd name="T57" fmla="*/ 137 h 253"/>
                <a:gd name="T58" fmla="*/ 111 w 127"/>
                <a:gd name="T59" fmla="*/ 126 h 253"/>
                <a:gd name="T60" fmla="*/ 108 w 127"/>
                <a:gd name="T61" fmla="*/ 105 h 253"/>
                <a:gd name="T62" fmla="*/ 102 w 127"/>
                <a:gd name="T63" fmla="*/ 84 h 253"/>
                <a:gd name="T64" fmla="*/ 92 w 127"/>
                <a:gd name="T65" fmla="*/ 65 h 253"/>
                <a:gd name="T66" fmla="*/ 79 w 127"/>
                <a:gd name="T67" fmla="*/ 49 h 253"/>
                <a:gd name="T68" fmla="*/ 63 w 127"/>
                <a:gd name="T69" fmla="*/ 36 h 253"/>
                <a:gd name="T70" fmla="*/ 43 w 127"/>
                <a:gd name="T71" fmla="*/ 25 h 253"/>
                <a:gd name="T72" fmla="*/ 23 w 127"/>
                <a:gd name="T73" fmla="*/ 18 h 253"/>
                <a:gd name="T74" fmla="*/ 1 w 127"/>
                <a:gd name="T75" fmla="*/ 16 h 253"/>
                <a:gd name="T76" fmla="*/ 1 w 127"/>
                <a:gd name="T77"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7" h="253">
                  <a:moveTo>
                    <a:pt x="1" y="0"/>
                  </a:moveTo>
                  <a:lnTo>
                    <a:pt x="1" y="0"/>
                  </a:lnTo>
                  <a:lnTo>
                    <a:pt x="14" y="0"/>
                  </a:lnTo>
                  <a:lnTo>
                    <a:pt x="27" y="2"/>
                  </a:lnTo>
                  <a:lnTo>
                    <a:pt x="38" y="5"/>
                  </a:lnTo>
                  <a:lnTo>
                    <a:pt x="51" y="10"/>
                  </a:lnTo>
                  <a:lnTo>
                    <a:pt x="62" y="15"/>
                  </a:lnTo>
                  <a:lnTo>
                    <a:pt x="71" y="21"/>
                  </a:lnTo>
                  <a:lnTo>
                    <a:pt x="81" y="28"/>
                  </a:lnTo>
                  <a:lnTo>
                    <a:pt x="90" y="37"/>
                  </a:lnTo>
                  <a:lnTo>
                    <a:pt x="99" y="45"/>
                  </a:lnTo>
                  <a:lnTo>
                    <a:pt x="106" y="55"/>
                  </a:lnTo>
                  <a:lnTo>
                    <a:pt x="112" y="66"/>
                  </a:lnTo>
                  <a:lnTo>
                    <a:pt x="117" y="78"/>
                  </a:lnTo>
                  <a:lnTo>
                    <a:pt x="122" y="89"/>
                  </a:lnTo>
                  <a:lnTo>
                    <a:pt x="125" y="101"/>
                  </a:lnTo>
                  <a:lnTo>
                    <a:pt x="127" y="113"/>
                  </a:lnTo>
                  <a:lnTo>
                    <a:pt x="127" y="126"/>
                  </a:lnTo>
                  <a:lnTo>
                    <a:pt x="127" y="126"/>
                  </a:lnTo>
                  <a:lnTo>
                    <a:pt x="127" y="139"/>
                  </a:lnTo>
                  <a:lnTo>
                    <a:pt x="125" y="152"/>
                  </a:lnTo>
                  <a:lnTo>
                    <a:pt x="122" y="163"/>
                  </a:lnTo>
                  <a:lnTo>
                    <a:pt x="118" y="175"/>
                  </a:lnTo>
                  <a:lnTo>
                    <a:pt x="112" y="186"/>
                  </a:lnTo>
                  <a:lnTo>
                    <a:pt x="106" y="196"/>
                  </a:lnTo>
                  <a:lnTo>
                    <a:pt x="99" y="206"/>
                  </a:lnTo>
                  <a:lnTo>
                    <a:pt x="90" y="216"/>
                  </a:lnTo>
                  <a:lnTo>
                    <a:pt x="90" y="216"/>
                  </a:lnTo>
                  <a:lnTo>
                    <a:pt x="81" y="224"/>
                  </a:lnTo>
                  <a:lnTo>
                    <a:pt x="71" y="232"/>
                  </a:lnTo>
                  <a:lnTo>
                    <a:pt x="60" y="238"/>
                  </a:lnTo>
                  <a:lnTo>
                    <a:pt x="49" y="243"/>
                  </a:lnTo>
                  <a:lnTo>
                    <a:pt x="38" y="248"/>
                  </a:lnTo>
                  <a:lnTo>
                    <a:pt x="26" y="250"/>
                  </a:lnTo>
                  <a:lnTo>
                    <a:pt x="14" y="253"/>
                  </a:lnTo>
                  <a:lnTo>
                    <a:pt x="1" y="253"/>
                  </a:lnTo>
                  <a:lnTo>
                    <a:pt x="1" y="253"/>
                  </a:lnTo>
                  <a:lnTo>
                    <a:pt x="0" y="253"/>
                  </a:lnTo>
                  <a:lnTo>
                    <a:pt x="1" y="235"/>
                  </a:lnTo>
                  <a:lnTo>
                    <a:pt x="1" y="235"/>
                  </a:lnTo>
                  <a:lnTo>
                    <a:pt x="1" y="235"/>
                  </a:lnTo>
                  <a:lnTo>
                    <a:pt x="1" y="235"/>
                  </a:lnTo>
                  <a:lnTo>
                    <a:pt x="12" y="235"/>
                  </a:lnTo>
                  <a:lnTo>
                    <a:pt x="22" y="234"/>
                  </a:lnTo>
                  <a:lnTo>
                    <a:pt x="33" y="232"/>
                  </a:lnTo>
                  <a:lnTo>
                    <a:pt x="43" y="228"/>
                  </a:lnTo>
                  <a:lnTo>
                    <a:pt x="53" y="223"/>
                  </a:lnTo>
                  <a:lnTo>
                    <a:pt x="62" y="217"/>
                  </a:lnTo>
                  <a:lnTo>
                    <a:pt x="70" y="211"/>
                  </a:lnTo>
                  <a:lnTo>
                    <a:pt x="79" y="203"/>
                  </a:lnTo>
                  <a:lnTo>
                    <a:pt x="79" y="203"/>
                  </a:lnTo>
                  <a:lnTo>
                    <a:pt x="86" y="196"/>
                  </a:lnTo>
                  <a:lnTo>
                    <a:pt x="92" y="187"/>
                  </a:lnTo>
                  <a:lnTo>
                    <a:pt x="97" y="177"/>
                  </a:lnTo>
                  <a:lnTo>
                    <a:pt x="102" y="168"/>
                  </a:lnTo>
                  <a:lnTo>
                    <a:pt x="106" y="158"/>
                  </a:lnTo>
                  <a:lnTo>
                    <a:pt x="108" y="148"/>
                  </a:lnTo>
                  <a:lnTo>
                    <a:pt x="110" y="137"/>
                  </a:lnTo>
                  <a:lnTo>
                    <a:pt x="111" y="126"/>
                  </a:lnTo>
                  <a:lnTo>
                    <a:pt x="111" y="126"/>
                  </a:lnTo>
                  <a:lnTo>
                    <a:pt x="110" y="115"/>
                  </a:lnTo>
                  <a:lnTo>
                    <a:pt x="108" y="105"/>
                  </a:lnTo>
                  <a:lnTo>
                    <a:pt x="106" y="94"/>
                  </a:lnTo>
                  <a:lnTo>
                    <a:pt x="102" y="84"/>
                  </a:lnTo>
                  <a:lnTo>
                    <a:pt x="97" y="74"/>
                  </a:lnTo>
                  <a:lnTo>
                    <a:pt x="92" y="65"/>
                  </a:lnTo>
                  <a:lnTo>
                    <a:pt x="85" y="57"/>
                  </a:lnTo>
                  <a:lnTo>
                    <a:pt x="79" y="49"/>
                  </a:lnTo>
                  <a:lnTo>
                    <a:pt x="70" y="42"/>
                  </a:lnTo>
                  <a:lnTo>
                    <a:pt x="63" y="36"/>
                  </a:lnTo>
                  <a:lnTo>
                    <a:pt x="53" y="29"/>
                  </a:lnTo>
                  <a:lnTo>
                    <a:pt x="43" y="25"/>
                  </a:lnTo>
                  <a:lnTo>
                    <a:pt x="33" y="21"/>
                  </a:lnTo>
                  <a:lnTo>
                    <a:pt x="23" y="18"/>
                  </a:lnTo>
                  <a:lnTo>
                    <a:pt x="12" y="17"/>
                  </a:lnTo>
                  <a:lnTo>
                    <a:pt x="1" y="16"/>
                  </a:lnTo>
                  <a:lnTo>
                    <a:pt x="1" y="0"/>
                  </a:lnTo>
                  <a:lnTo>
                    <a:pt x="1" y="0"/>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6" name="Freeform 215">
              <a:extLst>
                <a:ext uri="{FF2B5EF4-FFF2-40B4-BE49-F238E27FC236}">
                  <a16:creationId xmlns:a16="http://schemas.microsoft.com/office/drawing/2014/main" id="{7BBA7EED-30CC-0C14-C076-6816EF04A5CC}"/>
                </a:ext>
              </a:extLst>
            </p:cNvPr>
            <p:cNvSpPr>
              <a:spLocks/>
            </p:cNvSpPr>
            <p:nvPr/>
          </p:nvSpPr>
          <p:spPr bwMode="auto">
            <a:xfrm>
              <a:off x="3471863" y="323850"/>
              <a:ext cx="290513" cy="293688"/>
            </a:xfrm>
            <a:custGeom>
              <a:avLst/>
              <a:gdLst>
                <a:gd name="T0" fmla="*/ 72 w 183"/>
                <a:gd name="T1" fmla="*/ 162 h 185"/>
                <a:gd name="T2" fmla="*/ 74 w 183"/>
                <a:gd name="T3" fmla="*/ 144 h 185"/>
                <a:gd name="T4" fmla="*/ 79 w 183"/>
                <a:gd name="T5" fmla="*/ 128 h 185"/>
                <a:gd name="T6" fmla="*/ 88 w 183"/>
                <a:gd name="T7" fmla="*/ 113 h 185"/>
                <a:gd name="T8" fmla="*/ 98 w 183"/>
                <a:gd name="T9" fmla="*/ 99 h 185"/>
                <a:gd name="T10" fmla="*/ 111 w 183"/>
                <a:gd name="T11" fmla="*/ 88 h 185"/>
                <a:gd name="T12" fmla="*/ 126 w 183"/>
                <a:gd name="T13" fmla="*/ 81 h 185"/>
                <a:gd name="T14" fmla="*/ 143 w 183"/>
                <a:gd name="T15" fmla="*/ 75 h 185"/>
                <a:gd name="T16" fmla="*/ 161 w 183"/>
                <a:gd name="T17" fmla="*/ 74 h 185"/>
                <a:gd name="T18" fmla="*/ 172 w 183"/>
                <a:gd name="T19" fmla="*/ 75 h 185"/>
                <a:gd name="T20" fmla="*/ 183 w 183"/>
                <a:gd name="T21" fmla="*/ 76 h 185"/>
                <a:gd name="T22" fmla="*/ 180 w 183"/>
                <a:gd name="T23" fmla="*/ 59 h 185"/>
                <a:gd name="T24" fmla="*/ 174 w 183"/>
                <a:gd name="T25" fmla="*/ 43 h 185"/>
                <a:gd name="T26" fmla="*/ 166 w 183"/>
                <a:gd name="T27" fmla="*/ 28 h 185"/>
                <a:gd name="T28" fmla="*/ 154 w 183"/>
                <a:gd name="T29" fmla="*/ 14 h 185"/>
                <a:gd name="T30" fmla="*/ 145 w 183"/>
                <a:gd name="T31" fmla="*/ 7 h 185"/>
                <a:gd name="T32" fmla="*/ 135 w 183"/>
                <a:gd name="T33" fmla="*/ 0 h 185"/>
                <a:gd name="T34" fmla="*/ 134 w 183"/>
                <a:gd name="T35" fmla="*/ 4 h 185"/>
                <a:gd name="T36" fmla="*/ 134 w 183"/>
                <a:gd name="T37" fmla="*/ 25 h 185"/>
                <a:gd name="T38" fmla="*/ 113 w 183"/>
                <a:gd name="T39" fmla="*/ 30 h 185"/>
                <a:gd name="T40" fmla="*/ 103 w 183"/>
                <a:gd name="T41" fmla="*/ 14 h 185"/>
                <a:gd name="T42" fmla="*/ 98 w 183"/>
                <a:gd name="T43" fmla="*/ 9 h 185"/>
                <a:gd name="T44" fmla="*/ 90 w 183"/>
                <a:gd name="T45" fmla="*/ 11 h 185"/>
                <a:gd name="T46" fmla="*/ 61 w 183"/>
                <a:gd name="T47" fmla="*/ 28 h 185"/>
                <a:gd name="T48" fmla="*/ 57 w 183"/>
                <a:gd name="T49" fmla="*/ 33 h 185"/>
                <a:gd name="T50" fmla="*/ 58 w 183"/>
                <a:gd name="T51" fmla="*/ 39 h 185"/>
                <a:gd name="T52" fmla="*/ 68 w 183"/>
                <a:gd name="T53" fmla="*/ 58 h 185"/>
                <a:gd name="T54" fmla="*/ 53 w 183"/>
                <a:gd name="T55" fmla="*/ 72 h 185"/>
                <a:gd name="T56" fmla="*/ 36 w 183"/>
                <a:gd name="T57" fmla="*/ 62 h 185"/>
                <a:gd name="T58" fmla="*/ 30 w 183"/>
                <a:gd name="T59" fmla="*/ 62 h 185"/>
                <a:gd name="T60" fmla="*/ 25 w 183"/>
                <a:gd name="T61" fmla="*/ 66 h 185"/>
                <a:gd name="T62" fmla="*/ 8 w 183"/>
                <a:gd name="T63" fmla="*/ 96 h 185"/>
                <a:gd name="T64" fmla="*/ 6 w 183"/>
                <a:gd name="T65" fmla="*/ 102 h 185"/>
                <a:gd name="T66" fmla="*/ 10 w 183"/>
                <a:gd name="T67" fmla="*/ 107 h 185"/>
                <a:gd name="T68" fmla="*/ 29 w 183"/>
                <a:gd name="T69" fmla="*/ 118 h 185"/>
                <a:gd name="T70" fmla="*/ 23 w 183"/>
                <a:gd name="T71" fmla="*/ 139 h 185"/>
                <a:gd name="T72" fmla="*/ 3 w 183"/>
                <a:gd name="T73" fmla="*/ 139 h 185"/>
                <a:gd name="T74" fmla="*/ 0 w 183"/>
                <a:gd name="T75" fmla="*/ 139 h 185"/>
                <a:gd name="T76" fmla="*/ 14 w 183"/>
                <a:gd name="T77" fmla="*/ 156 h 185"/>
                <a:gd name="T78" fmla="*/ 32 w 183"/>
                <a:gd name="T79" fmla="*/ 170 h 185"/>
                <a:gd name="T80" fmla="*/ 52 w 183"/>
                <a:gd name="T81" fmla="*/ 180 h 185"/>
                <a:gd name="T82" fmla="*/ 76 w 183"/>
                <a:gd name="T83" fmla="*/ 185 h 185"/>
                <a:gd name="T84" fmla="*/ 73 w 183"/>
                <a:gd name="T85" fmla="*/ 173 h 185"/>
                <a:gd name="T86" fmla="*/ 72 w 183"/>
                <a:gd name="T87" fmla="*/ 16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3" h="185">
                  <a:moveTo>
                    <a:pt x="72" y="162"/>
                  </a:moveTo>
                  <a:lnTo>
                    <a:pt x="72" y="162"/>
                  </a:lnTo>
                  <a:lnTo>
                    <a:pt x="73" y="154"/>
                  </a:lnTo>
                  <a:lnTo>
                    <a:pt x="74" y="144"/>
                  </a:lnTo>
                  <a:lnTo>
                    <a:pt x="77" y="136"/>
                  </a:lnTo>
                  <a:lnTo>
                    <a:pt x="79" y="128"/>
                  </a:lnTo>
                  <a:lnTo>
                    <a:pt x="83" y="120"/>
                  </a:lnTo>
                  <a:lnTo>
                    <a:pt x="88" y="113"/>
                  </a:lnTo>
                  <a:lnTo>
                    <a:pt x="93" y="106"/>
                  </a:lnTo>
                  <a:lnTo>
                    <a:pt x="98" y="99"/>
                  </a:lnTo>
                  <a:lnTo>
                    <a:pt x="104" y="93"/>
                  </a:lnTo>
                  <a:lnTo>
                    <a:pt x="111" y="88"/>
                  </a:lnTo>
                  <a:lnTo>
                    <a:pt x="119" y="85"/>
                  </a:lnTo>
                  <a:lnTo>
                    <a:pt x="126" y="81"/>
                  </a:lnTo>
                  <a:lnTo>
                    <a:pt x="135" y="77"/>
                  </a:lnTo>
                  <a:lnTo>
                    <a:pt x="143" y="75"/>
                  </a:lnTo>
                  <a:lnTo>
                    <a:pt x="152" y="74"/>
                  </a:lnTo>
                  <a:lnTo>
                    <a:pt x="161" y="74"/>
                  </a:lnTo>
                  <a:lnTo>
                    <a:pt x="161" y="74"/>
                  </a:lnTo>
                  <a:lnTo>
                    <a:pt x="172" y="75"/>
                  </a:lnTo>
                  <a:lnTo>
                    <a:pt x="183" y="76"/>
                  </a:lnTo>
                  <a:lnTo>
                    <a:pt x="183" y="76"/>
                  </a:lnTo>
                  <a:lnTo>
                    <a:pt x="182" y="67"/>
                  </a:lnTo>
                  <a:lnTo>
                    <a:pt x="180" y="59"/>
                  </a:lnTo>
                  <a:lnTo>
                    <a:pt x="178" y="51"/>
                  </a:lnTo>
                  <a:lnTo>
                    <a:pt x="174" y="43"/>
                  </a:lnTo>
                  <a:lnTo>
                    <a:pt x="171" y="35"/>
                  </a:lnTo>
                  <a:lnTo>
                    <a:pt x="166" y="28"/>
                  </a:lnTo>
                  <a:lnTo>
                    <a:pt x="161" y="21"/>
                  </a:lnTo>
                  <a:lnTo>
                    <a:pt x="154" y="14"/>
                  </a:lnTo>
                  <a:lnTo>
                    <a:pt x="154" y="14"/>
                  </a:lnTo>
                  <a:lnTo>
                    <a:pt x="145" y="7"/>
                  </a:lnTo>
                  <a:lnTo>
                    <a:pt x="135" y="0"/>
                  </a:lnTo>
                  <a:lnTo>
                    <a:pt x="135" y="0"/>
                  </a:lnTo>
                  <a:lnTo>
                    <a:pt x="134" y="2"/>
                  </a:lnTo>
                  <a:lnTo>
                    <a:pt x="134" y="4"/>
                  </a:lnTo>
                  <a:lnTo>
                    <a:pt x="134" y="25"/>
                  </a:lnTo>
                  <a:lnTo>
                    <a:pt x="134" y="25"/>
                  </a:lnTo>
                  <a:lnTo>
                    <a:pt x="122" y="28"/>
                  </a:lnTo>
                  <a:lnTo>
                    <a:pt x="113" y="30"/>
                  </a:lnTo>
                  <a:lnTo>
                    <a:pt x="103" y="14"/>
                  </a:lnTo>
                  <a:lnTo>
                    <a:pt x="103" y="14"/>
                  </a:lnTo>
                  <a:lnTo>
                    <a:pt x="100" y="11"/>
                  </a:lnTo>
                  <a:lnTo>
                    <a:pt x="98" y="9"/>
                  </a:lnTo>
                  <a:lnTo>
                    <a:pt x="94" y="9"/>
                  </a:lnTo>
                  <a:lnTo>
                    <a:pt x="90" y="11"/>
                  </a:lnTo>
                  <a:lnTo>
                    <a:pt x="61" y="28"/>
                  </a:lnTo>
                  <a:lnTo>
                    <a:pt x="61" y="28"/>
                  </a:lnTo>
                  <a:lnTo>
                    <a:pt x="58" y="30"/>
                  </a:lnTo>
                  <a:lnTo>
                    <a:pt x="57" y="33"/>
                  </a:lnTo>
                  <a:lnTo>
                    <a:pt x="57" y="37"/>
                  </a:lnTo>
                  <a:lnTo>
                    <a:pt x="58" y="39"/>
                  </a:lnTo>
                  <a:lnTo>
                    <a:pt x="68" y="58"/>
                  </a:lnTo>
                  <a:lnTo>
                    <a:pt x="68" y="58"/>
                  </a:lnTo>
                  <a:lnTo>
                    <a:pt x="61" y="65"/>
                  </a:lnTo>
                  <a:lnTo>
                    <a:pt x="53" y="72"/>
                  </a:lnTo>
                  <a:lnTo>
                    <a:pt x="36" y="62"/>
                  </a:lnTo>
                  <a:lnTo>
                    <a:pt x="36" y="62"/>
                  </a:lnTo>
                  <a:lnTo>
                    <a:pt x="34" y="61"/>
                  </a:lnTo>
                  <a:lnTo>
                    <a:pt x="30" y="62"/>
                  </a:lnTo>
                  <a:lnTo>
                    <a:pt x="26" y="64"/>
                  </a:lnTo>
                  <a:lnTo>
                    <a:pt x="25" y="66"/>
                  </a:lnTo>
                  <a:lnTo>
                    <a:pt x="8" y="96"/>
                  </a:lnTo>
                  <a:lnTo>
                    <a:pt x="8" y="96"/>
                  </a:lnTo>
                  <a:lnTo>
                    <a:pt x="6" y="98"/>
                  </a:lnTo>
                  <a:lnTo>
                    <a:pt x="6" y="102"/>
                  </a:lnTo>
                  <a:lnTo>
                    <a:pt x="8" y="104"/>
                  </a:lnTo>
                  <a:lnTo>
                    <a:pt x="10" y="107"/>
                  </a:lnTo>
                  <a:lnTo>
                    <a:pt x="29" y="118"/>
                  </a:lnTo>
                  <a:lnTo>
                    <a:pt x="29" y="118"/>
                  </a:lnTo>
                  <a:lnTo>
                    <a:pt x="25" y="128"/>
                  </a:lnTo>
                  <a:lnTo>
                    <a:pt x="23" y="139"/>
                  </a:lnTo>
                  <a:lnTo>
                    <a:pt x="3" y="139"/>
                  </a:lnTo>
                  <a:lnTo>
                    <a:pt x="3" y="139"/>
                  </a:lnTo>
                  <a:lnTo>
                    <a:pt x="0" y="139"/>
                  </a:lnTo>
                  <a:lnTo>
                    <a:pt x="0" y="139"/>
                  </a:lnTo>
                  <a:lnTo>
                    <a:pt x="6" y="149"/>
                  </a:lnTo>
                  <a:lnTo>
                    <a:pt x="14" y="156"/>
                  </a:lnTo>
                  <a:lnTo>
                    <a:pt x="23" y="164"/>
                  </a:lnTo>
                  <a:lnTo>
                    <a:pt x="32" y="170"/>
                  </a:lnTo>
                  <a:lnTo>
                    <a:pt x="42" y="176"/>
                  </a:lnTo>
                  <a:lnTo>
                    <a:pt x="52" y="180"/>
                  </a:lnTo>
                  <a:lnTo>
                    <a:pt x="63" y="183"/>
                  </a:lnTo>
                  <a:lnTo>
                    <a:pt x="76" y="185"/>
                  </a:lnTo>
                  <a:lnTo>
                    <a:pt x="76" y="185"/>
                  </a:lnTo>
                  <a:lnTo>
                    <a:pt x="73" y="173"/>
                  </a:lnTo>
                  <a:lnTo>
                    <a:pt x="72" y="162"/>
                  </a:lnTo>
                  <a:lnTo>
                    <a:pt x="72" y="162"/>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37" name="Freeform 216">
              <a:extLst>
                <a:ext uri="{FF2B5EF4-FFF2-40B4-BE49-F238E27FC236}">
                  <a16:creationId xmlns:a16="http://schemas.microsoft.com/office/drawing/2014/main" id="{2484E2A9-DDC7-84ED-0C89-D7ECAE87E1C0}"/>
                </a:ext>
              </a:extLst>
            </p:cNvPr>
            <p:cNvSpPr>
              <a:spLocks/>
            </p:cNvSpPr>
            <p:nvPr/>
          </p:nvSpPr>
          <p:spPr bwMode="auto">
            <a:xfrm>
              <a:off x="3471863" y="544513"/>
              <a:ext cx="120650" cy="73025"/>
            </a:xfrm>
            <a:custGeom>
              <a:avLst/>
              <a:gdLst>
                <a:gd name="T0" fmla="*/ 23 w 76"/>
                <a:gd name="T1" fmla="*/ 0 h 46"/>
                <a:gd name="T2" fmla="*/ 23 w 76"/>
                <a:gd name="T3" fmla="*/ 0 h 46"/>
                <a:gd name="T4" fmla="*/ 23 w 76"/>
                <a:gd name="T5" fmla="*/ 0 h 46"/>
                <a:gd name="T6" fmla="*/ 3 w 76"/>
                <a:gd name="T7" fmla="*/ 0 h 46"/>
                <a:gd name="T8" fmla="*/ 3 w 76"/>
                <a:gd name="T9" fmla="*/ 0 h 46"/>
                <a:gd name="T10" fmla="*/ 0 w 76"/>
                <a:gd name="T11" fmla="*/ 0 h 46"/>
                <a:gd name="T12" fmla="*/ 0 w 76"/>
                <a:gd name="T13" fmla="*/ 0 h 46"/>
                <a:gd name="T14" fmla="*/ 3 w 76"/>
                <a:gd name="T15" fmla="*/ 4 h 46"/>
                <a:gd name="T16" fmla="*/ 3 w 76"/>
                <a:gd name="T17" fmla="*/ 4 h 46"/>
                <a:gd name="T18" fmla="*/ 4 w 76"/>
                <a:gd name="T19" fmla="*/ 6 h 46"/>
                <a:gd name="T20" fmla="*/ 4 w 76"/>
                <a:gd name="T21" fmla="*/ 6 h 46"/>
                <a:gd name="T22" fmla="*/ 9 w 76"/>
                <a:gd name="T23" fmla="*/ 12 h 46"/>
                <a:gd name="T24" fmla="*/ 9 w 76"/>
                <a:gd name="T25" fmla="*/ 12 h 46"/>
                <a:gd name="T26" fmla="*/ 11 w 76"/>
                <a:gd name="T27" fmla="*/ 15 h 46"/>
                <a:gd name="T28" fmla="*/ 11 w 76"/>
                <a:gd name="T29" fmla="*/ 15 h 46"/>
                <a:gd name="T30" fmla="*/ 15 w 76"/>
                <a:gd name="T31" fmla="*/ 18 h 46"/>
                <a:gd name="T32" fmla="*/ 15 w 76"/>
                <a:gd name="T33" fmla="*/ 18 h 46"/>
                <a:gd name="T34" fmla="*/ 19 w 76"/>
                <a:gd name="T35" fmla="*/ 22 h 46"/>
                <a:gd name="T36" fmla="*/ 19 w 76"/>
                <a:gd name="T37" fmla="*/ 22 h 46"/>
                <a:gd name="T38" fmla="*/ 23 w 76"/>
                <a:gd name="T39" fmla="*/ 25 h 46"/>
                <a:gd name="T40" fmla="*/ 23 w 76"/>
                <a:gd name="T41" fmla="*/ 25 h 46"/>
                <a:gd name="T42" fmla="*/ 25 w 76"/>
                <a:gd name="T43" fmla="*/ 27 h 46"/>
                <a:gd name="T44" fmla="*/ 25 w 76"/>
                <a:gd name="T45" fmla="*/ 27 h 46"/>
                <a:gd name="T46" fmla="*/ 30 w 76"/>
                <a:gd name="T47" fmla="*/ 31 h 46"/>
                <a:gd name="T48" fmla="*/ 30 w 76"/>
                <a:gd name="T49" fmla="*/ 31 h 46"/>
                <a:gd name="T50" fmla="*/ 34 w 76"/>
                <a:gd name="T51" fmla="*/ 32 h 46"/>
                <a:gd name="T52" fmla="*/ 34 w 76"/>
                <a:gd name="T53" fmla="*/ 32 h 46"/>
                <a:gd name="T54" fmla="*/ 40 w 76"/>
                <a:gd name="T55" fmla="*/ 36 h 46"/>
                <a:gd name="T56" fmla="*/ 40 w 76"/>
                <a:gd name="T57" fmla="*/ 36 h 46"/>
                <a:gd name="T58" fmla="*/ 42 w 76"/>
                <a:gd name="T59" fmla="*/ 37 h 46"/>
                <a:gd name="T60" fmla="*/ 42 w 76"/>
                <a:gd name="T61" fmla="*/ 37 h 46"/>
                <a:gd name="T62" fmla="*/ 47 w 76"/>
                <a:gd name="T63" fmla="*/ 39 h 46"/>
                <a:gd name="T64" fmla="*/ 47 w 76"/>
                <a:gd name="T65" fmla="*/ 39 h 46"/>
                <a:gd name="T66" fmla="*/ 51 w 76"/>
                <a:gd name="T67" fmla="*/ 41 h 46"/>
                <a:gd name="T68" fmla="*/ 51 w 76"/>
                <a:gd name="T69" fmla="*/ 41 h 46"/>
                <a:gd name="T70" fmla="*/ 57 w 76"/>
                <a:gd name="T71" fmla="*/ 42 h 46"/>
                <a:gd name="T72" fmla="*/ 57 w 76"/>
                <a:gd name="T73" fmla="*/ 42 h 46"/>
                <a:gd name="T74" fmla="*/ 60 w 76"/>
                <a:gd name="T75" fmla="*/ 43 h 46"/>
                <a:gd name="T76" fmla="*/ 60 w 76"/>
                <a:gd name="T77" fmla="*/ 43 h 46"/>
                <a:gd name="T78" fmla="*/ 67 w 76"/>
                <a:gd name="T79" fmla="*/ 44 h 46"/>
                <a:gd name="T80" fmla="*/ 67 w 76"/>
                <a:gd name="T81" fmla="*/ 44 h 46"/>
                <a:gd name="T82" fmla="*/ 71 w 76"/>
                <a:gd name="T83" fmla="*/ 46 h 46"/>
                <a:gd name="T84" fmla="*/ 71 w 76"/>
                <a:gd name="T85" fmla="*/ 46 h 46"/>
                <a:gd name="T86" fmla="*/ 76 w 76"/>
                <a:gd name="T87" fmla="*/ 46 h 46"/>
                <a:gd name="T88" fmla="*/ 76 w 76"/>
                <a:gd name="T89" fmla="*/ 46 h 46"/>
                <a:gd name="T90" fmla="*/ 73 w 76"/>
                <a:gd name="T91" fmla="*/ 34 h 46"/>
                <a:gd name="T92" fmla="*/ 73 w 76"/>
                <a:gd name="T93" fmla="*/ 34 h 46"/>
                <a:gd name="T94" fmla="*/ 58 w 76"/>
                <a:gd name="T95" fmla="*/ 30 h 46"/>
                <a:gd name="T96" fmla="*/ 45 w 76"/>
                <a:gd name="T97" fmla="*/ 21 h 46"/>
                <a:gd name="T98" fmla="*/ 34 w 76"/>
                <a:gd name="T99" fmla="*/ 11 h 46"/>
                <a:gd name="T100" fmla="*/ 23 w 76"/>
                <a:gd name="T101" fmla="*/ 0 h 46"/>
                <a:gd name="T102" fmla="*/ 23 w 76"/>
                <a:gd name="T10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 h="46">
                  <a:moveTo>
                    <a:pt x="23" y="0"/>
                  </a:moveTo>
                  <a:lnTo>
                    <a:pt x="23" y="0"/>
                  </a:lnTo>
                  <a:lnTo>
                    <a:pt x="23" y="0"/>
                  </a:lnTo>
                  <a:lnTo>
                    <a:pt x="3" y="0"/>
                  </a:lnTo>
                  <a:lnTo>
                    <a:pt x="3" y="0"/>
                  </a:lnTo>
                  <a:lnTo>
                    <a:pt x="0" y="0"/>
                  </a:lnTo>
                  <a:lnTo>
                    <a:pt x="0" y="0"/>
                  </a:lnTo>
                  <a:lnTo>
                    <a:pt x="3" y="4"/>
                  </a:lnTo>
                  <a:lnTo>
                    <a:pt x="3" y="4"/>
                  </a:lnTo>
                  <a:lnTo>
                    <a:pt x="4" y="6"/>
                  </a:lnTo>
                  <a:lnTo>
                    <a:pt x="4" y="6"/>
                  </a:lnTo>
                  <a:lnTo>
                    <a:pt x="9" y="12"/>
                  </a:lnTo>
                  <a:lnTo>
                    <a:pt x="9" y="12"/>
                  </a:lnTo>
                  <a:lnTo>
                    <a:pt x="11" y="15"/>
                  </a:lnTo>
                  <a:lnTo>
                    <a:pt x="11" y="15"/>
                  </a:lnTo>
                  <a:lnTo>
                    <a:pt x="15" y="18"/>
                  </a:lnTo>
                  <a:lnTo>
                    <a:pt x="15" y="18"/>
                  </a:lnTo>
                  <a:lnTo>
                    <a:pt x="19" y="22"/>
                  </a:lnTo>
                  <a:lnTo>
                    <a:pt x="19" y="22"/>
                  </a:lnTo>
                  <a:lnTo>
                    <a:pt x="23" y="25"/>
                  </a:lnTo>
                  <a:lnTo>
                    <a:pt x="23" y="25"/>
                  </a:lnTo>
                  <a:lnTo>
                    <a:pt x="25" y="27"/>
                  </a:lnTo>
                  <a:lnTo>
                    <a:pt x="25" y="27"/>
                  </a:lnTo>
                  <a:lnTo>
                    <a:pt x="30" y="31"/>
                  </a:lnTo>
                  <a:lnTo>
                    <a:pt x="30" y="31"/>
                  </a:lnTo>
                  <a:lnTo>
                    <a:pt x="34" y="32"/>
                  </a:lnTo>
                  <a:lnTo>
                    <a:pt x="34" y="32"/>
                  </a:lnTo>
                  <a:lnTo>
                    <a:pt x="40" y="36"/>
                  </a:lnTo>
                  <a:lnTo>
                    <a:pt x="40" y="36"/>
                  </a:lnTo>
                  <a:lnTo>
                    <a:pt x="42" y="37"/>
                  </a:lnTo>
                  <a:lnTo>
                    <a:pt x="42" y="37"/>
                  </a:lnTo>
                  <a:lnTo>
                    <a:pt x="47" y="39"/>
                  </a:lnTo>
                  <a:lnTo>
                    <a:pt x="47" y="39"/>
                  </a:lnTo>
                  <a:lnTo>
                    <a:pt x="51" y="41"/>
                  </a:lnTo>
                  <a:lnTo>
                    <a:pt x="51" y="41"/>
                  </a:lnTo>
                  <a:lnTo>
                    <a:pt x="57" y="42"/>
                  </a:lnTo>
                  <a:lnTo>
                    <a:pt x="57" y="42"/>
                  </a:lnTo>
                  <a:lnTo>
                    <a:pt x="60" y="43"/>
                  </a:lnTo>
                  <a:lnTo>
                    <a:pt x="60" y="43"/>
                  </a:lnTo>
                  <a:lnTo>
                    <a:pt x="67" y="44"/>
                  </a:lnTo>
                  <a:lnTo>
                    <a:pt x="67" y="44"/>
                  </a:lnTo>
                  <a:lnTo>
                    <a:pt x="71" y="46"/>
                  </a:lnTo>
                  <a:lnTo>
                    <a:pt x="71" y="46"/>
                  </a:lnTo>
                  <a:lnTo>
                    <a:pt x="76" y="46"/>
                  </a:lnTo>
                  <a:lnTo>
                    <a:pt x="76" y="46"/>
                  </a:lnTo>
                  <a:lnTo>
                    <a:pt x="73" y="34"/>
                  </a:lnTo>
                  <a:lnTo>
                    <a:pt x="73" y="34"/>
                  </a:lnTo>
                  <a:lnTo>
                    <a:pt x="58" y="30"/>
                  </a:lnTo>
                  <a:lnTo>
                    <a:pt x="45" y="21"/>
                  </a:lnTo>
                  <a:lnTo>
                    <a:pt x="34" y="11"/>
                  </a:lnTo>
                  <a:lnTo>
                    <a:pt x="23" y="0"/>
                  </a:lnTo>
                  <a:lnTo>
                    <a:pt x="23"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Tree>
    <p:extLst>
      <p:ext uri="{BB962C8B-B14F-4D97-AF65-F5344CB8AC3E}">
        <p14:creationId xmlns:p14="http://schemas.microsoft.com/office/powerpoint/2010/main" val="1353762516"/>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Elemento grafico 6">
            <a:extLst>
              <a:ext uri="{FF2B5EF4-FFF2-40B4-BE49-F238E27FC236}">
                <a16:creationId xmlns:a16="http://schemas.microsoft.com/office/drawing/2014/main" id="{ACA764E1-566F-48B8-A0F4-21E6670E832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140551" y="2425551"/>
            <a:ext cx="2006899" cy="2006899"/>
          </a:xfrm>
          <a:prstGeom prst="rect">
            <a:avLst/>
          </a:prstGeom>
        </p:spPr>
      </p:pic>
      <p:sp>
        <p:nvSpPr>
          <p:cNvPr id="3" name="Rettangolo con angoli arrotondati 2">
            <a:extLst>
              <a:ext uri="{FF2B5EF4-FFF2-40B4-BE49-F238E27FC236}">
                <a16:creationId xmlns:a16="http://schemas.microsoft.com/office/drawing/2014/main" id="{D3930FD5-2A12-426D-937C-99961F70DEFA}"/>
              </a:ext>
            </a:extLst>
          </p:cNvPr>
          <p:cNvSpPr/>
          <p:nvPr/>
        </p:nvSpPr>
        <p:spPr>
          <a:xfrm>
            <a:off x="338328" y="3780674"/>
            <a:ext cx="4572000" cy="301752"/>
          </a:xfrm>
          <a:prstGeom prst="round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900" b="0" i="0" u="none" strike="noStrike" kern="1200" cap="none" spc="0" normalizeH="0" baseline="0" noProof="0">
              <a:ln>
                <a:noFill/>
              </a:ln>
              <a:solidFill>
                <a:prstClr val="white"/>
              </a:solidFill>
              <a:effectLst/>
              <a:uLnTx/>
              <a:uFillTx/>
              <a:latin typeface="Arial"/>
              <a:ea typeface="+mn-ea"/>
              <a:cs typeface="+mn-cs"/>
            </a:endParaRPr>
          </a:p>
        </p:txBody>
      </p:sp>
      <p:sp>
        <p:nvSpPr>
          <p:cNvPr id="8" name="Pentagono 88">
            <a:extLst>
              <a:ext uri="{FF2B5EF4-FFF2-40B4-BE49-F238E27FC236}">
                <a16:creationId xmlns:a16="http://schemas.microsoft.com/office/drawing/2014/main" id="{3AFF9277-D155-498F-BDDB-2AD7263FAFB2}"/>
              </a:ext>
            </a:extLst>
          </p:cNvPr>
          <p:cNvSpPr/>
          <p:nvPr/>
        </p:nvSpPr>
        <p:spPr>
          <a:xfrm>
            <a:off x="357982" y="2044553"/>
            <a:ext cx="5623718" cy="2376114"/>
          </a:xfrm>
          <a:prstGeom prst="rect">
            <a:avLst/>
          </a:prstGeom>
          <a:noFill/>
          <a:ln w="12700" cap="flat" cmpd="sng" algn="ctr">
            <a:noFill/>
            <a:prstDash val="solid"/>
            <a:miter lim="800000"/>
          </a:ln>
          <a:effectLst/>
        </p:spPr>
        <p:txBody>
          <a:bodyPr lIns="144000" tIns="0" rIns="0" bIns="0" rtlCol="0" anchor="ctr"/>
          <a:lstStyle/>
          <a:p>
            <a:pPr marL="0" marR="0" lvl="0" indent="0" algn="just" defTabSz="914400" rtl="0" eaLnBrk="1" fontAlgn="base" latinLnBrk="0" hangingPunct="1">
              <a:lnSpc>
                <a:spcPct val="120000"/>
              </a:lnSpc>
              <a:spcBef>
                <a:spcPct val="0"/>
              </a:spcBef>
              <a:spcAft>
                <a:spcPts val="1200"/>
              </a:spcAft>
              <a:buClrTx/>
              <a:buSzTx/>
              <a:buFontTx/>
              <a:buNone/>
              <a:tabLst/>
              <a:defRPr/>
            </a:pPr>
            <a:r>
              <a:rPr kumimoji="0" lang="it-IT" sz="2200" b="1" i="0" u="none" strike="noStrike" kern="0" cap="small" spc="0" normalizeH="0" baseline="0" noProof="0" dirty="0">
                <a:ln>
                  <a:noFill/>
                </a:ln>
                <a:solidFill>
                  <a:srgbClr val="049EE2"/>
                </a:solidFill>
                <a:effectLst/>
                <a:uLnTx/>
                <a:uFillTx/>
                <a:latin typeface="Open Sans Light"/>
                <a:ea typeface="Open Sans Light"/>
                <a:cs typeface="Open Sans Light"/>
              </a:rPr>
              <a:t>Agenda</a:t>
            </a:r>
          </a:p>
          <a:p>
            <a:pPr marL="285750" marR="0" lvl="0" indent="-285750" algn="just" defTabSz="914400" rtl="0" eaLnBrk="1" fontAlgn="base" latinLnBrk="0" hangingPunct="1">
              <a:lnSpc>
                <a:spcPct val="120000"/>
              </a:lnSpc>
              <a:spcBef>
                <a:spcPct val="0"/>
              </a:spcBef>
              <a:spcAft>
                <a:spcPts val="1200"/>
              </a:spcAft>
              <a:buClrTx/>
              <a:buSzTx/>
              <a:buFont typeface="Wingdings" panose="05000000000000000000" pitchFamily="2" charset="2"/>
              <a:buChar char="ü"/>
              <a:tabLst/>
              <a:defRPr/>
            </a:pPr>
            <a:r>
              <a:rPr kumimoji="0" lang="it-IT" sz="1400" i="0" u="none" strike="noStrike" kern="0" cap="none" spc="0" normalizeH="0" baseline="0" noProof="0" dirty="0">
                <a:ln>
                  <a:noFill/>
                </a:ln>
                <a:solidFill>
                  <a:prstClr val="black"/>
                </a:solidFill>
                <a:effectLst/>
                <a:uLnTx/>
                <a:uFillTx/>
                <a:latin typeface="Open Sans Light"/>
                <a:ea typeface="Open Sans Light"/>
                <a:cs typeface="Open Sans Light"/>
              </a:rPr>
              <a:t>Ruolo del docente tutor e del docente orientatore</a:t>
            </a:r>
          </a:p>
          <a:p>
            <a:pPr marL="285750" marR="0" lvl="0" indent="-285750" algn="just" defTabSz="914400" rtl="0" eaLnBrk="1" fontAlgn="base" latinLnBrk="0" hangingPunct="1">
              <a:lnSpc>
                <a:spcPct val="120000"/>
              </a:lnSpc>
              <a:spcBef>
                <a:spcPct val="0"/>
              </a:spcBef>
              <a:spcAft>
                <a:spcPts val="1200"/>
              </a:spcAft>
              <a:buClrTx/>
              <a:buSzTx/>
              <a:buFont typeface="Wingdings" panose="05000000000000000000" pitchFamily="2" charset="2"/>
              <a:buChar char="ü"/>
              <a:tabLst/>
              <a:defRPr/>
            </a:pPr>
            <a:r>
              <a:rPr kumimoji="0" lang="it-IT" sz="1400" i="0" u="none" strike="noStrike" kern="0" cap="none" spc="0" normalizeH="0" baseline="0" noProof="0" dirty="0">
                <a:ln>
                  <a:noFill/>
                </a:ln>
                <a:solidFill>
                  <a:prstClr val="black"/>
                </a:solidFill>
                <a:effectLst/>
                <a:uLnTx/>
                <a:uFillTx/>
                <a:latin typeface="Open Sans Light"/>
                <a:ea typeface="Open Sans Light"/>
                <a:cs typeface="Open Sans Light"/>
              </a:rPr>
              <a:t>Modalità di nomina e attivazione dell’incarico</a:t>
            </a:r>
          </a:p>
          <a:p>
            <a:pPr marL="285750" marR="0" lvl="0" indent="-285750" algn="just" defTabSz="914400" rtl="0" eaLnBrk="1" fontAlgn="base" latinLnBrk="0" hangingPunct="1">
              <a:lnSpc>
                <a:spcPct val="120000"/>
              </a:lnSpc>
              <a:spcBef>
                <a:spcPct val="0"/>
              </a:spcBef>
              <a:spcAft>
                <a:spcPts val="1200"/>
              </a:spcAft>
              <a:buClrTx/>
              <a:buSzTx/>
              <a:buFont typeface="Wingdings" panose="05000000000000000000" pitchFamily="2" charset="2"/>
              <a:buChar char="ü"/>
              <a:tabLst/>
              <a:defRPr/>
            </a:pPr>
            <a:r>
              <a:rPr kumimoji="0" lang="it-IT" sz="1400" i="0" u="none" strike="noStrike" kern="0" cap="none" spc="0" normalizeH="0" baseline="0" noProof="0" dirty="0">
                <a:ln>
                  <a:noFill/>
                </a:ln>
                <a:solidFill>
                  <a:prstClr val="black"/>
                </a:solidFill>
                <a:effectLst/>
                <a:uLnTx/>
                <a:uFillTx/>
                <a:latin typeface="Open Sans Light"/>
                <a:ea typeface="Open Sans Light"/>
                <a:cs typeface="Open Sans Light"/>
              </a:rPr>
              <a:t>Principali richieste di chiarimento delle Scuole</a:t>
            </a:r>
          </a:p>
          <a:p>
            <a:pPr marL="285750" indent="-285750" algn="just" fontAlgn="base">
              <a:lnSpc>
                <a:spcPct val="120000"/>
              </a:lnSpc>
              <a:spcBef>
                <a:spcPct val="0"/>
              </a:spcBef>
              <a:spcAft>
                <a:spcPts val="1200"/>
              </a:spcAft>
              <a:buFont typeface="Wingdings" panose="05000000000000000000" pitchFamily="2" charset="2"/>
              <a:buChar char="ü"/>
              <a:defRPr/>
            </a:pPr>
            <a:r>
              <a:rPr kumimoji="0" lang="it-IT" sz="14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NICA: abilitazione e </a:t>
            </a:r>
            <a:r>
              <a:rPr kumimoji="0" lang="it-IT" sz="1400" b="1" i="0" u="none" strike="noStrike" kern="0" cap="none" spc="0" normalizeH="0" baseline="0" noProof="0" dirty="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un</a:t>
            </a:r>
            <a:r>
              <a:rPr lang="it-IT" sz="1400" b="1" kern="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zioni</a:t>
            </a:r>
          </a:p>
          <a:p>
            <a:pPr marL="285750" indent="-285750" algn="just" fontAlgn="base">
              <a:lnSpc>
                <a:spcPct val="120000"/>
              </a:lnSpc>
              <a:spcBef>
                <a:spcPct val="0"/>
              </a:spcBef>
              <a:spcAft>
                <a:spcPts val="1200"/>
              </a:spcAft>
              <a:buFont typeface="Wingdings" panose="05000000000000000000" pitchFamily="2" charset="2"/>
              <a:buChar char="ü"/>
              <a:defRPr/>
            </a:pPr>
            <a:r>
              <a:rPr lang="it-IT" sz="1400" kern="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onclusioni</a:t>
            </a:r>
          </a:p>
        </p:txBody>
      </p:sp>
      <p:pic>
        <p:nvPicPr>
          <p:cNvPr id="10" name="Picture 2">
            <a:extLst>
              <a:ext uri="{FF2B5EF4-FFF2-40B4-BE49-F238E27FC236}">
                <a16:creationId xmlns:a16="http://schemas.microsoft.com/office/drawing/2014/main" id="{624CC880-2EE6-4103-8334-184DB2FA6C96}"/>
              </a:ext>
            </a:extLst>
          </p:cNvPr>
          <p:cNvPicPr>
            <a:picLocks noChangeAspect="1"/>
          </p:cNvPicPr>
          <p:nvPr/>
        </p:nvPicPr>
        <p:blipFill rotWithShape="1">
          <a:blip r:embed="rId5"/>
          <a:srcRect l="50937"/>
          <a:stretch/>
        </p:blipFill>
        <p:spPr>
          <a:xfrm>
            <a:off x="6210300" y="0"/>
            <a:ext cx="5981700" cy="6858000"/>
          </a:xfrm>
          <a:prstGeom prst="rect">
            <a:avLst/>
          </a:prstGeom>
          <a:effectLst>
            <a:outerShdw blurRad="50800" dist="38100" dir="10800000" algn="r" rotWithShape="0">
              <a:prstClr val="black">
                <a:alpha val="40000"/>
              </a:prstClr>
            </a:outerShdw>
          </a:effectLst>
        </p:spPr>
      </p:pic>
    </p:spTree>
    <p:extLst>
      <p:ext uri="{BB962C8B-B14F-4D97-AF65-F5344CB8AC3E}">
        <p14:creationId xmlns:p14="http://schemas.microsoft.com/office/powerpoint/2010/main" val="746486142"/>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contenuto 2">
            <a:extLst>
              <a:ext uri="{FF2B5EF4-FFF2-40B4-BE49-F238E27FC236}">
                <a16:creationId xmlns:a16="http://schemas.microsoft.com/office/drawing/2014/main" id="{64AB93C8-1727-DB47-5FE1-4D4FD42F3F1A}"/>
              </a:ext>
            </a:extLst>
          </p:cNvPr>
          <p:cNvSpPr>
            <a:spLocks noGrp="1"/>
          </p:cNvSpPr>
          <p:nvPr>
            <p:ph sz="half" idx="1"/>
          </p:nvPr>
        </p:nvSpPr>
        <p:spPr>
          <a:xfrm>
            <a:off x="7732572" y="2227620"/>
            <a:ext cx="3957470" cy="2315914"/>
          </a:xfrm>
        </p:spPr>
        <p:txBody>
          <a:bodyPr anchor="ctr">
            <a:normAutofit/>
          </a:bodyPr>
          <a:lstStyle/>
          <a:p>
            <a:pPr marL="342900" indent="-342900" algn="just">
              <a:buFont typeface="+mj-lt"/>
              <a:buAutoNum type="arabicPeriod"/>
            </a:pPr>
            <a:r>
              <a:rPr lang="it-IT" sz="1400" dirty="0">
                <a:latin typeface="Open Sans Light" panose="020B0306030504020204" pitchFamily="34" charset="0"/>
                <a:ea typeface="Open Sans Light" panose="020B0306030504020204" pitchFamily="34" charset="0"/>
                <a:cs typeface="Open Sans Light" panose="020B0306030504020204" pitchFamily="34" charset="0"/>
              </a:rPr>
              <a:t>Entrare nella sezione «E-Portfolio / Curriculum studente» del SIDI, e cliccare su «Associazione docente tutor»;</a:t>
            </a:r>
          </a:p>
          <a:p>
            <a:pPr marL="342900" indent="-342900" algn="just">
              <a:buFont typeface="+mj-lt"/>
              <a:buAutoNum type="arabicPeriod"/>
            </a:pPr>
            <a:r>
              <a:rPr lang="it-IT" sz="1400" dirty="0">
                <a:latin typeface="Open Sans Light" panose="020B0306030504020204" pitchFamily="34" charset="0"/>
                <a:ea typeface="Open Sans Light" panose="020B0306030504020204" pitchFamily="34" charset="0"/>
                <a:cs typeface="Open Sans Light" panose="020B0306030504020204" pitchFamily="34" charset="0"/>
              </a:rPr>
              <a:t>Ricercare il docente tutor tramite codice fiscale o nome e cognome;</a:t>
            </a:r>
          </a:p>
          <a:p>
            <a:pPr marL="342900" indent="-342900" algn="just">
              <a:buFont typeface="+mj-lt"/>
              <a:buAutoNum type="arabicPeriod"/>
            </a:pPr>
            <a:r>
              <a:rPr lang="it-IT" sz="1400" dirty="0">
                <a:latin typeface="Open Sans Light" panose="020B0306030504020204" pitchFamily="34" charset="0"/>
                <a:ea typeface="Open Sans Light" panose="020B0306030504020204" pitchFamily="34" charset="0"/>
                <a:cs typeface="Open Sans Light" panose="020B0306030504020204" pitchFamily="34" charset="0"/>
              </a:rPr>
              <a:t>Associare uno o più studenti al docente tutor, cercando per anno di corso e classe di appartenenza.</a:t>
            </a:r>
          </a:p>
        </p:txBody>
      </p:sp>
      <p:sp>
        <p:nvSpPr>
          <p:cNvPr id="4" name="Rettangolo 2">
            <a:extLst>
              <a:ext uri="{FF2B5EF4-FFF2-40B4-BE49-F238E27FC236}">
                <a16:creationId xmlns:a16="http://schemas.microsoft.com/office/drawing/2014/main" id="{A4F943B0-49ED-AA36-4043-4058D2FB31C8}"/>
              </a:ext>
            </a:extLst>
          </p:cNvPr>
          <p:cNvSpPr>
            <a:spLocks noChangeArrowheads="1"/>
          </p:cNvSpPr>
          <p:nvPr>
            <p:custDataLst>
              <p:tags r:id="rId1"/>
            </p:custDataLst>
          </p:nvPr>
        </p:nvSpPr>
        <p:spPr bwMode="auto">
          <a:xfrm>
            <a:off x="426000" y="1123102"/>
            <a:ext cx="11340000" cy="908903"/>
          </a:xfrm>
          <a:prstGeom prst="rect">
            <a:avLst/>
          </a:prstGeom>
          <a:noFill/>
          <a:ln w="9525">
            <a:noFill/>
            <a:miter lim="800000"/>
            <a:headEnd/>
            <a:tailEnd/>
          </a:ln>
        </p:spPr>
        <p:txBody>
          <a:bodyPr wrap="square">
            <a:spAutoFit/>
          </a:bodyPr>
          <a:lstStyle/>
          <a:p>
            <a:pPr lvl="0" algn="just">
              <a:lnSpc>
                <a:spcPct val="130000"/>
              </a:lnSpc>
              <a:spcAft>
                <a:spcPts val="600"/>
              </a:spcAft>
              <a:defRPr/>
            </a:pPr>
            <a:r>
              <a:rPr kumimoji="0" lang="it-IT" sz="1400" b="0"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l personale amministrativo di segreteria scolastica </a:t>
            </a:r>
            <a:r>
              <a:rPr kumimoji="0" lang="it-IT" sz="1400" b="1"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registra le associazioni tra docenti tutor e studenti </a:t>
            </a:r>
            <a:r>
              <a:rPr kumimoji="0" lang="it-IT" sz="1400" b="0"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lle ultime tre classi della scuola secondaria di secondo grado. Di seguito sono descritti i passaggi da effettuare per abilitare correttamente i docenti tutor all’utilizzo della piattaforma UNICA, così come individuati all’interno dell’Allegato A alla nota prot. n. 2790 dell’11 ottobre 2023.</a:t>
            </a:r>
          </a:p>
        </p:txBody>
      </p:sp>
      <p:sp>
        <p:nvSpPr>
          <p:cNvPr id="8" name="Rettangolo 7">
            <a:extLst>
              <a:ext uri="{FF2B5EF4-FFF2-40B4-BE49-F238E27FC236}">
                <a16:creationId xmlns:a16="http://schemas.microsoft.com/office/drawing/2014/main" id="{D4F33398-A306-DF27-BCA0-ED6FBD75F4EC}"/>
              </a:ext>
            </a:extLst>
          </p:cNvPr>
          <p:cNvSpPr/>
          <p:nvPr/>
        </p:nvSpPr>
        <p:spPr>
          <a:xfrm>
            <a:off x="426000" y="5427406"/>
            <a:ext cx="11340000" cy="68276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i="1" dirty="0" err="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re</a:t>
            </a:r>
            <a:r>
              <a:rPr lang="it-IT" sz="1400" i="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equisito necessario all’associazione del docente tutor agli studenti è la </a:t>
            </a:r>
            <a:r>
              <a:rPr lang="it-IT" sz="1400" b="1" i="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onclusione della formazione dedicata </a:t>
            </a:r>
            <a:r>
              <a:rPr lang="it-IT" sz="1400" i="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 l’</a:t>
            </a:r>
            <a:r>
              <a:rPr lang="it-IT" sz="1400" b="1" i="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ssociazione del docente ad almeno una classe </a:t>
            </a:r>
            <a:r>
              <a:rPr lang="it-IT" sz="1400" i="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ell’Istituzione scolastica</a:t>
            </a:r>
          </a:p>
        </p:txBody>
      </p:sp>
      <p:sp>
        <p:nvSpPr>
          <p:cNvPr id="10" name="Ovale 9">
            <a:extLst>
              <a:ext uri="{FF2B5EF4-FFF2-40B4-BE49-F238E27FC236}">
                <a16:creationId xmlns:a16="http://schemas.microsoft.com/office/drawing/2014/main" id="{1D3D983E-5B41-F019-0EF0-07A6D5C4F50F}"/>
              </a:ext>
            </a:extLst>
          </p:cNvPr>
          <p:cNvSpPr/>
          <p:nvPr/>
        </p:nvSpPr>
        <p:spPr>
          <a:xfrm>
            <a:off x="7694069" y="2454035"/>
            <a:ext cx="410401" cy="417949"/>
          </a:xfrm>
          <a:prstGeom prst="ellipse">
            <a:avLst/>
          </a:prstGeom>
          <a:solidFill>
            <a:srgbClr val="109D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a:latin typeface="Open Sans Light" panose="020B0306030504020204" pitchFamily="34" charset="0"/>
                <a:ea typeface="Open Sans Light" panose="020B0306030504020204" pitchFamily="34" charset="0"/>
                <a:cs typeface="Open Sans Light" panose="020B0306030504020204" pitchFamily="34" charset="0"/>
              </a:rPr>
              <a:t>1</a:t>
            </a:r>
          </a:p>
        </p:txBody>
      </p:sp>
      <p:sp>
        <p:nvSpPr>
          <p:cNvPr id="11" name="Ovale 10">
            <a:extLst>
              <a:ext uri="{FF2B5EF4-FFF2-40B4-BE49-F238E27FC236}">
                <a16:creationId xmlns:a16="http://schemas.microsoft.com/office/drawing/2014/main" id="{C22F6776-538A-FD0B-C0CC-4330F419EB01}"/>
              </a:ext>
            </a:extLst>
          </p:cNvPr>
          <p:cNvSpPr/>
          <p:nvPr/>
        </p:nvSpPr>
        <p:spPr>
          <a:xfrm>
            <a:off x="7694069" y="3114773"/>
            <a:ext cx="410401" cy="417949"/>
          </a:xfrm>
          <a:prstGeom prst="ellipse">
            <a:avLst/>
          </a:prstGeom>
          <a:solidFill>
            <a:srgbClr val="109D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a:latin typeface="Open Sans Light" panose="020B0306030504020204" pitchFamily="34" charset="0"/>
                <a:ea typeface="Open Sans Light" panose="020B0306030504020204" pitchFamily="34" charset="0"/>
                <a:cs typeface="Open Sans Light" panose="020B0306030504020204" pitchFamily="34" charset="0"/>
              </a:rPr>
              <a:t>2</a:t>
            </a:r>
          </a:p>
        </p:txBody>
      </p:sp>
      <p:sp>
        <p:nvSpPr>
          <p:cNvPr id="12" name="Ovale 11">
            <a:extLst>
              <a:ext uri="{FF2B5EF4-FFF2-40B4-BE49-F238E27FC236}">
                <a16:creationId xmlns:a16="http://schemas.microsoft.com/office/drawing/2014/main" id="{6EB7563D-7BF8-F7D9-A112-8221B737B322}"/>
              </a:ext>
            </a:extLst>
          </p:cNvPr>
          <p:cNvSpPr/>
          <p:nvPr/>
        </p:nvSpPr>
        <p:spPr>
          <a:xfrm>
            <a:off x="7694069" y="3670834"/>
            <a:ext cx="410401" cy="417949"/>
          </a:xfrm>
          <a:prstGeom prst="ellipse">
            <a:avLst/>
          </a:prstGeom>
          <a:solidFill>
            <a:srgbClr val="109D9B"/>
          </a:solidFill>
          <a:ln>
            <a:noFill/>
          </a:ln>
          <a:effectLst>
            <a:outerShdw blurRad="50800" dist="38100" dir="2700000" algn="tl" rotWithShape="0">
              <a:prstClr val="black">
                <a:alpha val="40000"/>
              </a:prstClr>
            </a:outerShdw>
          </a:effectLst>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200" b="1">
                <a:latin typeface="Open Sans Light" panose="020B0306030504020204" pitchFamily="34" charset="0"/>
                <a:ea typeface="Open Sans Light" panose="020B0306030504020204" pitchFamily="34" charset="0"/>
                <a:cs typeface="Open Sans Light" panose="020B0306030504020204" pitchFamily="34" charset="0"/>
              </a:rPr>
              <a:t>3</a:t>
            </a:r>
          </a:p>
        </p:txBody>
      </p:sp>
      <p:grpSp>
        <p:nvGrpSpPr>
          <p:cNvPr id="9" name="Gruppo 8">
            <a:extLst>
              <a:ext uri="{FF2B5EF4-FFF2-40B4-BE49-F238E27FC236}">
                <a16:creationId xmlns:a16="http://schemas.microsoft.com/office/drawing/2014/main" id="{0D361DBE-1584-10C4-E421-0048BAA6D685}"/>
              </a:ext>
            </a:extLst>
          </p:cNvPr>
          <p:cNvGrpSpPr/>
          <p:nvPr/>
        </p:nvGrpSpPr>
        <p:grpSpPr>
          <a:xfrm>
            <a:off x="426000" y="2289725"/>
            <a:ext cx="6993290" cy="2879960"/>
            <a:chOff x="592710" y="2227620"/>
            <a:chExt cx="6493733" cy="2316793"/>
          </a:xfrm>
        </p:grpSpPr>
        <p:pic>
          <p:nvPicPr>
            <p:cNvPr id="15" name="Immagine 14">
              <a:extLst>
                <a:ext uri="{FF2B5EF4-FFF2-40B4-BE49-F238E27FC236}">
                  <a16:creationId xmlns:a16="http://schemas.microsoft.com/office/drawing/2014/main" id="{5F1E1293-D5D7-240E-73D6-6C0CBDCE574E}"/>
                </a:ext>
              </a:extLst>
            </p:cNvPr>
            <p:cNvPicPr>
              <a:picLocks noChangeAspect="1"/>
            </p:cNvPicPr>
            <p:nvPr/>
          </p:nvPicPr>
          <p:blipFill>
            <a:blip r:embed="rId3"/>
            <a:stretch>
              <a:fillRect/>
            </a:stretch>
          </p:blipFill>
          <p:spPr>
            <a:xfrm>
              <a:off x="592710" y="2227620"/>
              <a:ext cx="6493733" cy="2316793"/>
            </a:xfrm>
            <a:prstGeom prst="rect">
              <a:avLst/>
            </a:prstGeom>
            <a:effectLst>
              <a:outerShdw blurRad="50800" dist="38100" dir="2700000" algn="tl" rotWithShape="0">
                <a:prstClr val="black">
                  <a:alpha val="40000"/>
                </a:prstClr>
              </a:outerShdw>
            </a:effectLst>
          </p:spPr>
        </p:pic>
        <p:sp>
          <p:nvSpPr>
            <p:cNvPr id="5" name="Rettangolo 4">
              <a:extLst>
                <a:ext uri="{FF2B5EF4-FFF2-40B4-BE49-F238E27FC236}">
                  <a16:creationId xmlns:a16="http://schemas.microsoft.com/office/drawing/2014/main" id="{46AAFA72-3AFA-52F0-0DAB-269101E5DBB6}"/>
                </a:ext>
              </a:extLst>
            </p:cNvPr>
            <p:cNvSpPr/>
            <p:nvPr/>
          </p:nvSpPr>
          <p:spPr>
            <a:xfrm>
              <a:off x="4458443" y="2227620"/>
              <a:ext cx="2628000" cy="286882"/>
            </a:xfrm>
            <a:prstGeom prst="rect">
              <a:avLst/>
            </a:prstGeom>
            <a:solidFill>
              <a:srgbClr val="00206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400" b="1" i="1">
                  <a:latin typeface="Open Sans Light" panose="020B0306030504020204" pitchFamily="34" charset="0"/>
                  <a:ea typeface="Open Sans Light" panose="020B0306030504020204" pitchFamily="34" charset="0"/>
                  <a:cs typeface="Open Sans Light" panose="020B0306030504020204" pitchFamily="34" charset="0"/>
                </a:rPr>
                <a:t>Esemplificativo</a:t>
              </a:r>
            </a:p>
          </p:txBody>
        </p:sp>
      </p:grpSp>
      <p:sp>
        <p:nvSpPr>
          <p:cNvPr id="13" name="Titolo 1">
            <a:extLst>
              <a:ext uri="{FF2B5EF4-FFF2-40B4-BE49-F238E27FC236}">
                <a16:creationId xmlns:a16="http://schemas.microsoft.com/office/drawing/2014/main" id="{17B842DB-036F-4E28-EE05-6AEB61DEC541}"/>
              </a:ext>
            </a:extLst>
          </p:cNvPr>
          <p:cNvSpPr>
            <a:spLocks noGrp="1"/>
          </p:cNvSpPr>
          <p:nvPr>
            <p:ph type="title"/>
          </p:nvPr>
        </p:nvSpPr>
        <p:spPr>
          <a:xfrm>
            <a:off x="228600" y="176586"/>
            <a:ext cx="11124959" cy="659634"/>
          </a:xfrm>
        </p:spPr>
        <p:txBody>
          <a:bodyPr anchor="ctr">
            <a:noAutofit/>
          </a:bodyPr>
          <a:lstStyle/>
          <a:p>
            <a:r>
              <a:rPr lang="it-IT" sz="2200" b="1">
                <a:latin typeface="Open Sans"/>
                <a:ea typeface="Open Sans"/>
                <a:cs typeface="Open Sans"/>
              </a:rPr>
              <a:t>UNICA: abilitazione e funzioni</a:t>
            </a:r>
            <a:br>
              <a:rPr lang="it-IT" sz="2200" b="1">
                <a:latin typeface="Open Sans"/>
                <a:ea typeface="Open Sans"/>
                <a:cs typeface="Open Sans"/>
              </a:rPr>
            </a:br>
            <a:r>
              <a:rPr lang="it-IT" sz="2000">
                <a:latin typeface="Open Sans"/>
                <a:ea typeface="Open Sans"/>
                <a:cs typeface="Open Sans"/>
              </a:rPr>
              <a:t>Abilitazione dei docenti tutor</a:t>
            </a:r>
            <a:endParaRPr lang="it-IT" sz="2200" b="1">
              <a:latin typeface="Open Sans"/>
              <a:ea typeface="Open Sans"/>
              <a:cs typeface="Open Sans"/>
            </a:endParaRPr>
          </a:p>
        </p:txBody>
      </p:sp>
      <p:sp>
        <p:nvSpPr>
          <p:cNvPr id="7" name="Segnaposto numero diapositiva 6">
            <a:extLst>
              <a:ext uri="{FF2B5EF4-FFF2-40B4-BE49-F238E27FC236}">
                <a16:creationId xmlns:a16="http://schemas.microsoft.com/office/drawing/2014/main" id="{D6A62341-6C48-667A-1587-D4EE7564093D}"/>
              </a:ext>
            </a:extLst>
          </p:cNvPr>
          <p:cNvSpPr>
            <a:spLocks noGrp="1"/>
          </p:cNvSpPr>
          <p:nvPr>
            <p:ph type="sldNum" sz="quarter" idx="12"/>
          </p:nvPr>
        </p:nvSpPr>
        <p:spPr/>
        <p:txBody>
          <a:bodyPr/>
          <a:lstStyle/>
          <a:p>
            <a:fld id="{00F0C1FD-41C3-4D85-8E51-9C56B45C685D}" type="slidenum">
              <a:rPr lang="it-IT" smtClean="0"/>
              <a:t>19</a:t>
            </a:fld>
            <a:endParaRPr lang="it-IT"/>
          </a:p>
        </p:txBody>
      </p:sp>
    </p:spTree>
    <p:extLst>
      <p:ext uri="{BB962C8B-B14F-4D97-AF65-F5344CB8AC3E}">
        <p14:creationId xmlns:p14="http://schemas.microsoft.com/office/powerpoint/2010/main" val="2520409664"/>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Elemento grafico 6">
            <a:extLst>
              <a:ext uri="{FF2B5EF4-FFF2-40B4-BE49-F238E27FC236}">
                <a16:creationId xmlns:a16="http://schemas.microsoft.com/office/drawing/2014/main" id="{ACA764E1-566F-48B8-A0F4-21E6670E832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140551" y="2425551"/>
            <a:ext cx="2006899" cy="2006899"/>
          </a:xfrm>
          <a:prstGeom prst="rect">
            <a:avLst/>
          </a:prstGeom>
        </p:spPr>
      </p:pic>
      <p:sp>
        <p:nvSpPr>
          <p:cNvPr id="3" name="Rettangolo con angoli arrotondati 2">
            <a:extLst>
              <a:ext uri="{FF2B5EF4-FFF2-40B4-BE49-F238E27FC236}">
                <a16:creationId xmlns:a16="http://schemas.microsoft.com/office/drawing/2014/main" id="{D3930FD5-2A12-426D-937C-99961F70DEFA}"/>
              </a:ext>
            </a:extLst>
          </p:cNvPr>
          <p:cNvSpPr/>
          <p:nvPr/>
        </p:nvSpPr>
        <p:spPr>
          <a:xfrm>
            <a:off x="338328" y="2561480"/>
            <a:ext cx="4572000" cy="301752"/>
          </a:xfrm>
          <a:prstGeom prst="round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900" b="0" i="0" u="none" strike="noStrike" kern="1200" cap="none" spc="0" normalizeH="0" baseline="0" noProof="0">
              <a:ln>
                <a:noFill/>
              </a:ln>
              <a:solidFill>
                <a:prstClr val="white"/>
              </a:solidFill>
              <a:effectLst/>
              <a:uLnTx/>
              <a:uFillTx/>
              <a:latin typeface="Arial"/>
              <a:ea typeface="+mn-ea"/>
              <a:cs typeface="+mn-cs"/>
            </a:endParaRPr>
          </a:p>
        </p:txBody>
      </p:sp>
      <p:sp>
        <p:nvSpPr>
          <p:cNvPr id="8" name="Pentagono 88">
            <a:extLst>
              <a:ext uri="{FF2B5EF4-FFF2-40B4-BE49-F238E27FC236}">
                <a16:creationId xmlns:a16="http://schemas.microsoft.com/office/drawing/2014/main" id="{3AFF9277-D155-498F-BDDB-2AD7263FAFB2}"/>
              </a:ext>
            </a:extLst>
          </p:cNvPr>
          <p:cNvSpPr/>
          <p:nvPr/>
        </p:nvSpPr>
        <p:spPr>
          <a:xfrm>
            <a:off x="357982" y="2044553"/>
            <a:ext cx="5623718" cy="2376114"/>
          </a:xfrm>
          <a:prstGeom prst="rect">
            <a:avLst/>
          </a:prstGeom>
          <a:noFill/>
          <a:ln w="12700" cap="flat" cmpd="sng" algn="ctr">
            <a:noFill/>
            <a:prstDash val="solid"/>
            <a:miter lim="800000"/>
          </a:ln>
          <a:effectLst/>
        </p:spPr>
        <p:txBody>
          <a:bodyPr lIns="144000" tIns="0" rIns="0" bIns="0" rtlCol="0" anchor="ctr"/>
          <a:lstStyle/>
          <a:p>
            <a:pPr marL="0" marR="0" lvl="0" indent="0" algn="just" defTabSz="914400" rtl="0" eaLnBrk="1" fontAlgn="base" latinLnBrk="0" hangingPunct="1">
              <a:lnSpc>
                <a:spcPct val="120000"/>
              </a:lnSpc>
              <a:spcBef>
                <a:spcPct val="0"/>
              </a:spcBef>
              <a:spcAft>
                <a:spcPts val="1200"/>
              </a:spcAft>
              <a:buClrTx/>
              <a:buSzTx/>
              <a:buFontTx/>
              <a:buNone/>
              <a:tabLst/>
              <a:defRPr/>
            </a:pPr>
            <a:r>
              <a:rPr kumimoji="0" lang="it-IT" sz="2200" b="1" i="0" u="none" strike="noStrike" kern="0" cap="small" spc="0" normalizeH="0" baseline="0" noProof="0" dirty="0">
                <a:ln>
                  <a:noFill/>
                </a:ln>
                <a:solidFill>
                  <a:srgbClr val="049EE2"/>
                </a:solidFill>
                <a:effectLst/>
                <a:uLnTx/>
                <a:uFillTx/>
                <a:latin typeface="Open Sans Light"/>
                <a:ea typeface="Open Sans Light"/>
                <a:cs typeface="Open Sans Light"/>
              </a:rPr>
              <a:t>Agenda</a:t>
            </a:r>
          </a:p>
          <a:p>
            <a:pPr marL="285750" marR="0" lvl="0" indent="-285750" algn="just" defTabSz="914400" rtl="0" eaLnBrk="1" fontAlgn="base" latinLnBrk="0" hangingPunct="1">
              <a:lnSpc>
                <a:spcPct val="120000"/>
              </a:lnSpc>
              <a:spcBef>
                <a:spcPct val="0"/>
              </a:spcBef>
              <a:spcAft>
                <a:spcPts val="1200"/>
              </a:spcAft>
              <a:buClrTx/>
              <a:buSzTx/>
              <a:buFont typeface="Wingdings" panose="05000000000000000000" pitchFamily="2" charset="2"/>
              <a:buChar char="ü"/>
              <a:tabLst/>
              <a:defRPr/>
            </a:pPr>
            <a:r>
              <a:rPr kumimoji="0" lang="it-IT" sz="1400" b="1" i="0" u="none" strike="noStrike" kern="0" cap="none" spc="0" normalizeH="0" baseline="0" noProof="0" dirty="0">
                <a:ln>
                  <a:noFill/>
                </a:ln>
                <a:solidFill>
                  <a:prstClr val="black"/>
                </a:solidFill>
                <a:effectLst/>
                <a:uLnTx/>
                <a:uFillTx/>
                <a:latin typeface="Open Sans Light"/>
                <a:ea typeface="Open Sans Light"/>
                <a:cs typeface="Open Sans Light"/>
              </a:rPr>
              <a:t>Ruolo del docente tutor e del docente orientatore</a:t>
            </a:r>
            <a:endParaRPr kumimoji="0" lang="it-IT" sz="1400" b="0" i="0" u="none" strike="noStrike" kern="0" cap="none" spc="0" normalizeH="0" baseline="0" noProof="0" dirty="0">
              <a:ln>
                <a:noFill/>
              </a:ln>
              <a:solidFill>
                <a:prstClr val="black"/>
              </a:solidFill>
              <a:effectLst/>
              <a:uLnTx/>
              <a:uFillTx/>
              <a:latin typeface="Open Sans Light"/>
              <a:ea typeface="Open Sans Light"/>
              <a:cs typeface="Open Sans Light"/>
            </a:endParaRPr>
          </a:p>
          <a:p>
            <a:pPr marL="285750" marR="0" lvl="0" indent="-285750" algn="just" defTabSz="914400" rtl="0" eaLnBrk="1" fontAlgn="base" latinLnBrk="0" hangingPunct="1">
              <a:lnSpc>
                <a:spcPct val="120000"/>
              </a:lnSpc>
              <a:spcBef>
                <a:spcPct val="0"/>
              </a:spcBef>
              <a:spcAft>
                <a:spcPts val="1200"/>
              </a:spcAft>
              <a:buClrTx/>
              <a:buSzTx/>
              <a:buFont typeface="Wingdings" panose="05000000000000000000" pitchFamily="2" charset="2"/>
              <a:buChar char="ü"/>
              <a:tabLst/>
              <a:defRPr/>
            </a:pPr>
            <a:r>
              <a:rPr kumimoji="0" lang="it-IT" sz="1400" b="0" i="0" u="none" strike="noStrike" kern="0" cap="none" spc="0" normalizeH="0" baseline="0" noProof="0" dirty="0">
                <a:ln>
                  <a:noFill/>
                </a:ln>
                <a:solidFill>
                  <a:prstClr val="black"/>
                </a:solidFill>
                <a:effectLst/>
                <a:uLnTx/>
                <a:uFillTx/>
                <a:latin typeface="Open Sans Light"/>
                <a:ea typeface="Open Sans Light"/>
                <a:cs typeface="Open Sans Light"/>
              </a:rPr>
              <a:t>Modalità di nomina e attivazione dell’incarico</a:t>
            </a:r>
          </a:p>
          <a:p>
            <a:pPr marL="285750" marR="0" lvl="0" indent="-285750" algn="just" defTabSz="914400" rtl="0" eaLnBrk="1" fontAlgn="base" latinLnBrk="0" hangingPunct="1">
              <a:lnSpc>
                <a:spcPct val="120000"/>
              </a:lnSpc>
              <a:spcBef>
                <a:spcPct val="0"/>
              </a:spcBef>
              <a:spcAft>
                <a:spcPts val="1200"/>
              </a:spcAft>
              <a:buClrTx/>
              <a:buSzTx/>
              <a:buFont typeface="Wingdings" panose="05000000000000000000" pitchFamily="2" charset="2"/>
              <a:buChar char="ü"/>
              <a:tabLst/>
              <a:defRPr/>
            </a:pPr>
            <a:r>
              <a:rPr kumimoji="0" lang="it-IT" sz="1400" b="0" i="0" u="none" strike="noStrike" kern="0" cap="none" spc="0" normalizeH="0" baseline="0" noProof="0" dirty="0">
                <a:ln>
                  <a:noFill/>
                </a:ln>
                <a:solidFill>
                  <a:prstClr val="black"/>
                </a:solidFill>
                <a:effectLst/>
                <a:uLnTx/>
                <a:uFillTx/>
                <a:latin typeface="Open Sans Light"/>
                <a:ea typeface="Open Sans Light"/>
                <a:cs typeface="Open Sans Light"/>
              </a:rPr>
              <a:t>Principali richieste di chiarimento delle Scuole</a:t>
            </a:r>
          </a:p>
          <a:p>
            <a:pPr marL="285750" indent="-285750" algn="just" fontAlgn="base">
              <a:lnSpc>
                <a:spcPct val="120000"/>
              </a:lnSpc>
              <a:spcBef>
                <a:spcPct val="0"/>
              </a:spcBef>
              <a:spcAft>
                <a:spcPts val="1200"/>
              </a:spcAft>
              <a:buFont typeface="Wingdings" panose="05000000000000000000" pitchFamily="2" charset="2"/>
              <a:buChar char="ü"/>
              <a:defRPr/>
            </a:pPr>
            <a:r>
              <a:rPr kumimoji="0" lang="it-IT" sz="1400" b="0"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NICA: abilitazione e </a:t>
            </a:r>
            <a:r>
              <a:rPr kumimoji="0" lang="it-IT" sz="1400" b="0" i="0" u="none" strike="noStrike" kern="0" cap="none" spc="0" normalizeH="0" baseline="0" noProof="0" dirty="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un</a:t>
            </a:r>
            <a:r>
              <a:rPr lang="it-IT" sz="1400" kern="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zioni</a:t>
            </a:r>
          </a:p>
          <a:p>
            <a:pPr marL="285750" indent="-285750" algn="just" fontAlgn="base">
              <a:lnSpc>
                <a:spcPct val="120000"/>
              </a:lnSpc>
              <a:spcBef>
                <a:spcPct val="0"/>
              </a:spcBef>
              <a:spcAft>
                <a:spcPts val="1200"/>
              </a:spcAft>
              <a:buFont typeface="Wingdings" panose="05000000000000000000" pitchFamily="2" charset="2"/>
              <a:buChar char="ü"/>
              <a:defRPr/>
            </a:pPr>
            <a:r>
              <a:rPr lang="it-IT" sz="1400" kern="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onclusioni</a:t>
            </a:r>
          </a:p>
        </p:txBody>
      </p:sp>
      <p:pic>
        <p:nvPicPr>
          <p:cNvPr id="10" name="Picture 2">
            <a:extLst>
              <a:ext uri="{FF2B5EF4-FFF2-40B4-BE49-F238E27FC236}">
                <a16:creationId xmlns:a16="http://schemas.microsoft.com/office/drawing/2014/main" id="{624CC880-2EE6-4103-8334-184DB2FA6C96}"/>
              </a:ext>
            </a:extLst>
          </p:cNvPr>
          <p:cNvPicPr>
            <a:picLocks noChangeAspect="1"/>
          </p:cNvPicPr>
          <p:nvPr/>
        </p:nvPicPr>
        <p:blipFill rotWithShape="1">
          <a:blip r:embed="rId5"/>
          <a:srcRect l="50937"/>
          <a:stretch/>
        </p:blipFill>
        <p:spPr>
          <a:xfrm>
            <a:off x="6210300" y="0"/>
            <a:ext cx="5981700" cy="6858000"/>
          </a:xfrm>
          <a:prstGeom prst="rect">
            <a:avLst/>
          </a:prstGeom>
          <a:effectLst>
            <a:outerShdw blurRad="50800" dist="38100" dir="10800000" algn="r" rotWithShape="0">
              <a:prstClr val="black">
                <a:alpha val="40000"/>
              </a:prstClr>
            </a:outerShdw>
          </a:effectLst>
        </p:spPr>
      </p:pic>
    </p:spTree>
    <p:extLst>
      <p:ext uri="{BB962C8B-B14F-4D97-AF65-F5344CB8AC3E}">
        <p14:creationId xmlns:p14="http://schemas.microsoft.com/office/powerpoint/2010/main" val="3362018930"/>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4" name="CasellaDiTesto 23">
            <a:extLst>
              <a:ext uri="{FF2B5EF4-FFF2-40B4-BE49-F238E27FC236}">
                <a16:creationId xmlns:a16="http://schemas.microsoft.com/office/drawing/2014/main" id="{07D74EDF-AA92-8796-D475-14CF9D185AE4}"/>
              </a:ext>
            </a:extLst>
          </p:cNvPr>
          <p:cNvSpPr txBox="1"/>
          <p:nvPr/>
        </p:nvSpPr>
        <p:spPr>
          <a:xfrm>
            <a:off x="681527" y="2231923"/>
            <a:ext cx="4825579" cy="4060603"/>
          </a:xfrm>
          <a:prstGeom prst="roundRect">
            <a:avLst>
              <a:gd name="adj" fmla="val 3652"/>
            </a:avLst>
          </a:prstGeom>
          <a:noFill/>
          <a:ln>
            <a:solidFill>
              <a:srgbClr val="203864"/>
            </a:solidFill>
            <a:prstDash val="lgDash"/>
          </a:ln>
        </p:spPr>
        <p:txBody>
          <a:bodyPr wrap="square" rtlCol="0">
            <a:noAutofit/>
          </a:bodyPr>
          <a:lstStyle/>
          <a:p>
            <a:pPr defTabSz="914363">
              <a:defRPr/>
            </a:pPr>
            <a:endParaRPr lang="it-IT" sz="1200" b="1">
              <a:solidFill>
                <a:prstClr val="black"/>
              </a:solidFill>
              <a:highlight>
                <a:srgbClr val="FFFF00"/>
              </a:highlight>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Titolo 1">
            <a:extLst>
              <a:ext uri="{FF2B5EF4-FFF2-40B4-BE49-F238E27FC236}">
                <a16:creationId xmlns:a16="http://schemas.microsoft.com/office/drawing/2014/main" id="{E7233998-3647-0810-C90D-C496574E89F1}"/>
              </a:ext>
            </a:extLst>
          </p:cNvPr>
          <p:cNvSpPr>
            <a:spLocks noGrp="1"/>
          </p:cNvSpPr>
          <p:nvPr>
            <p:ph type="title"/>
          </p:nvPr>
        </p:nvSpPr>
        <p:spPr>
          <a:xfrm>
            <a:off x="228600" y="176586"/>
            <a:ext cx="11124959" cy="659634"/>
          </a:xfrm>
        </p:spPr>
        <p:txBody>
          <a:bodyPr anchor="ctr">
            <a:noAutofit/>
          </a:bodyPr>
          <a:lstStyle/>
          <a:p>
            <a:r>
              <a:rPr lang="it-IT" sz="2200" b="1">
                <a:latin typeface="Open Sans"/>
                <a:ea typeface="Open Sans"/>
                <a:cs typeface="Open Sans"/>
              </a:rPr>
              <a:t>UNICA: abilitazione e funzioni</a:t>
            </a:r>
            <a:br>
              <a:rPr lang="it-IT" sz="2200" b="1">
                <a:latin typeface="Open Sans"/>
                <a:ea typeface="Open Sans"/>
                <a:cs typeface="Open Sans"/>
              </a:rPr>
            </a:br>
            <a:r>
              <a:rPr lang="it-IT" sz="2000">
                <a:latin typeface="Open Sans"/>
                <a:ea typeface="Open Sans"/>
                <a:cs typeface="Open Sans"/>
              </a:rPr>
              <a:t>Visualizzazione E-Portfolio degli studenti associati</a:t>
            </a:r>
            <a:endParaRPr lang="it-IT" sz="2200" b="1">
              <a:latin typeface="Open Sans"/>
              <a:ea typeface="Open Sans"/>
              <a:cs typeface="Open Sans"/>
            </a:endParaRPr>
          </a:p>
        </p:txBody>
      </p:sp>
      <p:sp>
        <p:nvSpPr>
          <p:cNvPr id="4" name="Rettangolo 2">
            <a:extLst>
              <a:ext uri="{FF2B5EF4-FFF2-40B4-BE49-F238E27FC236}">
                <a16:creationId xmlns:a16="http://schemas.microsoft.com/office/drawing/2014/main" id="{AD8F6A1B-7DB1-D0DE-B411-7EC8338E6636}"/>
              </a:ext>
            </a:extLst>
          </p:cNvPr>
          <p:cNvSpPr>
            <a:spLocks noChangeArrowheads="1"/>
          </p:cNvSpPr>
          <p:nvPr>
            <p:custDataLst>
              <p:tags r:id="rId1"/>
            </p:custDataLst>
          </p:nvPr>
        </p:nvSpPr>
        <p:spPr bwMode="auto">
          <a:xfrm>
            <a:off x="426000" y="1123102"/>
            <a:ext cx="11340000" cy="908903"/>
          </a:xfrm>
          <a:prstGeom prst="rect">
            <a:avLst/>
          </a:prstGeom>
          <a:noFill/>
          <a:ln w="9525">
            <a:noFill/>
            <a:miter lim="800000"/>
            <a:headEnd/>
            <a:tailEnd/>
          </a:ln>
        </p:spPr>
        <p:txBody>
          <a:bodyPr wrap="square">
            <a:spAutoFit/>
          </a:bodyPr>
          <a:lstStyle/>
          <a:p>
            <a:pPr lvl="0" algn="just">
              <a:lnSpc>
                <a:spcPct val="130000"/>
              </a:lnSpc>
              <a:spcAft>
                <a:spcPts val="600"/>
              </a:spcAft>
              <a:defRPr/>
            </a:pPr>
            <a:r>
              <a:rPr kumimoji="0" lang="it-IT" sz="1400" b="0"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na volta abilitato, il docente tutor può </a:t>
            </a:r>
            <a:r>
              <a:rPr kumimoji="0" lang="it-IT" sz="1400" b="1"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ccedere alla piattaforma UNICA </a:t>
            </a:r>
            <a:r>
              <a:rPr kumimoji="0" lang="it-IT" sz="1400" b="0"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d utilizzare le </a:t>
            </a:r>
            <a:r>
              <a:rPr kumimoji="0" lang="it-IT" sz="1400" b="1"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unzioni appositamente progettate per supportarlo </a:t>
            </a:r>
            <a:r>
              <a:rPr kumimoji="0" lang="it-IT" sz="1400" b="0"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nell’espletamento delle sue mansioni. In primo luogo, visualizza una </a:t>
            </a:r>
            <a:r>
              <a:rPr kumimoji="0" lang="it-IT" sz="1400" b="1"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lista degli studenti a lui associati </a:t>
            </a:r>
            <a:r>
              <a:rPr kumimoji="0" lang="it-IT" sz="1400" b="0"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d ha la possibilità di consultare il loro </a:t>
            </a:r>
            <a:r>
              <a:rPr kumimoji="0" lang="it-IT" sz="1400" b="1"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Portfolio personale</a:t>
            </a:r>
            <a:r>
              <a:rPr kumimoji="0" lang="it-IT" sz="1400" b="0"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t>
            </a:r>
          </a:p>
        </p:txBody>
      </p:sp>
      <p:sp>
        <p:nvSpPr>
          <p:cNvPr id="23" name="Triangolo isoscele 22">
            <a:extLst>
              <a:ext uri="{FF2B5EF4-FFF2-40B4-BE49-F238E27FC236}">
                <a16:creationId xmlns:a16="http://schemas.microsoft.com/office/drawing/2014/main" id="{5307E8CD-B0A8-EE24-C074-45948C3B9867}"/>
              </a:ext>
            </a:extLst>
          </p:cNvPr>
          <p:cNvSpPr/>
          <p:nvPr/>
        </p:nvSpPr>
        <p:spPr>
          <a:xfrm rot="5400000">
            <a:off x="5286790" y="3909650"/>
            <a:ext cx="1620000" cy="32400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900" b="0" i="0" u="none" strike="noStrike" kern="1200" cap="none" spc="0" normalizeH="0" baseline="0" noProof="0" err="1">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5" name="CasellaDiTesto 24">
            <a:extLst>
              <a:ext uri="{FF2B5EF4-FFF2-40B4-BE49-F238E27FC236}">
                <a16:creationId xmlns:a16="http://schemas.microsoft.com/office/drawing/2014/main" id="{3D6FF126-BF97-BAD1-D319-AB5F477FC55D}"/>
              </a:ext>
            </a:extLst>
          </p:cNvPr>
          <p:cNvSpPr txBox="1"/>
          <p:nvPr/>
        </p:nvSpPr>
        <p:spPr>
          <a:xfrm>
            <a:off x="2179556" y="2061431"/>
            <a:ext cx="1829520" cy="338554"/>
          </a:xfrm>
          <a:prstGeom prst="rect">
            <a:avLst/>
          </a:prstGeom>
          <a:solidFill>
            <a:schemeClr val="bg1"/>
          </a:solidFill>
        </p:spPr>
        <p:txBody>
          <a:bodyPr wrap="square">
            <a:spAutoFit/>
          </a:bodyPr>
          <a:lstStyle/>
          <a:p>
            <a:pPr algn="ctr"/>
            <a:r>
              <a:rPr lang="it-IT" sz="1600" b="1" kern="0" cap="small">
                <a:latin typeface="Open Sans Light" panose="020B0306030504020204" pitchFamily="34" charset="0"/>
                <a:ea typeface="Open Sans Light" panose="020B0306030504020204" pitchFamily="34" charset="0"/>
                <a:cs typeface="Open Sans Light" panose="020B0306030504020204" pitchFamily="34" charset="0"/>
              </a:rPr>
              <a:t>I tuoi studenti</a:t>
            </a:r>
          </a:p>
        </p:txBody>
      </p:sp>
      <p:sp>
        <p:nvSpPr>
          <p:cNvPr id="26" name="CasellaDiTesto 25">
            <a:extLst>
              <a:ext uri="{FF2B5EF4-FFF2-40B4-BE49-F238E27FC236}">
                <a16:creationId xmlns:a16="http://schemas.microsoft.com/office/drawing/2014/main" id="{50DBDE39-40AA-761B-1760-D213186CACD2}"/>
              </a:ext>
            </a:extLst>
          </p:cNvPr>
          <p:cNvSpPr txBox="1"/>
          <p:nvPr/>
        </p:nvSpPr>
        <p:spPr>
          <a:xfrm>
            <a:off x="6686474" y="2230708"/>
            <a:ext cx="4824000" cy="4060604"/>
          </a:xfrm>
          <a:prstGeom prst="roundRect">
            <a:avLst>
              <a:gd name="adj" fmla="val 3652"/>
            </a:avLst>
          </a:prstGeom>
          <a:noFill/>
          <a:ln>
            <a:solidFill>
              <a:srgbClr val="203864"/>
            </a:solidFill>
            <a:prstDash val="lgDash"/>
          </a:ln>
        </p:spPr>
        <p:txBody>
          <a:bodyPr wrap="square" rtlCol="0">
            <a:noAutofit/>
          </a:bodyPr>
          <a:lstStyle/>
          <a:p>
            <a:pPr defTabSz="914363">
              <a:defRPr/>
            </a:pPr>
            <a:endParaRPr lang="it-IT" sz="1200" b="1">
              <a:solidFill>
                <a:prstClr val="black"/>
              </a:solidFill>
              <a:highlight>
                <a:srgbClr val="FFFF00"/>
              </a:highlight>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7" name="CasellaDiTesto 26">
            <a:extLst>
              <a:ext uri="{FF2B5EF4-FFF2-40B4-BE49-F238E27FC236}">
                <a16:creationId xmlns:a16="http://schemas.microsoft.com/office/drawing/2014/main" id="{D8AE009C-EAEB-FC49-2407-6E5BF8D31DB0}"/>
              </a:ext>
            </a:extLst>
          </p:cNvPr>
          <p:cNvSpPr txBox="1"/>
          <p:nvPr/>
        </p:nvSpPr>
        <p:spPr>
          <a:xfrm>
            <a:off x="7461237" y="2021582"/>
            <a:ext cx="3274474" cy="338554"/>
          </a:xfrm>
          <a:prstGeom prst="rect">
            <a:avLst/>
          </a:prstGeom>
          <a:solidFill>
            <a:schemeClr val="bg1"/>
          </a:solidFill>
        </p:spPr>
        <p:txBody>
          <a:bodyPr wrap="square">
            <a:spAutoFit/>
          </a:bodyPr>
          <a:lstStyle/>
          <a:p>
            <a:pPr algn="ctr"/>
            <a:r>
              <a:rPr lang="it-IT" sz="1600" b="1" kern="0" cap="small">
                <a:latin typeface="Open Sans Light" panose="020B0306030504020204" pitchFamily="34" charset="0"/>
                <a:ea typeface="Open Sans Light" panose="020B0306030504020204" pitchFamily="34" charset="0"/>
                <a:cs typeface="Open Sans Light" panose="020B0306030504020204" pitchFamily="34" charset="0"/>
              </a:rPr>
              <a:t>E-Portfolio personale studente</a:t>
            </a:r>
          </a:p>
        </p:txBody>
      </p:sp>
      <p:pic>
        <p:nvPicPr>
          <p:cNvPr id="35" name="Immagine 29">
            <a:extLst>
              <a:ext uri="{FF2B5EF4-FFF2-40B4-BE49-F238E27FC236}">
                <a16:creationId xmlns:a16="http://schemas.microsoft.com/office/drawing/2014/main" id="{D1A20B21-A7C9-3D17-BC88-BAD2E40A2CD1}"/>
              </a:ext>
            </a:extLst>
          </p:cNvPr>
          <p:cNvPicPr>
            <a:picLocks noChangeAspect="1"/>
          </p:cNvPicPr>
          <p:nvPr/>
        </p:nvPicPr>
        <p:blipFill>
          <a:blip r:embed="rId3"/>
          <a:stretch>
            <a:fillRect/>
          </a:stretch>
        </p:blipFill>
        <p:spPr>
          <a:xfrm>
            <a:off x="4187212" y="5153288"/>
            <a:ext cx="348480" cy="371459"/>
          </a:xfrm>
          <a:prstGeom prst="rect">
            <a:avLst/>
          </a:prstGeom>
        </p:spPr>
      </p:pic>
      <p:pic>
        <p:nvPicPr>
          <p:cNvPr id="43" name="Immagine 42">
            <a:extLst>
              <a:ext uri="{FF2B5EF4-FFF2-40B4-BE49-F238E27FC236}">
                <a16:creationId xmlns:a16="http://schemas.microsoft.com/office/drawing/2014/main" id="{1873FE91-05C0-AA79-672D-2B38932F9AD8}"/>
              </a:ext>
            </a:extLst>
          </p:cNvPr>
          <p:cNvPicPr>
            <a:picLocks noChangeAspect="1"/>
          </p:cNvPicPr>
          <p:nvPr/>
        </p:nvPicPr>
        <p:blipFill rotWithShape="1">
          <a:blip r:embed="rId4"/>
          <a:srcRect l="9557" r="10689" b="52440"/>
          <a:stretch/>
        </p:blipFill>
        <p:spPr>
          <a:xfrm>
            <a:off x="1298579" y="2470048"/>
            <a:ext cx="3591474" cy="3584352"/>
          </a:xfrm>
          <a:prstGeom prst="rect">
            <a:avLst/>
          </a:prstGeom>
          <a:effectLst>
            <a:outerShdw blurRad="50800" dist="38100" dir="2700000" algn="tl" rotWithShape="0">
              <a:prstClr val="black">
                <a:alpha val="40000"/>
              </a:prstClr>
            </a:outerShdw>
          </a:effectLst>
        </p:spPr>
      </p:pic>
      <p:pic>
        <p:nvPicPr>
          <p:cNvPr id="45" name="Immagine 44">
            <a:extLst>
              <a:ext uri="{FF2B5EF4-FFF2-40B4-BE49-F238E27FC236}">
                <a16:creationId xmlns:a16="http://schemas.microsoft.com/office/drawing/2014/main" id="{71DC6C4C-4BE3-CDCB-8D76-B9CEA971D5E1}"/>
              </a:ext>
            </a:extLst>
          </p:cNvPr>
          <p:cNvPicPr>
            <a:picLocks noChangeAspect="1"/>
          </p:cNvPicPr>
          <p:nvPr/>
        </p:nvPicPr>
        <p:blipFill rotWithShape="1">
          <a:blip r:embed="rId5"/>
          <a:srcRect l="9036" r="8128" b="37491"/>
          <a:stretch/>
        </p:blipFill>
        <p:spPr>
          <a:xfrm>
            <a:off x="7461237" y="2351857"/>
            <a:ext cx="3274474" cy="3818306"/>
          </a:xfrm>
          <a:prstGeom prst="rect">
            <a:avLst/>
          </a:prstGeom>
          <a:effectLst>
            <a:outerShdw blurRad="50800" dist="38100" dir="2700000" algn="tl" rotWithShape="0">
              <a:prstClr val="black">
                <a:alpha val="40000"/>
              </a:prstClr>
            </a:outerShdw>
          </a:effectLst>
        </p:spPr>
      </p:pic>
      <p:pic>
        <p:nvPicPr>
          <p:cNvPr id="46" name="Immagine 29">
            <a:extLst>
              <a:ext uri="{FF2B5EF4-FFF2-40B4-BE49-F238E27FC236}">
                <a16:creationId xmlns:a16="http://schemas.microsoft.com/office/drawing/2014/main" id="{E900C985-46D7-42D0-E241-42663B8DBFCC}"/>
              </a:ext>
            </a:extLst>
          </p:cNvPr>
          <p:cNvPicPr>
            <a:picLocks noChangeAspect="1"/>
          </p:cNvPicPr>
          <p:nvPr/>
        </p:nvPicPr>
        <p:blipFill>
          <a:blip r:embed="rId3"/>
          <a:stretch>
            <a:fillRect/>
          </a:stretch>
        </p:blipFill>
        <p:spPr>
          <a:xfrm>
            <a:off x="4012972" y="4967558"/>
            <a:ext cx="348480" cy="371459"/>
          </a:xfrm>
          <a:prstGeom prst="rect">
            <a:avLst/>
          </a:prstGeom>
        </p:spPr>
      </p:pic>
      <p:sp>
        <p:nvSpPr>
          <p:cNvPr id="3" name="Segnaposto numero diapositiva 2">
            <a:extLst>
              <a:ext uri="{FF2B5EF4-FFF2-40B4-BE49-F238E27FC236}">
                <a16:creationId xmlns:a16="http://schemas.microsoft.com/office/drawing/2014/main" id="{C9595F24-753D-59C9-8055-47C1C451EBFF}"/>
              </a:ext>
            </a:extLst>
          </p:cNvPr>
          <p:cNvSpPr>
            <a:spLocks noGrp="1"/>
          </p:cNvSpPr>
          <p:nvPr>
            <p:ph type="sldNum" sz="quarter" idx="12"/>
          </p:nvPr>
        </p:nvSpPr>
        <p:spPr/>
        <p:txBody>
          <a:bodyPr/>
          <a:lstStyle/>
          <a:p>
            <a:fld id="{00F0C1FD-41C3-4D85-8E51-9C56B45C685D}" type="slidenum">
              <a:rPr lang="it-IT" smtClean="0"/>
              <a:t>20</a:t>
            </a:fld>
            <a:endParaRPr lang="it-IT"/>
          </a:p>
        </p:txBody>
      </p:sp>
    </p:spTree>
    <p:extLst>
      <p:ext uri="{BB962C8B-B14F-4D97-AF65-F5344CB8AC3E}">
        <p14:creationId xmlns:p14="http://schemas.microsoft.com/office/powerpoint/2010/main" val="1110639761"/>
      </p:ext>
    </p:extLst>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CasellaDiTesto 17">
            <a:extLst>
              <a:ext uri="{FF2B5EF4-FFF2-40B4-BE49-F238E27FC236}">
                <a16:creationId xmlns:a16="http://schemas.microsoft.com/office/drawing/2014/main" id="{6505706E-6DBB-0830-4D6E-3EAD47C0ECBE}"/>
              </a:ext>
            </a:extLst>
          </p:cNvPr>
          <p:cNvSpPr txBox="1"/>
          <p:nvPr/>
        </p:nvSpPr>
        <p:spPr>
          <a:xfrm>
            <a:off x="681527" y="2231923"/>
            <a:ext cx="4825579" cy="4060603"/>
          </a:xfrm>
          <a:prstGeom prst="roundRect">
            <a:avLst>
              <a:gd name="adj" fmla="val 3652"/>
            </a:avLst>
          </a:prstGeom>
          <a:noFill/>
          <a:ln>
            <a:solidFill>
              <a:srgbClr val="203864"/>
            </a:solidFill>
            <a:prstDash val="lgDash"/>
          </a:ln>
        </p:spPr>
        <p:txBody>
          <a:bodyPr wrap="square" rtlCol="0">
            <a:noAutofit/>
          </a:bodyPr>
          <a:lstStyle/>
          <a:p>
            <a:pPr defTabSz="914363">
              <a:defRPr/>
            </a:pPr>
            <a:endParaRPr lang="it-IT" sz="1200" b="1">
              <a:solidFill>
                <a:prstClr val="black"/>
              </a:solidFill>
              <a:highlight>
                <a:srgbClr val="FFFF00"/>
              </a:highlight>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39" name="Immagine 38">
            <a:extLst>
              <a:ext uri="{FF2B5EF4-FFF2-40B4-BE49-F238E27FC236}">
                <a16:creationId xmlns:a16="http://schemas.microsoft.com/office/drawing/2014/main" id="{335D1903-4005-45D0-6534-5189FB6566C3}"/>
              </a:ext>
            </a:extLst>
          </p:cNvPr>
          <p:cNvPicPr>
            <a:picLocks noChangeAspect="1"/>
          </p:cNvPicPr>
          <p:nvPr/>
        </p:nvPicPr>
        <p:blipFill rotWithShape="1">
          <a:blip r:embed="rId3"/>
          <a:srcRect l="8808" r="8731" b="30737"/>
          <a:stretch/>
        </p:blipFill>
        <p:spPr>
          <a:xfrm>
            <a:off x="1056725" y="2429411"/>
            <a:ext cx="4104799" cy="3682438"/>
          </a:xfrm>
          <a:prstGeom prst="rect">
            <a:avLst/>
          </a:prstGeom>
          <a:effectLst>
            <a:outerShdw blurRad="50800" dist="38100" dir="2700000" algn="tl" rotWithShape="0">
              <a:prstClr val="black">
                <a:alpha val="40000"/>
              </a:prstClr>
            </a:outerShdw>
          </a:effectLst>
        </p:spPr>
      </p:pic>
      <p:sp>
        <p:nvSpPr>
          <p:cNvPr id="13" name="Titolo 1">
            <a:extLst>
              <a:ext uri="{FF2B5EF4-FFF2-40B4-BE49-F238E27FC236}">
                <a16:creationId xmlns:a16="http://schemas.microsoft.com/office/drawing/2014/main" id="{081EFBA2-4EDE-5B4A-4569-2963AD4EAB09}"/>
              </a:ext>
            </a:extLst>
          </p:cNvPr>
          <p:cNvSpPr>
            <a:spLocks noGrp="1"/>
          </p:cNvSpPr>
          <p:nvPr>
            <p:ph type="title"/>
          </p:nvPr>
        </p:nvSpPr>
        <p:spPr>
          <a:xfrm>
            <a:off x="228600" y="176586"/>
            <a:ext cx="11124959" cy="659634"/>
          </a:xfrm>
        </p:spPr>
        <p:txBody>
          <a:bodyPr anchor="ctr">
            <a:noAutofit/>
          </a:bodyPr>
          <a:lstStyle/>
          <a:p>
            <a:r>
              <a:rPr lang="it-IT" sz="2200" b="1" dirty="0">
                <a:latin typeface="Open Sans"/>
                <a:ea typeface="Open Sans"/>
                <a:cs typeface="Open Sans"/>
              </a:rPr>
              <a:t>UNICA: abilitazione e funzioni</a:t>
            </a:r>
            <a:br>
              <a:rPr lang="it-IT" sz="2200" b="1" dirty="0">
                <a:latin typeface="Open Sans"/>
                <a:ea typeface="Open Sans"/>
                <a:cs typeface="Open Sans"/>
              </a:rPr>
            </a:br>
            <a:r>
              <a:rPr lang="it-IT" sz="2000" dirty="0">
                <a:latin typeface="Open Sans"/>
                <a:ea typeface="Open Sans"/>
                <a:cs typeface="Open Sans"/>
              </a:rPr>
              <a:t>Calendario degli incontri e delle scadenze</a:t>
            </a:r>
            <a:endParaRPr lang="it-IT" sz="2200" b="1" dirty="0">
              <a:latin typeface="Open Sans"/>
              <a:ea typeface="Open Sans"/>
              <a:cs typeface="Open Sans"/>
            </a:endParaRPr>
          </a:p>
        </p:txBody>
      </p:sp>
      <p:sp>
        <p:nvSpPr>
          <p:cNvPr id="14" name="Rettangolo 2">
            <a:extLst>
              <a:ext uri="{FF2B5EF4-FFF2-40B4-BE49-F238E27FC236}">
                <a16:creationId xmlns:a16="http://schemas.microsoft.com/office/drawing/2014/main" id="{D40E6D49-F3CD-58C1-F35A-BCD1B8617118}"/>
              </a:ext>
            </a:extLst>
          </p:cNvPr>
          <p:cNvSpPr>
            <a:spLocks noChangeArrowheads="1"/>
          </p:cNvSpPr>
          <p:nvPr>
            <p:custDataLst>
              <p:tags r:id="rId1"/>
            </p:custDataLst>
          </p:nvPr>
        </p:nvSpPr>
        <p:spPr bwMode="auto">
          <a:xfrm>
            <a:off x="426000" y="1123102"/>
            <a:ext cx="11340000" cy="908903"/>
          </a:xfrm>
          <a:prstGeom prst="rect">
            <a:avLst/>
          </a:prstGeom>
          <a:noFill/>
          <a:ln w="9525">
            <a:noFill/>
            <a:miter lim="800000"/>
            <a:headEnd/>
            <a:tailEnd/>
          </a:ln>
        </p:spPr>
        <p:txBody>
          <a:bodyPr wrap="square">
            <a:spAutoFit/>
          </a:bodyPr>
          <a:lstStyle/>
          <a:p>
            <a:pPr lvl="0" algn="just">
              <a:lnSpc>
                <a:spcPct val="130000"/>
              </a:lnSpc>
              <a:spcAft>
                <a:spcPts val="600"/>
              </a:spcAft>
              <a:defRPr/>
            </a:pPr>
            <a:r>
              <a:rPr kumimoji="0" lang="it-IT" sz="1400" b="0"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ll’interno del </a:t>
            </a:r>
            <a:r>
              <a:rPr kumimoji="0" lang="it-IT" sz="1400" b="1"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alendario</a:t>
            </a:r>
            <a:r>
              <a:rPr kumimoji="0" lang="it-IT" sz="1400" b="0"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il docente tutor ha la possibilità di organizzare </a:t>
            </a:r>
            <a:r>
              <a:rPr kumimoji="0" lang="it-IT" sz="1400" b="1"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contri individuali e di gruppo </a:t>
            </a:r>
            <a:r>
              <a:rPr kumimoji="0" lang="it-IT" sz="1400" b="0"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ia con i propri studenti che con i loro genitori, nonché </a:t>
            </a:r>
            <a:r>
              <a:rPr kumimoji="0" lang="it-IT" sz="1400" b="1"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dicare le proprie disponibilità</a:t>
            </a:r>
            <a:r>
              <a:rPr kumimoji="0" lang="it-IT" sz="1400" b="0"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per permettere a studenti e/o genitori di fissare dei colloqui su diverse tematiche. Inoltre, il docente può scandire le tempistiche delle attività legate all’orientamento mediante l’inserimento delle </a:t>
            </a:r>
            <a:r>
              <a:rPr kumimoji="0" lang="it-IT" sz="1400" b="1"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cadenze.</a:t>
            </a:r>
          </a:p>
        </p:txBody>
      </p:sp>
      <p:sp>
        <p:nvSpPr>
          <p:cNvPr id="17" name="Triangolo isoscele 16">
            <a:extLst>
              <a:ext uri="{FF2B5EF4-FFF2-40B4-BE49-F238E27FC236}">
                <a16:creationId xmlns:a16="http://schemas.microsoft.com/office/drawing/2014/main" id="{99E5D0C5-EF27-82B8-0BE0-F6FA77BA13A3}"/>
              </a:ext>
            </a:extLst>
          </p:cNvPr>
          <p:cNvSpPr/>
          <p:nvPr/>
        </p:nvSpPr>
        <p:spPr>
          <a:xfrm rot="5400000">
            <a:off x="5286790" y="3909650"/>
            <a:ext cx="1620000" cy="324000"/>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900" b="0" i="0" u="none" strike="noStrike" kern="1200" cap="none" spc="0" normalizeH="0" baseline="0" noProof="0" err="1">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9" name="CasellaDiTesto 18">
            <a:extLst>
              <a:ext uri="{FF2B5EF4-FFF2-40B4-BE49-F238E27FC236}">
                <a16:creationId xmlns:a16="http://schemas.microsoft.com/office/drawing/2014/main" id="{98ED5F80-EB33-60BE-D266-4F600073344B}"/>
              </a:ext>
            </a:extLst>
          </p:cNvPr>
          <p:cNvSpPr txBox="1"/>
          <p:nvPr/>
        </p:nvSpPr>
        <p:spPr>
          <a:xfrm>
            <a:off x="2392316" y="2061431"/>
            <a:ext cx="1404000" cy="338554"/>
          </a:xfrm>
          <a:prstGeom prst="rect">
            <a:avLst/>
          </a:prstGeom>
          <a:solidFill>
            <a:schemeClr val="bg1"/>
          </a:solidFill>
        </p:spPr>
        <p:txBody>
          <a:bodyPr wrap="square">
            <a:spAutoFit/>
          </a:bodyPr>
          <a:lstStyle/>
          <a:p>
            <a:pPr algn="ctr"/>
            <a:r>
              <a:rPr lang="it-IT" sz="1600" b="1" kern="0" cap="small">
                <a:latin typeface="Open Sans Light" panose="020B0306030504020204" pitchFamily="34" charset="0"/>
                <a:ea typeface="Open Sans Light" panose="020B0306030504020204" pitchFamily="34" charset="0"/>
                <a:cs typeface="Open Sans Light" panose="020B0306030504020204" pitchFamily="34" charset="0"/>
              </a:rPr>
              <a:t>Calendario</a:t>
            </a:r>
          </a:p>
        </p:txBody>
      </p:sp>
      <p:sp>
        <p:nvSpPr>
          <p:cNvPr id="20" name="CasellaDiTesto 19">
            <a:extLst>
              <a:ext uri="{FF2B5EF4-FFF2-40B4-BE49-F238E27FC236}">
                <a16:creationId xmlns:a16="http://schemas.microsoft.com/office/drawing/2014/main" id="{3E62AC65-C2EE-8A5B-33AA-08B8E4BDB14D}"/>
              </a:ext>
            </a:extLst>
          </p:cNvPr>
          <p:cNvSpPr txBox="1"/>
          <p:nvPr/>
        </p:nvSpPr>
        <p:spPr>
          <a:xfrm>
            <a:off x="6686474" y="2230708"/>
            <a:ext cx="4824000" cy="4060604"/>
          </a:xfrm>
          <a:prstGeom prst="roundRect">
            <a:avLst>
              <a:gd name="adj" fmla="val 3652"/>
            </a:avLst>
          </a:prstGeom>
          <a:noFill/>
          <a:ln>
            <a:solidFill>
              <a:srgbClr val="203864"/>
            </a:solidFill>
            <a:prstDash val="lgDash"/>
          </a:ln>
        </p:spPr>
        <p:txBody>
          <a:bodyPr wrap="square" rtlCol="0">
            <a:noAutofit/>
          </a:bodyPr>
          <a:lstStyle/>
          <a:p>
            <a:pPr defTabSz="914363">
              <a:defRPr/>
            </a:pPr>
            <a:endParaRPr lang="it-IT" sz="1200" b="1">
              <a:solidFill>
                <a:prstClr val="black"/>
              </a:solidFill>
              <a:highlight>
                <a:srgbClr val="FFFF00"/>
              </a:highlight>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1" name="CasellaDiTesto 20">
            <a:extLst>
              <a:ext uri="{FF2B5EF4-FFF2-40B4-BE49-F238E27FC236}">
                <a16:creationId xmlns:a16="http://schemas.microsoft.com/office/drawing/2014/main" id="{3490CDC4-CD32-1542-C79D-C87BFD23E7F8}"/>
              </a:ext>
            </a:extLst>
          </p:cNvPr>
          <p:cNvSpPr txBox="1"/>
          <p:nvPr/>
        </p:nvSpPr>
        <p:spPr>
          <a:xfrm>
            <a:off x="6811574" y="2021582"/>
            <a:ext cx="4573800" cy="338554"/>
          </a:xfrm>
          <a:prstGeom prst="rect">
            <a:avLst/>
          </a:prstGeom>
          <a:solidFill>
            <a:schemeClr val="bg1"/>
          </a:solidFill>
        </p:spPr>
        <p:txBody>
          <a:bodyPr wrap="square">
            <a:spAutoFit/>
          </a:bodyPr>
          <a:lstStyle/>
          <a:p>
            <a:pPr algn="ctr"/>
            <a:r>
              <a:rPr lang="it-IT" sz="1600" b="1" kern="0" cap="small">
                <a:latin typeface="Open Sans Light" panose="020B0306030504020204" pitchFamily="34" charset="0"/>
                <a:ea typeface="Open Sans Light" panose="020B0306030504020204" pitchFamily="34" charset="0"/>
                <a:cs typeface="Open Sans Light" panose="020B0306030504020204" pitchFamily="34" charset="0"/>
              </a:rPr>
              <a:t>Nuovi incontri, scadenze e disponibilità</a:t>
            </a:r>
          </a:p>
        </p:txBody>
      </p:sp>
      <p:pic>
        <p:nvPicPr>
          <p:cNvPr id="29" name="Immagine 29">
            <a:extLst>
              <a:ext uri="{FF2B5EF4-FFF2-40B4-BE49-F238E27FC236}">
                <a16:creationId xmlns:a16="http://schemas.microsoft.com/office/drawing/2014/main" id="{3F2BF95A-FD3E-53F9-5D3A-8449FBC6D841}"/>
              </a:ext>
            </a:extLst>
          </p:cNvPr>
          <p:cNvPicPr>
            <a:picLocks noChangeAspect="1"/>
          </p:cNvPicPr>
          <p:nvPr/>
        </p:nvPicPr>
        <p:blipFill>
          <a:blip r:embed="rId4"/>
          <a:stretch>
            <a:fillRect/>
          </a:stretch>
        </p:blipFill>
        <p:spPr>
          <a:xfrm>
            <a:off x="4855777" y="3373271"/>
            <a:ext cx="348480" cy="371459"/>
          </a:xfrm>
          <a:prstGeom prst="rect">
            <a:avLst/>
          </a:prstGeom>
        </p:spPr>
      </p:pic>
      <p:pic>
        <p:nvPicPr>
          <p:cNvPr id="35" name="Immagine 34">
            <a:extLst>
              <a:ext uri="{FF2B5EF4-FFF2-40B4-BE49-F238E27FC236}">
                <a16:creationId xmlns:a16="http://schemas.microsoft.com/office/drawing/2014/main" id="{22F61587-7336-4AC0-0A75-8AA6E67D6579}"/>
              </a:ext>
            </a:extLst>
          </p:cNvPr>
          <p:cNvPicPr>
            <a:picLocks noChangeAspect="1"/>
          </p:cNvPicPr>
          <p:nvPr/>
        </p:nvPicPr>
        <p:blipFill rotWithShape="1">
          <a:blip r:embed="rId5"/>
          <a:srcRect t="3924"/>
          <a:stretch/>
        </p:blipFill>
        <p:spPr>
          <a:xfrm>
            <a:off x="6937878" y="2436437"/>
            <a:ext cx="3002207" cy="3298461"/>
          </a:xfrm>
          <a:prstGeom prst="rect">
            <a:avLst/>
          </a:prstGeom>
          <a:ln>
            <a:noFill/>
          </a:ln>
          <a:effectLst>
            <a:outerShdw blurRad="50800" dist="38100" dir="2700000" algn="tl" rotWithShape="0">
              <a:prstClr val="black">
                <a:alpha val="40000"/>
              </a:prstClr>
            </a:outerShdw>
          </a:effectLst>
        </p:spPr>
      </p:pic>
      <p:pic>
        <p:nvPicPr>
          <p:cNvPr id="37" name="Immagine 36">
            <a:extLst>
              <a:ext uri="{FF2B5EF4-FFF2-40B4-BE49-F238E27FC236}">
                <a16:creationId xmlns:a16="http://schemas.microsoft.com/office/drawing/2014/main" id="{50C09659-0026-6888-5EBE-74E810F1CA99}"/>
              </a:ext>
            </a:extLst>
          </p:cNvPr>
          <p:cNvPicPr>
            <a:picLocks noChangeAspect="1"/>
          </p:cNvPicPr>
          <p:nvPr/>
        </p:nvPicPr>
        <p:blipFill>
          <a:blip r:embed="rId6"/>
          <a:stretch>
            <a:fillRect/>
          </a:stretch>
        </p:blipFill>
        <p:spPr>
          <a:xfrm>
            <a:off x="8096266" y="3682354"/>
            <a:ext cx="3223671" cy="2437928"/>
          </a:xfrm>
          <a:prstGeom prst="rect">
            <a:avLst/>
          </a:prstGeom>
          <a:effectLst>
            <a:outerShdw blurRad="50800" dist="38100" dir="2700000" algn="tl" rotWithShape="0">
              <a:prstClr val="black">
                <a:alpha val="40000"/>
              </a:prstClr>
            </a:outerShdw>
          </a:effectLst>
        </p:spPr>
      </p:pic>
      <p:pic>
        <p:nvPicPr>
          <p:cNvPr id="2" name="Immagine 29">
            <a:extLst>
              <a:ext uri="{FF2B5EF4-FFF2-40B4-BE49-F238E27FC236}">
                <a16:creationId xmlns:a16="http://schemas.microsoft.com/office/drawing/2014/main" id="{25B98A59-12D8-5497-F1CA-9934ACD95BF3}"/>
              </a:ext>
            </a:extLst>
          </p:cNvPr>
          <p:cNvPicPr>
            <a:picLocks noChangeAspect="1"/>
          </p:cNvPicPr>
          <p:nvPr/>
        </p:nvPicPr>
        <p:blipFill>
          <a:blip r:embed="rId4"/>
          <a:stretch>
            <a:fillRect/>
          </a:stretch>
        </p:blipFill>
        <p:spPr>
          <a:xfrm>
            <a:off x="4145458" y="3429000"/>
            <a:ext cx="348480" cy="371459"/>
          </a:xfrm>
          <a:prstGeom prst="rect">
            <a:avLst/>
          </a:prstGeom>
        </p:spPr>
      </p:pic>
      <p:sp>
        <p:nvSpPr>
          <p:cNvPr id="3" name="Segnaposto numero diapositiva 2">
            <a:extLst>
              <a:ext uri="{FF2B5EF4-FFF2-40B4-BE49-F238E27FC236}">
                <a16:creationId xmlns:a16="http://schemas.microsoft.com/office/drawing/2014/main" id="{86C557FF-4005-A27C-5999-CAB02C091FA6}"/>
              </a:ext>
            </a:extLst>
          </p:cNvPr>
          <p:cNvSpPr>
            <a:spLocks noGrp="1"/>
          </p:cNvSpPr>
          <p:nvPr>
            <p:ph type="sldNum" sz="quarter" idx="12"/>
          </p:nvPr>
        </p:nvSpPr>
        <p:spPr/>
        <p:txBody>
          <a:bodyPr/>
          <a:lstStyle/>
          <a:p>
            <a:fld id="{00F0C1FD-41C3-4D85-8E51-9C56B45C685D}" type="slidenum">
              <a:rPr lang="it-IT" smtClean="0"/>
              <a:t>21</a:t>
            </a:fld>
            <a:endParaRPr lang="it-IT"/>
          </a:p>
        </p:txBody>
      </p:sp>
    </p:spTree>
    <p:extLst>
      <p:ext uri="{BB962C8B-B14F-4D97-AF65-F5344CB8AC3E}">
        <p14:creationId xmlns:p14="http://schemas.microsoft.com/office/powerpoint/2010/main" val="848042888"/>
      </p:ext>
    </p:extLst>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egnaposto numero diapositiva 2">
            <a:extLst>
              <a:ext uri="{FF2B5EF4-FFF2-40B4-BE49-F238E27FC236}">
                <a16:creationId xmlns:a16="http://schemas.microsoft.com/office/drawing/2014/main" id="{4212C58A-FB93-3A7A-0C2F-2935609E91FD}"/>
              </a:ext>
            </a:extLst>
          </p:cNvPr>
          <p:cNvSpPr>
            <a:spLocks noGrp="1"/>
          </p:cNvSpPr>
          <p:nvPr>
            <p:ph type="sldNum" sz="quarter" idx="12"/>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00F0C1FD-41C3-4D85-8E51-9C56B45C685D}" type="slidenum">
              <a:rPr kumimoji="0" lang="it-IT" sz="1200" b="0" i="0" u="none" strike="noStrike" kern="1200" cap="none" spc="0" normalizeH="0" baseline="0" noProof="0" smtClean="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pPr marL="0" marR="0" lvl="0" indent="0" algn="r" defTabSz="914400" rtl="0" eaLnBrk="1" fontAlgn="auto" latinLnBrk="0" hangingPunct="1">
                <a:lnSpc>
                  <a:spcPct val="100000"/>
                </a:lnSpc>
                <a:spcBef>
                  <a:spcPts val="0"/>
                </a:spcBef>
                <a:spcAft>
                  <a:spcPts val="0"/>
                </a:spcAft>
                <a:buClrTx/>
                <a:buSzTx/>
                <a:buFontTx/>
                <a:buNone/>
                <a:tabLst/>
                <a:defRPr/>
              </a:pPr>
              <a:t>22</a:t>
            </a:fld>
            <a:endParaRPr kumimoji="0" lang="it-IT" sz="12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2" name="Rettangolo 1">
            <a:extLst>
              <a:ext uri="{FF2B5EF4-FFF2-40B4-BE49-F238E27FC236}">
                <a16:creationId xmlns:a16="http://schemas.microsoft.com/office/drawing/2014/main" id="{7B651871-79BE-3960-BAA9-ED3E46621AEB}"/>
              </a:ext>
            </a:extLst>
          </p:cNvPr>
          <p:cNvSpPr/>
          <p:nvPr/>
        </p:nvSpPr>
        <p:spPr>
          <a:xfrm>
            <a:off x="681178" y="5567030"/>
            <a:ext cx="11079120" cy="547767"/>
          </a:xfrm>
          <a:prstGeom prst="rect">
            <a:avLst/>
          </a:prstGeom>
          <a:no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t"/>
          <a:lstStyle/>
          <a:p>
            <a:pPr marL="0" marR="0" lvl="0" indent="0" algn="just" defTabSz="914400" rtl="0" eaLnBrk="1" fontAlgn="auto" latinLnBrk="0" hangingPunct="0">
              <a:lnSpc>
                <a:spcPct val="100000"/>
              </a:lnSpc>
              <a:spcBef>
                <a:spcPts val="0"/>
              </a:spcBef>
              <a:spcAft>
                <a:spcPts val="0"/>
              </a:spcAft>
              <a:buClrTx/>
              <a:buSzTx/>
              <a:buFontTx/>
              <a:buNone/>
              <a:tabLst/>
              <a:defRPr/>
            </a:pPr>
            <a:r>
              <a:rPr kumimoji="0" lang="it-IT" sz="1400" b="0"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Inoltre, per guidare gli utenti all’uso della Piattaforma e delle sue principali funzionalità, sono previsti </a:t>
            </a:r>
            <a:r>
              <a:rPr kumimoji="0" lang="it-IT" sz="14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ulteriori specifici strumenti di supporto</a:t>
            </a:r>
            <a:r>
              <a:rPr kumimoji="0" lang="it-IT" sz="1400" b="0"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 quali </a:t>
            </a:r>
            <a:r>
              <a:rPr kumimoji="0" lang="it-IT" sz="14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FAQ</a:t>
            </a:r>
            <a:r>
              <a:rPr kumimoji="0" lang="it-IT" sz="1400" b="0"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a:t>
            </a:r>
            <a:r>
              <a:rPr kumimoji="0" lang="it-IT" sz="14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 Manuali Utente</a:t>
            </a:r>
            <a:r>
              <a:rPr kumimoji="0" lang="it-IT" sz="1400" b="0"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 e </a:t>
            </a:r>
            <a:r>
              <a:rPr kumimoji="0" lang="it-IT" sz="14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Video -Tutorial</a:t>
            </a:r>
            <a:r>
              <a:rPr kumimoji="0" lang="it-IT" sz="1400" b="0"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 differenziati per tipologia di utente.</a:t>
            </a:r>
          </a:p>
        </p:txBody>
      </p:sp>
      <p:grpSp>
        <p:nvGrpSpPr>
          <p:cNvPr id="5" name="Group 4">
            <a:extLst>
              <a:ext uri="{FF2B5EF4-FFF2-40B4-BE49-F238E27FC236}">
                <a16:creationId xmlns:a16="http://schemas.microsoft.com/office/drawing/2014/main" id="{AF5744DC-811D-915F-70B2-526DAB670E66}"/>
              </a:ext>
            </a:extLst>
          </p:cNvPr>
          <p:cNvGrpSpPr>
            <a:grpSpLocks noChangeAspect="1"/>
          </p:cNvGrpSpPr>
          <p:nvPr/>
        </p:nvGrpSpPr>
        <p:grpSpPr bwMode="auto">
          <a:xfrm>
            <a:off x="162419" y="5660615"/>
            <a:ext cx="360000" cy="360596"/>
            <a:chOff x="6447" y="680"/>
            <a:chExt cx="605" cy="606"/>
          </a:xfrm>
          <a:effectLst>
            <a:outerShdw blurRad="50800" dist="38100" dir="2700000" algn="tl" rotWithShape="0">
              <a:prstClr val="black">
                <a:alpha val="40000"/>
              </a:prstClr>
            </a:outerShdw>
          </a:effectLst>
        </p:grpSpPr>
        <p:sp>
          <p:nvSpPr>
            <p:cNvPr id="6" name="AutoShape 3">
              <a:extLst>
                <a:ext uri="{FF2B5EF4-FFF2-40B4-BE49-F238E27FC236}">
                  <a16:creationId xmlns:a16="http://schemas.microsoft.com/office/drawing/2014/main" id="{7F4FBAE6-5DF8-8639-8C3B-76FFBB403DAF}"/>
                </a:ext>
              </a:extLst>
            </p:cNvPr>
            <p:cNvSpPr>
              <a:spLocks noChangeAspect="1" noChangeArrowheads="1" noTextEdit="1"/>
            </p:cNvSpPr>
            <p:nvPr/>
          </p:nvSpPr>
          <p:spPr bwMode="auto">
            <a:xfrm>
              <a:off x="6447" y="680"/>
              <a:ext cx="605" cy="60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Calibri"/>
                <a:ea typeface="+mn-ea"/>
                <a:cs typeface="Calibri"/>
                <a:sym typeface="Calibri"/>
              </a:endParaRPr>
            </a:p>
          </p:txBody>
        </p:sp>
        <p:sp>
          <p:nvSpPr>
            <p:cNvPr id="7" name="Freeform 5">
              <a:extLst>
                <a:ext uri="{FF2B5EF4-FFF2-40B4-BE49-F238E27FC236}">
                  <a16:creationId xmlns:a16="http://schemas.microsoft.com/office/drawing/2014/main" id="{F5F5FF46-2C6D-A7C4-6676-88B701A87A9F}"/>
                </a:ext>
              </a:extLst>
            </p:cNvPr>
            <p:cNvSpPr>
              <a:spLocks/>
            </p:cNvSpPr>
            <p:nvPr/>
          </p:nvSpPr>
          <p:spPr bwMode="auto">
            <a:xfrm>
              <a:off x="6447" y="680"/>
              <a:ext cx="605" cy="605"/>
            </a:xfrm>
            <a:custGeom>
              <a:avLst/>
              <a:gdLst>
                <a:gd name="T0" fmla="*/ 1208 w 1210"/>
                <a:gd name="T1" fmla="*/ 635 h 1210"/>
                <a:gd name="T2" fmla="*/ 1197 w 1210"/>
                <a:gd name="T3" fmla="*/ 727 h 1210"/>
                <a:gd name="T4" fmla="*/ 1173 w 1210"/>
                <a:gd name="T5" fmla="*/ 813 h 1210"/>
                <a:gd name="T6" fmla="*/ 1136 w 1210"/>
                <a:gd name="T7" fmla="*/ 893 h 1210"/>
                <a:gd name="T8" fmla="*/ 1090 w 1210"/>
                <a:gd name="T9" fmla="*/ 967 h 1210"/>
                <a:gd name="T10" fmla="*/ 1032 w 1210"/>
                <a:gd name="T11" fmla="*/ 1032 h 1210"/>
                <a:gd name="T12" fmla="*/ 967 w 1210"/>
                <a:gd name="T13" fmla="*/ 1090 h 1210"/>
                <a:gd name="T14" fmla="*/ 893 w 1210"/>
                <a:gd name="T15" fmla="*/ 1136 h 1210"/>
                <a:gd name="T16" fmla="*/ 813 w 1210"/>
                <a:gd name="T17" fmla="*/ 1173 h 1210"/>
                <a:gd name="T18" fmla="*/ 727 w 1210"/>
                <a:gd name="T19" fmla="*/ 1197 h 1210"/>
                <a:gd name="T20" fmla="*/ 637 w 1210"/>
                <a:gd name="T21" fmla="*/ 1208 h 1210"/>
                <a:gd name="T22" fmla="*/ 575 w 1210"/>
                <a:gd name="T23" fmla="*/ 1208 h 1210"/>
                <a:gd name="T24" fmla="*/ 483 w 1210"/>
                <a:gd name="T25" fmla="*/ 1197 h 1210"/>
                <a:gd name="T26" fmla="*/ 397 w 1210"/>
                <a:gd name="T27" fmla="*/ 1173 h 1210"/>
                <a:gd name="T28" fmla="*/ 317 w 1210"/>
                <a:gd name="T29" fmla="*/ 1136 h 1210"/>
                <a:gd name="T30" fmla="*/ 243 w 1210"/>
                <a:gd name="T31" fmla="*/ 1090 h 1210"/>
                <a:gd name="T32" fmla="*/ 178 w 1210"/>
                <a:gd name="T33" fmla="*/ 1032 h 1210"/>
                <a:gd name="T34" fmla="*/ 120 w 1210"/>
                <a:gd name="T35" fmla="*/ 967 h 1210"/>
                <a:gd name="T36" fmla="*/ 74 w 1210"/>
                <a:gd name="T37" fmla="*/ 893 h 1210"/>
                <a:gd name="T38" fmla="*/ 37 w 1210"/>
                <a:gd name="T39" fmla="*/ 813 h 1210"/>
                <a:gd name="T40" fmla="*/ 13 w 1210"/>
                <a:gd name="T41" fmla="*/ 727 h 1210"/>
                <a:gd name="T42" fmla="*/ 2 w 1210"/>
                <a:gd name="T43" fmla="*/ 635 h 1210"/>
                <a:gd name="T44" fmla="*/ 2 w 1210"/>
                <a:gd name="T45" fmla="*/ 573 h 1210"/>
                <a:gd name="T46" fmla="*/ 13 w 1210"/>
                <a:gd name="T47" fmla="*/ 483 h 1210"/>
                <a:gd name="T48" fmla="*/ 37 w 1210"/>
                <a:gd name="T49" fmla="*/ 397 h 1210"/>
                <a:gd name="T50" fmla="*/ 74 w 1210"/>
                <a:gd name="T51" fmla="*/ 317 h 1210"/>
                <a:gd name="T52" fmla="*/ 120 w 1210"/>
                <a:gd name="T53" fmla="*/ 243 h 1210"/>
                <a:gd name="T54" fmla="*/ 178 w 1210"/>
                <a:gd name="T55" fmla="*/ 178 h 1210"/>
                <a:gd name="T56" fmla="*/ 243 w 1210"/>
                <a:gd name="T57" fmla="*/ 120 h 1210"/>
                <a:gd name="T58" fmla="*/ 317 w 1210"/>
                <a:gd name="T59" fmla="*/ 74 h 1210"/>
                <a:gd name="T60" fmla="*/ 397 w 1210"/>
                <a:gd name="T61" fmla="*/ 37 h 1210"/>
                <a:gd name="T62" fmla="*/ 483 w 1210"/>
                <a:gd name="T63" fmla="*/ 13 h 1210"/>
                <a:gd name="T64" fmla="*/ 575 w 1210"/>
                <a:gd name="T65" fmla="*/ 0 h 1210"/>
                <a:gd name="T66" fmla="*/ 637 w 1210"/>
                <a:gd name="T67" fmla="*/ 0 h 1210"/>
                <a:gd name="T68" fmla="*/ 727 w 1210"/>
                <a:gd name="T69" fmla="*/ 13 h 1210"/>
                <a:gd name="T70" fmla="*/ 813 w 1210"/>
                <a:gd name="T71" fmla="*/ 37 h 1210"/>
                <a:gd name="T72" fmla="*/ 893 w 1210"/>
                <a:gd name="T73" fmla="*/ 74 h 1210"/>
                <a:gd name="T74" fmla="*/ 967 w 1210"/>
                <a:gd name="T75" fmla="*/ 120 h 1210"/>
                <a:gd name="T76" fmla="*/ 1032 w 1210"/>
                <a:gd name="T77" fmla="*/ 178 h 1210"/>
                <a:gd name="T78" fmla="*/ 1090 w 1210"/>
                <a:gd name="T79" fmla="*/ 243 h 1210"/>
                <a:gd name="T80" fmla="*/ 1136 w 1210"/>
                <a:gd name="T81" fmla="*/ 317 h 1210"/>
                <a:gd name="T82" fmla="*/ 1173 w 1210"/>
                <a:gd name="T83" fmla="*/ 397 h 1210"/>
                <a:gd name="T84" fmla="*/ 1197 w 1210"/>
                <a:gd name="T85" fmla="*/ 483 h 1210"/>
                <a:gd name="T86" fmla="*/ 1208 w 1210"/>
                <a:gd name="T87" fmla="*/ 573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10" h="1210">
                  <a:moveTo>
                    <a:pt x="1210" y="605"/>
                  </a:moveTo>
                  <a:lnTo>
                    <a:pt x="1210" y="605"/>
                  </a:lnTo>
                  <a:lnTo>
                    <a:pt x="1208" y="635"/>
                  </a:lnTo>
                  <a:lnTo>
                    <a:pt x="1207" y="666"/>
                  </a:lnTo>
                  <a:lnTo>
                    <a:pt x="1204" y="696"/>
                  </a:lnTo>
                  <a:lnTo>
                    <a:pt x="1197" y="727"/>
                  </a:lnTo>
                  <a:lnTo>
                    <a:pt x="1191" y="755"/>
                  </a:lnTo>
                  <a:lnTo>
                    <a:pt x="1183" y="784"/>
                  </a:lnTo>
                  <a:lnTo>
                    <a:pt x="1173" y="813"/>
                  </a:lnTo>
                  <a:lnTo>
                    <a:pt x="1162" y="840"/>
                  </a:lnTo>
                  <a:lnTo>
                    <a:pt x="1151" y="867"/>
                  </a:lnTo>
                  <a:lnTo>
                    <a:pt x="1136" y="893"/>
                  </a:lnTo>
                  <a:lnTo>
                    <a:pt x="1122" y="919"/>
                  </a:lnTo>
                  <a:lnTo>
                    <a:pt x="1106" y="943"/>
                  </a:lnTo>
                  <a:lnTo>
                    <a:pt x="1090" y="967"/>
                  </a:lnTo>
                  <a:lnTo>
                    <a:pt x="1072" y="989"/>
                  </a:lnTo>
                  <a:lnTo>
                    <a:pt x="1053" y="1012"/>
                  </a:lnTo>
                  <a:lnTo>
                    <a:pt x="1032" y="1032"/>
                  </a:lnTo>
                  <a:lnTo>
                    <a:pt x="1012" y="1052"/>
                  </a:lnTo>
                  <a:lnTo>
                    <a:pt x="989" y="1071"/>
                  </a:lnTo>
                  <a:lnTo>
                    <a:pt x="967" y="1090"/>
                  </a:lnTo>
                  <a:lnTo>
                    <a:pt x="943" y="1106"/>
                  </a:lnTo>
                  <a:lnTo>
                    <a:pt x="919" y="1122"/>
                  </a:lnTo>
                  <a:lnTo>
                    <a:pt x="893" y="1136"/>
                  </a:lnTo>
                  <a:lnTo>
                    <a:pt x="867" y="1149"/>
                  </a:lnTo>
                  <a:lnTo>
                    <a:pt x="840" y="1162"/>
                  </a:lnTo>
                  <a:lnTo>
                    <a:pt x="813" y="1173"/>
                  </a:lnTo>
                  <a:lnTo>
                    <a:pt x="784" y="1183"/>
                  </a:lnTo>
                  <a:lnTo>
                    <a:pt x="757" y="1191"/>
                  </a:lnTo>
                  <a:lnTo>
                    <a:pt x="727" y="1197"/>
                  </a:lnTo>
                  <a:lnTo>
                    <a:pt x="698" y="1202"/>
                  </a:lnTo>
                  <a:lnTo>
                    <a:pt x="667" y="1207"/>
                  </a:lnTo>
                  <a:lnTo>
                    <a:pt x="637" y="1208"/>
                  </a:lnTo>
                  <a:lnTo>
                    <a:pt x="605" y="1210"/>
                  </a:lnTo>
                  <a:lnTo>
                    <a:pt x="605" y="1210"/>
                  </a:lnTo>
                  <a:lnTo>
                    <a:pt x="575" y="1208"/>
                  </a:lnTo>
                  <a:lnTo>
                    <a:pt x="543" y="1207"/>
                  </a:lnTo>
                  <a:lnTo>
                    <a:pt x="514" y="1202"/>
                  </a:lnTo>
                  <a:lnTo>
                    <a:pt x="483" y="1197"/>
                  </a:lnTo>
                  <a:lnTo>
                    <a:pt x="455" y="1191"/>
                  </a:lnTo>
                  <a:lnTo>
                    <a:pt x="426" y="1183"/>
                  </a:lnTo>
                  <a:lnTo>
                    <a:pt x="397" y="1173"/>
                  </a:lnTo>
                  <a:lnTo>
                    <a:pt x="370" y="1162"/>
                  </a:lnTo>
                  <a:lnTo>
                    <a:pt x="343" y="1149"/>
                  </a:lnTo>
                  <a:lnTo>
                    <a:pt x="317" y="1136"/>
                  </a:lnTo>
                  <a:lnTo>
                    <a:pt x="291" y="1122"/>
                  </a:lnTo>
                  <a:lnTo>
                    <a:pt x="267" y="1106"/>
                  </a:lnTo>
                  <a:lnTo>
                    <a:pt x="243" y="1090"/>
                  </a:lnTo>
                  <a:lnTo>
                    <a:pt x="221" y="1071"/>
                  </a:lnTo>
                  <a:lnTo>
                    <a:pt x="198" y="1052"/>
                  </a:lnTo>
                  <a:lnTo>
                    <a:pt x="178" y="1032"/>
                  </a:lnTo>
                  <a:lnTo>
                    <a:pt x="157" y="1012"/>
                  </a:lnTo>
                  <a:lnTo>
                    <a:pt x="139" y="989"/>
                  </a:lnTo>
                  <a:lnTo>
                    <a:pt x="120" y="967"/>
                  </a:lnTo>
                  <a:lnTo>
                    <a:pt x="104" y="943"/>
                  </a:lnTo>
                  <a:lnTo>
                    <a:pt x="88" y="919"/>
                  </a:lnTo>
                  <a:lnTo>
                    <a:pt x="74" y="893"/>
                  </a:lnTo>
                  <a:lnTo>
                    <a:pt x="59" y="867"/>
                  </a:lnTo>
                  <a:lnTo>
                    <a:pt x="48" y="840"/>
                  </a:lnTo>
                  <a:lnTo>
                    <a:pt x="37" y="813"/>
                  </a:lnTo>
                  <a:lnTo>
                    <a:pt x="27" y="784"/>
                  </a:lnTo>
                  <a:lnTo>
                    <a:pt x="19" y="755"/>
                  </a:lnTo>
                  <a:lnTo>
                    <a:pt x="13" y="727"/>
                  </a:lnTo>
                  <a:lnTo>
                    <a:pt x="8" y="696"/>
                  </a:lnTo>
                  <a:lnTo>
                    <a:pt x="3" y="666"/>
                  </a:lnTo>
                  <a:lnTo>
                    <a:pt x="2" y="635"/>
                  </a:lnTo>
                  <a:lnTo>
                    <a:pt x="0" y="605"/>
                  </a:lnTo>
                  <a:lnTo>
                    <a:pt x="0" y="605"/>
                  </a:lnTo>
                  <a:lnTo>
                    <a:pt x="2" y="573"/>
                  </a:lnTo>
                  <a:lnTo>
                    <a:pt x="3" y="543"/>
                  </a:lnTo>
                  <a:lnTo>
                    <a:pt x="8" y="512"/>
                  </a:lnTo>
                  <a:lnTo>
                    <a:pt x="13" y="483"/>
                  </a:lnTo>
                  <a:lnTo>
                    <a:pt x="19" y="453"/>
                  </a:lnTo>
                  <a:lnTo>
                    <a:pt x="27" y="424"/>
                  </a:lnTo>
                  <a:lnTo>
                    <a:pt x="37" y="397"/>
                  </a:lnTo>
                  <a:lnTo>
                    <a:pt x="48" y="370"/>
                  </a:lnTo>
                  <a:lnTo>
                    <a:pt x="59" y="343"/>
                  </a:lnTo>
                  <a:lnTo>
                    <a:pt x="74" y="317"/>
                  </a:lnTo>
                  <a:lnTo>
                    <a:pt x="88" y="291"/>
                  </a:lnTo>
                  <a:lnTo>
                    <a:pt x="104" y="267"/>
                  </a:lnTo>
                  <a:lnTo>
                    <a:pt x="120" y="243"/>
                  </a:lnTo>
                  <a:lnTo>
                    <a:pt x="139" y="219"/>
                  </a:lnTo>
                  <a:lnTo>
                    <a:pt x="157" y="198"/>
                  </a:lnTo>
                  <a:lnTo>
                    <a:pt x="178" y="178"/>
                  </a:lnTo>
                  <a:lnTo>
                    <a:pt x="198" y="157"/>
                  </a:lnTo>
                  <a:lnTo>
                    <a:pt x="221" y="138"/>
                  </a:lnTo>
                  <a:lnTo>
                    <a:pt x="243" y="120"/>
                  </a:lnTo>
                  <a:lnTo>
                    <a:pt x="267" y="102"/>
                  </a:lnTo>
                  <a:lnTo>
                    <a:pt x="291" y="88"/>
                  </a:lnTo>
                  <a:lnTo>
                    <a:pt x="317" y="74"/>
                  </a:lnTo>
                  <a:lnTo>
                    <a:pt x="343" y="59"/>
                  </a:lnTo>
                  <a:lnTo>
                    <a:pt x="370" y="48"/>
                  </a:lnTo>
                  <a:lnTo>
                    <a:pt x="397" y="37"/>
                  </a:lnTo>
                  <a:lnTo>
                    <a:pt x="426" y="27"/>
                  </a:lnTo>
                  <a:lnTo>
                    <a:pt x="455" y="19"/>
                  </a:lnTo>
                  <a:lnTo>
                    <a:pt x="483" y="13"/>
                  </a:lnTo>
                  <a:lnTo>
                    <a:pt x="514" y="6"/>
                  </a:lnTo>
                  <a:lnTo>
                    <a:pt x="543" y="3"/>
                  </a:lnTo>
                  <a:lnTo>
                    <a:pt x="575" y="0"/>
                  </a:lnTo>
                  <a:lnTo>
                    <a:pt x="605" y="0"/>
                  </a:lnTo>
                  <a:lnTo>
                    <a:pt x="605" y="0"/>
                  </a:lnTo>
                  <a:lnTo>
                    <a:pt x="637" y="0"/>
                  </a:lnTo>
                  <a:lnTo>
                    <a:pt x="667" y="3"/>
                  </a:lnTo>
                  <a:lnTo>
                    <a:pt x="698" y="6"/>
                  </a:lnTo>
                  <a:lnTo>
                    <a:pt x="727" y="13"/>
                  </a:lnTo>
                  <a:lnTo>
                    <a:pt x="757" y="19"/>
                  </a:lnTo>
                  <a:lnTo>
                    <a:pt x="784" y="27"/>
                  </a:lnTo>
                  <a:lnTo>
                    <a:pt x="813" y="37"/>
                  </a:lnTo>
                  <a:lnTo>
                    <a:pt x="840" y="48"/>
                  </a:lnTo>
                  <a:lnTo>
                    <a:pt x="867" y="59"/>
                  </a:lnTo>
                  <a:lnTo>
                    <a:pt x="893" y="74"/>
                  </a:lnTo>
                  <a:lnTo>
                    <a:pt x="919" y="88"/>
                  </a:lnTo>
                  <a:lnTo>
                    <a:pt x="943" y="102"/>
                  </a:lnTo>
                  <a:lnTo>
                    <a:pt x="967" y="120"/>
                  </a:lnTo>
                  <a:lnTo>
                    <a:pt x="989" y="138"/>
                  </a:lnTo>
                  <a:lnTo>
                    <a:pt x="1012" y="157"/>
                  </a:lnTo>
                  <a:lnTo>
                    <a:pt x="1032" y="178"/>
                  </a:lnTo>
                  <a:lnTo>
                    <a:pt x="1053" y="198"/>
                  </a:lnTo>
                  <a:lnTo>
                    <a:pt x="1072" y="219"/>
                  </a:lnTo>
                  <a:lnTo>
                    <a:pt x="1090" y="243"/>
                  </a:lnTo>
                  <a:lnTo>
                    <a:pt x="1106" y="267"/>
                  </a:lnTo>
                  <a:lnTo>
                    <a:pt x="1122" y="291"/>
                  </a:lnTo>
                  <a:lnTo>
                    <a:pt x="1136" y="317"/>
                  </a:lnTo>
                  <a:lnTo>
                    <a:pt x="1151" y="343"/>
                  </a:lnTo>
                  <a:lnTo>
                    <a:pt x="1162" y="370"/>
                  </a:lnTo>
                  <a:lnTo>
                    <a:pt x="1173" y="397"/>
                  </a:lnTo>
                  <a:lnTo>
                    <a:pt x="1183" y="424"/>
                  </a:lnTo>
                  <a:lnTo>
                    <a:pt x="1191" y="453"/>
                  </a:lnTo>
                  <a:lnTo>
                    <a:pt x="1197" y="483"/>
                  </a:lnTo>
                  <a:lnTo>
                    <a:pt x="1204" y="512"/>
                  </a:lnTo>
                  <a:lnTo>
                    <a:pt x="1207" y="543"/>
                  </a:lnTo>
                  <a:lnTo>
                    <a:pt x="1208" y="573"/>
                  </a:lnTo>
                  <a:lnTo>
                    <a:pt x="1210" y="605"/>
                  </a:lnTo>
                  <a:close/>
                </a:path>
              </a:pathLst>
            </a:custGeom>
            <a:solidFill>
              <a:srgbClr val="109C9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8" name="Freeform 6">
              <a:extLst>
                <a:ext uri="{FF2B5EF4-FFF2-40B4-BE49-F238E27FC236}">
                  <a16:creationId xmlns:a16="http://schemas.microsoft.com/office/drawing/2014/main" id="{1EEC32DC-B543-3130-102E-889B9E6DDBB1}"/>
                </a:ext>
              </a:extLst>
            </p:cNvPr>
            <p:cNvSpPr>
              <a:spLocks/>
            </p:cNvSpPr>
            <p:nvPr/>
          </p:nvSpPr>
          <p:spPr bwMode="auto">
            <a:xfrm>
              <a:off x="6447" y="680"/>
              <a:ext cx="605" cy="605"/>
            </a:xfrm>
            <a:custGeom>
              <a:avLst/>
              <a:gdLst>
                <a:gd name="T0" fmla="*/ 1208 w 1210"/>
                <a:gd name="T1" fmla="*/ 635 h 1210"/>
                <a:gd name="T2" fmla="*/ 1197 w 1210"/>
                <a:gd name="T3" fmla="*/ 727 h 1210"/>
                <a:gd name="T4" fmla="*/ 1173 w 1210"/>
                <a:gd name="T5" fmla="*/ 813 h 1210"/>
                <a:gd name="T6" fmla="*/ 1136 w 1210"/>
                <a:gd name="T7" fmla="*/ 893 h 1210"/>
                <a:gd name="T8" fmla="*/ 1090 w 1210"/>
                <a:gd name="T9" fmla="*/ 967 h 1210"/>
                <a:gd name="T10" fmla="*/ 1032 w 1210"/>
                <a:gd name="T11" fmla="*/ 1032 h 1210"/>
                <a:gd name="T12" fmla="*/ 967 w 1210"/>
                <a:gd name="T13" fmla="*/ 1090 h 1210"/>
                <a:gd name="T14" fmla="*/ 893 w 1210"/>
                <a:gd name="T15" fmla="*/ 1136 h 1210"/>
                <a:gd name="T16" fmla="*/ 813 w 1210"/>
                <a:gd name="T17" fmla="*/ 1173 h 1210"/>
                <a:gd name="T18" fmla="*/ 727 w 1210"/>
                <a:gd name="T19" fmla="*/ 1197 h 1210"/>
                <a:gd name="T20" fmla="*/ 637 w 1210"/>
                <a:gd name="T21" fmla="*/ 1208 h 1210"/>
                <a:gd name="T22" fmla="*/ 575 w 1210"/>
                <a:gd name="T23" fmla="*/ 1208 h 1210"/>
                <a:gd name="T24" fmla="*/ 483 w 1210"/>
                <a:gd name="T25" fmla="*/ 1197 h 1210"/>
                <a:gd name="T26" fmla="*/ 397 w 1210"/>
                <a:gd name="T27" fmla="*/ 1173 h 1210"/>
                <a:gd name="T28" fmla="*/ 317 w 1210"/>
                <a:gd name="T29" fmla="*/ 1136 h 1210"/>
                <a:gd name="T30" fmla="*/ 243 w 1210"/>
                <a:gd name="T31" fmla="*/ 1090 h 1210"/>
                <a:gd name="T32" fmla="*/ 178 w 1210"/>
                <a:gd name="T33" fmla="*/ 1032 h 1210"/>
                <a:gd name="T34" fmla="*/ 120 w 1210"/>
                <a:gd name="T35" fmla="*/ 967 h 1210"/>
                <a:gd name="T36" fmla="*/ 74 w 1210"/>
                <a:gd name="T37" fmla="*/ 893 h 1210"/>
                <a:gd name="T38" fmla="*/ 37 w 1210"/>
                <a:gd name="T39" fmla="*/ 813 h 1210"/>
                <a:gd name="T40" fmla="*/ 13 w 1210"/>
                <a:gd name="T41" fmla="*/ 727 h 1210"/>
                <a:gd name="T42" fmla="*/ 2 w 1210"/>
                <a:gd name="T43" fmla="*/ 635 h 1210"/>
                <a:gd name="T44" fmla="*/ 2 w 1210"/>
                <a:gd name="T45" fmla="*/ 573 h 1210"/>
                <a:gd name="T46" fmla="*/ 13 w 1210"/>
                <a:gd name="T47" fmla="*/ 483 h 1210"/>
                <a:gd name="T48" fmla="*/ 37 w 1210"/>
                <a:gd name="T49" fmla="*/ 397 h 1210"/>
                <a:gd name="T50" fmla="*/ 74 w 1210"/>
                <a:gd name="T51" fmla="*/ 317 h 1210"/>
                <a:gd name="T52" fmla="*/ 120 w 1210"/>
                <a:gd name="T53" fmla="*/ 243 h 1210"/>
                <a:gd name="T54" fmla="*/ 178 w 1210"/>
                <a:gd name="T55" fmla="*/ 178 h 1210"/>
                <a:gd name="T56" fmla="*/ 243 w 1210"/>
                <a:gd name="T57" fmla="*/ 120 h 1210"/>
                <a:gd name="T58" fmla="*/ 317 w 1210"/>
                <a:gd name="T59" fmla="*/ 74 h 1210"/>
                <a:gd name="T60" fmla="*/ 397 w 1210"/>
                <a:gd name="T61" fmla="*/ 37 h 1210"/>
                <a:gd name="T62" fmla="*/ 483 w 1210"/>
                <a:gd name="T63" fmla="*/ 13 h 1210"/>
                <a:gd name="T64" fmla="*/ 575 w 1210"/>
                <a:gd name="T65" fmla="*/ 0 h 1210"/>
                <a:gd name="T66" fmla="*/ 637 w 1210"/>
                <a:gd name="T67" fmla="*/ 0 h 1210"/>
                <a:gd name="T68" fmla="*/ 727 w 1210"/>
                <a:gd name="T69" fmla="*/ 13 h 1210"/>
                <a:gd name="T70" fmla="*/ 813 w 1210"/>
                <a:gd name="T71" fmla="*/ 37 h 1210"/>
                <a:gd name="T72" fmla="*/ 893 w 1210"/>
                <a:gd name="T73" fmla="*/ 74 h 1210"/>
                <a:gd name="T74" fmla="*/ 967 w 1210"/>
                <a:gd name="T75" fmla="*/ 120 h 1210"/>
                <a:gd name="T76" fmla="*/ 1032 w 1210"/>
                <a:gd name="T77" fmla="*/ 178 h 1210"/>
                <a:gd name="T78" fmla="*/ 1090 w 1210"/>
                <a:gd name="T79" fmla="*/ 243 h 1210"/>
                <a:gd name="T80" fmla="*/ 1136 w 1210"/>
                <a:gd name="T81" fmla="*/ 317 h 1210"/>
                <a:gd name="T82" fmla="*/ 1173 w 1210"/>
                <a:gd name="T83" fmla="*/ 397 h 1210"/>
                <a:gd name="T84" fmla="*/ 1197 w 1210"/>
                <a:gd name="T85" fmla="*/ 483 h 1210"/>
                <a:gd name="T86" fmla="*/ 1208 w 1210"/>
                <a:gd name="T87" fmla="*/ 573 h 121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210" h="1210">
                  <a:moveTo>
                    <a:pt x="1210" y="605"/>
                  </a:moveTo>
                  <a:lnTo>
                    <a:pt x="1210" y="605"/>
                  </a:lnTo>
                  <a:lnTo>
                    <a:pt x="1208" y="635"/>
                  </a:lnTo>
                  <a:lnTo>
                    <a:pt x="1207" y="666"/>
                  </a:lnTo>
                  <a:lnTo>
                    <a:pt x="1204" y="696"/>
                  </a:lnTo>
                  <a:lnTo>
                    <a:pt x="1197" y="727"/>
                  </a:lnTo>
                  <a:lnTo>
                    <a:pt x="1191" y="755"/>
                  </a:lnTo>
                  <a:lnTo>
                    <a:pt x="1183" y="784"/>
                  </a:lnTo>
                  <a:lnTo>
                    <a:pt x="1173" y="813"/>
                  </a:lnTo>
                  <a:lnTo>
                    <a:pt x="1162" y="840"/>
                  </a:lnTo>
                  <a:lnTo>
                    <a:pt x="1151" y="867"/>
                  </a:lnTo>
                  <a:lnTo>
                    <a:pt x="1136" y="893"/>
                  </a:lnTo>
                  <a:lnTo>
                    <a:pt x="1122" y="919"/>
                  </a:lnTo>
                  <a:lnTo>
                    <a:pt x="1106" y="943"/>
                  </a:lnTo>
                  <a:lnTo>
                    <a:pt x="1090" y="967"/>
                  </a:lnTo>
                  <a:lnTo>
                    <a:pt x="1072" y="989"/>
                  </a:lnTo>
                  <a:lnTo>
                    <a:pt x="1053" y="1012"/>
                  </a:lnTo>
                  <a:lnTo>
                    <a:pt x="1032" y="1032"/>
                  </a:lnTo>
                  <a:lnTo>
                    <a:pt x="1012" y="1052"/>
                  </a:lnTo>
                  <a:lnTo>
                    <a:pt x="989" y="1071"/>
                  </a:lnTo>
                  <a:lnTo>
                    <a:pt x="967" y="1090"/>
                  </a:lnTo>
                  <a:lnTo>
                    <a:pt x="943" y="1106"/>
                  </a:lnTo>
                  <a:lnTo>
                    <a:pt x="919" y="1122"/>
                  </a:lnTo>
                  <a:lnTo>
                    <a:pt x="893" y="1136"/>
                  </a:lnTo>
                  <a:lnTo>
                    <a:pt x="867" y="1149"/>
                  </a:lnTo>
                  <a:lnTo>
                    <a:pt x="840" y="1162"/>
                  </a:lnTo>
                  <a:lnTo>
                    <a:pt x="813" y="1173"/>
                  </a:lnTo>
                  <a:lnTo>
                    <a:pt x="784" y="1183"/>
                  </a:lnTo>
                  <a:lnTo>
                    <a:pt x="757" y="1191"/>
                  </a:lnTo>
                  <a:lnTo>
                    <a:pt x="727" y="1197"/>
                  </a:lnTo>
                  <a:lnTo>
                    <a:pt x="698" y="1202"/>
                  </a:lnTo>
                  <a:lnTo>
                    <a:pt x="667" y="1207"/>
                  </a:lnTo>
                  <a:lnTo>
                    <a:pt x="637" y="1208"/>
                  </a:lnTo>
                  <a:lnTo>
                    <a:pt x="605" y="1210"/>
                  </a:lnTo>
                  <a:lnTo>
                    <a:pt x="605" y="1210"/>
                  </a:lnTo>
                  <a:lnTo>
                    <a:pt x="575" y="1208"/>
                  </a:lnTo>
                  <a:lnTo>
                    <a:pt x="543" y="1207"/>
                  </a:lnTo>
                  <a:lnTo>
                    <a:pt x="514" y="1202"/>
                  </a:lnTo>
                  <a:lnTo>
                    <a:pt x="483" y="1197"/>
                  </a:lnTo>
                  <a:lnTo>
                    <a:pt x="455" y="1191"/>
                  </a:lnTo>
                  <a:lnTo>
                    <a:pt x="426" y="1183"/>
                  </a:lnTo>
                  <a:lnTo>
                    <a:pt x="397" y="1173"/>
                  </a:lnTo>
                  <a:lnTo>
                    <a:pt x="370" y="1162"/>
                  </a:lnTo>
                  <a:lnTo>
                    <a:pt x="343" y="1149"/>
                  </a:lnTo>
                  <a:lnTo>
                    <a:pt x="317" y="1136"/>
                  </a:lnTo>
                  <a:lnTo>
                    <a:pt x="291" y="1122"/>
                  </a:lnTo>
                  <a:lnTo>
                    <a:pt x="267" y="1106"/>
                  </a:lnTo>
                  <a:lnTo>
                    <a:pt x="243" y="1090"/>
                  </a:lnTo>
                  <a:lnTo>
                    <a:pt x="221" y="1071"/>
                  </a:lnTo>
                  <a:lnTo>
                    <a:pt x="198" y="1052"/>
                  </a:lnTo>
                  <a:lnTo>
                    <a:pt x="178" y="1032"/>
                  </a:lnTo>
                  <a:lnTo>
                    <a:pt x="157" y="1012"/>
                  </a:lnTo>
                  <a:lnTo>
                    <a:pt x="139" y="989"/>
                  </a:lnTo>
                  <a:lnTo>
                    <a:pt x="120" y="967"/>
                  </a:lnTo>
                  <a:lnTo>
                    <a:pt x="104" y="943"/>
                  </a:lnTo>
                  <a:lnTo>
                    <a:pt x="88" y="919"/>
                  </a:lnTo>
                  <a:lnTo>
                    <a:pt x="74" y="893"/>
                  </a:lnTo>
                  <a:lnTo>
                    <a:pt x="59" y="867"/>
                  </a:lnTo>
                  <a:lnTo>
                    <a:pt x="48" y="840"/>
                  </a:lnTo>
                  <a:lnTo>
                    <a:pt x="37" y="813"/>
                  </a:lnTo>
                  <a:lnTo>
                    <a:pt x="27" y="784"/>
                  </a:lnTo>
                  <a:lnTo>
                    <a:pt x="19" y="755"/>
                  </a:lnTo>
                  <a:lnTo>
                    <a:pt x="13" y="727"/>
                  </a:lnTo>
                  <a:lnTo>
                    <a:pt x="8" y="696"/>
                  </a:lnTo>
                  <a:lnTo>
                    <a:pt x="3" y="666"/>
                  </a:lnTo>
                  <a:lnTo>
                    <a:pt x="2" y="635"/>
                  </a:lnTo>
                  <a:lnTo>
                    <a:pt x="0" y="605"/>
                  </a:lnTo>
                  <a:lnTo>
                    <a:pt x="0" y="605"/>
                  </a:lnTo>
                  <a:lnTo>
                    <a:pt x="2" y="573"/>
                  </a:lnTo>
                  <a:lnTo>
                    <a:pt x="3" y="543"/>
                  </a:lnTo>
                  <a:lnTo>
                    <a:pt x="8" y="512"/>
                  </a:lnTo>
                  <a:lnTo>
                    <a:pt x="13" y="483"/>
                  </a:lnTo>
                  <a:lnTo>
                    <a:pt x="19" y="453"/>
                  </a:lnTo>
                  <a:lnTo>
                    <a:pt x="27" y="424"/>
                  </a:lnTo>
                  <a:lnTo>
                    <a:pt x="37" y="397"/>
                  </a:lnTo>
                  <a:lnTo>
                    <a:pt x="48" y="370"/>
                  </a:lnTo>
                  <a:lnTo>
                    <a:pt x="59" y="343"/>
                  </a:lnTo>
                  <a:lnTo>
                    <a:pt x="74" y="317"/>
                  </a:lnTo>
                  <a:lnTo>
                    <a:pt x="88" y="291"/>
                  </a:lnTo>
                  <a:lnTo>
                    <a:pt x="104" y="267"/>
                  </a:lnTo>
                  <a:lnTo>
                    <a:pt x="120" y="243"/>
                  </a:lnTo>
                  <a:lnTo>
                    <a:pt x="139" y="219"/>
                  </a:lnTo>
                  <a:lnTo>
                    <a:pt x="157" y="198"/>
                  </a:lnTo>
                  <a:lnTo>
                    <a:pt x="178" y="178"/>
                  </a:lnTo>
                  <a:lnTo>
                    <a:pt x="198" y="157"/>
                  </a:lnTo>
                  <a:lnTo>
                    <a:pt x="221" y="138"/>
                  </a:lnTo>
                  <a:lnTo>
                    <a:pt x="243" y="120"/>
                  </a:lnTo>
                  <a:lnTo>
                    <a:pt x="267" y="102"/>
                  </a:lnTo>
                  <a:lnTo>
                    <a:pt x="291" y="88"/>
                  </a:lnTo>
                  <a:lnTo>
                    <a:pt x="317" y="74"/>
                  </a:lnTo>
                  <a:lnTo>
                    <a:pt x="343" y="59"/>
                  </a:lnTo>
                  <a:lnTo>
                    <a:pt x="370" y="48"/>
                  </a:lnTo>
                  <a:lnTo>
                    <a:pt x="397" y="37"/>
                  </a:lnTo>
                  <a:lnTo>
                    <a:pt x="426" y="27"/>
                  </a:lnTo>
                  <a:lnTo>
                    <a:pt x="455" y="19"/>
                  </a:lnTo>
                  <a:lnTo>
                    <a:pt x="483" y="13"/>
                  </a:lnTo>
                  <a:lnTo>
                    <a:pt x="514" y="6"/>
                  </a:lnTo>
                  <a:lnTo>
                    <a:pt x="543" y="3"/>
                  </a:lnTo>
                  <a:lnTo>
                    <a:pt x="575" y="0"/>
                  </a:lnTo>
                  <a:lnTo>
                    <a:pt x="605" y="0"/>
                  </a:lnTo>
                  <a:lnTo>
                    <a:pt x="605" y="0"/>
                  </a:lnTo>
                  <a:lnTo>
                    <a:pt x="637" y="0"/>
                  </a:lnTo>
                  <a:lnTo>
                    <a:pt x="667" y="3"/>
                  </a:lnTo>
                  <a:lnTo>
                    <a:pt x="698" y="6"/>
                  </a:lnTo>
                  <a:lnTo>
                    <a:pt x="727" y="13"/>
                  </a:lnTo>
                  <a:lnTo>
                    <a:pt x="757" y="19"/>
                  </a:lnTo>
                  <a:lnTo>
                    <a:pt x="784" y="27"/>
                  </a:lnTo>
                  <a:lnTo>
                    <a:pt x="813" y="37"/>
                  </a:lnTo>
                  <a:lnTo>
                    <a:pt x="840" y="48"/>
                  </a:lnTo>
                  <a:lnTo>
                    <a:pt x="867" y="59"/>
                  </a:lnTo>
                  <a:lnTo>
                    <a:pt x="893" y="74"/>
                  </a:lnTo>
                  <a:lnTo>
                    <a:pt x="919" y="88"/>
                  </a:lnTo>
                  <a:lnTo>
                    <a:pt x="943" y="102"/>
                  </a:lnTo>
                  <a:lnTo>
                    <a:pt x="967" y="120"/>
                  </a:lnTo>
                  <a:lnTo>
                    <a:pt x="989" y="138"/>
                  </a:lnTo>
                  <a:lnTo>
                    <a:pt x="1012" y="157"/>
                  </a:lnTo>
                  <a:lnTo>
                    <a:pt x="1032" y="178"/>
                  </a:lnTo>
                  <a:lnTo>
                    <a:pt x="1053" y="198"/>
                  </a:lnTo>
                  <a:lnTo>
                    <a:pt x="1072" y="219"/>
                  </a:lnTo>
                  <a:lnTo>
                    <a:pt x="1090" y="243"/>
                  </a:lnTo>
                  <a:lnTo>
                    <a:pt x="1106" y="267"/>
                  </a:lnTo>
                  <a:lnTo>
                    <a:pt x="1122" y="291"/>
                  </a:lnTo>
                  <a:lnTo>
                    <a:pt x="1136" y="317"/>
                  </a:lnTo>
                  <a:lnTo>
                    <a:pt x="1151" y="343"/>
                  </a:lnTo>
                  <a:lnTo>
                    <a:pt x="1162" y="370"/>
                  </a:lnTo>
                  <a:lnTo>
                    <a:pt x="1173" y="397"/>
                  </a:lnTo>
                  <a:lnTo>
                    <a:pt x="1183" y="424"/>
                  </a:lnTo>
                  <a:lnTo>
                    <a:pt x="1191" y="453"/>
                  </a:lnTo>
                  <a:lnTo>
                    <a:pt x="1197" y="483"/>
                  </a:lnTo>
                  <a:lnTo>
                    <a:pt x="1204" y="512"/>
                  </a:lnTo>
                  <a:lnTo>
                    <a:pt x="1207" y="543"/>
                  </a:lnTo>
                  <a:lnTo>
                    <a:pt x="1208" y="573"/>
                  </a:lnTo>
                  <a:lnTo>
                    <a:pt x="1210" y="605"/>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9" name="Freeform 7">
              <a:extLst>
                <a:ext uri="{FF2B5EF4-FFF2-40B4-BE49-F238E27FC236}">
                  <a16:creationId xmlns:a16="http://schemas.microsoft.com/office/drawing/2014/main" id="{055D7D5D-69E8-79A8-39DE-93F1E8232C0F}"/>
                </a:ext>
              </a:extLst>
            </p:cNvPr>
            <p:cNvSpPr>
              <a:spLocks noEditPoints="1"/>
            </p:cNvSpPr>
            <p:nvPr/>
          </p:nvSpPr>
          <p:spPr bwMode="auto">
            <a:xfrm>
              <a:off x="6750" y="1284"/>
              <a:ext cx="9" cy="1"/>
            </a:xfrm>
            <a:custGeom>
              <a:avLst/>
              <a:gdLst>
                <a:gd name="T0" fmla="*/ 0 w 19"/>
                <a:gd name="T1" fmla="*/ 2 h 2"/>
                <a:gd name="T2" fmla="*/ 2 w 19"/>
                <a:gd name="T3" fmla="*/ 2 h 2"/>
                <a:gd name="T4" fmla="*/ 0 w 19"/>
                <a:gd name="T5" fmla="*/ 2 h 2"/>
                <a:gd name="T6" fmla="*/ 2 w 19"/>
                <a:gd name="T7" fmla="*/ 2 h 2"/>
                <a:gd name="T8" fmla="*/ 2 w 19"/>
                <a:gd name="T9" fmla="*/ 2 h 2"/>
                <a:gd name="T10" fmla="*/ 2 w 19"/>
                <a:gd name="T11" fmla="*/ 2 h 2"/>
                <a:gd name="T12" fmla="*/ 3 w 19"/>
                <a:gd name="T13" fmla="*/ 2 h 2"/>
                <a:gd name="T14" fmla="*/ 2 w 19"/>
                <a:gd name="T15" fmla="*/ 2 h 2"/>
                <a:gd name="T16" fmla="*/ 3 w 19"/>
                <a:gd name="T17" fmla="*/ 2 h 2"/>
                <a:gd name="T18" fmla="*/ 3 w 19"/>
                <a:gd name="T19" fmla="*/ 2 h 2"/>
                <a:gd name="T20" fmla="*/ 3 w 19"/>
                <a:gd name="T21" fmla="*/ 2 h 2"/>
                <a:gd name="T22" fmla="*/ 3 w 19"/>
                <a:gd name="T23" fmla="*/ 2 h 2"/>
                <a:gd name="T24" fmla="*/ 3 w 19"/>
                <a:gd name="T25" fmla="*/ 2 h 2"/>
                <a:gd name="T26" fmla="*/ 5 w 19"/>
                <a:gd name="T27" fmla="*/ 2 h 2"/>
                <a:gd name="T28" fmla="*/ 5 w 19"/>
                <a:gd name="T29" fmla="*/ 2 h 2"/>
                <a:gd name="T30" fmla="*/ 5 w 19"/>
                <a:gd name="T31" fmla="*/ 2 h 2"/>
                <a:gd name="T32" fmla="*/ 5 w 19"/>
                <a:gd name="T33" fmla="*/ 2 h 2"/>
                <a:gd name="T34" fmla="*/ 5 w 19"/>
                <a:gd name="T35" fmla="*/ 2 h 2"/>
                <a:gd name="T36" fmla="*/ 6 w 19"/>
                <a:gd name="T37" fmla="*/ 2 h 2"/>
                <a:gd name="T38" fmla="*/ 6 w 19"/>
                <a:gd name="T39" fmla="*/ 2 h 2"/>
                <a:gd name="T40" fmla="*/ 6 w 19"/>
                <a:gd name="T41" fmla="*/ 2 h 2"/>
                <a:gd name="T42" fmla="*/ 6 w 19"/>
                <a:gd name="T43" fmla="*/ 2 h 2"/>
                <a:gd name="T44" fmla="*/ 6 w 19"/>
                <a:gd name="T45" fmla="*/ 2 h 2"/>
                <a:gd name="T46" fmla="*/ 8 w 19"/>
                <a:gd name="T47" fmla="*/ 2 h 2"/>
                <a:gd name="T48" fmla="*/ 8 w 19"/>
                <a:gd name="T49" fmla="*/ 2 h 2"/>
                <a:gd name="T50" fmla="*/ 8 w 19"/>
                <a:gd name="T51" fmla="*/ 2 h 2"/>
                <a:gd name="T52" fmla="*/ 8 w 19"/>
                <a:gd name="T53" fmla="*/ 2 h 2"/>
                <a:gd name="T54" fmla="*/ 8 w 19"/>
                <a:gd name="T55" fmla="*/ 2 h 2"/>
                <a:gd name="T56" fmla="*/ 8 w 19"/>
                <a:gd name="T57" fmla="*/ 2 h 2"/>
                <a:gd name="T58" fmla="*/ 8 w 19"/>
                <a:gd name="T59" fmla="*/ 2 h 2"/>
                <a:gd name="T60" fmla="*/ 10 w 19"/>
                <a:gd name="T61" fmla="*/ 2 h 2"/>
                <a:gd name="T62" fmla="*/ 10 w 19"/>
                <a:gd name="T63" fmla="*/ 2 h 2"/>
                <a:gd name="T64" fmla="*/ 10 w 19"/>
                <a:gd name="T65" fmla="*/ 2 h 2"/>
                <a:gd name="T66" fmla="*/ 10 w 19"/>
                <a:gd name="T67" fmla="*/ 2 h 2"/>
                <a:gd name="T68" fmla="*/ 10 w 19"/>
                <a:gd name="T69" fmla="*/ 2 h 2"/>
                <a:gd name="T70" fmla="*/ 11 w 19"/>
                <a:gd name="T71" fmla="*/ 2 h 2"/>
                <a:gd name="T72" fmla="*/ 11 w 19"/>
                <a:gd name="T73" fmla="*/ 2 h 2"/>
                <a:gd name="T74" fmla="*/ 11 w 19"/>
                <a:gd name="T75" fmla="*/ 2 h 2"/>
                <a:gd name="T76" fmla="*/ 11 w 19"/>
                <a:gd name="T77" fmla="*/ 2 h 2"/>
                <a:gd name="T78" fmla="*/ 11 w 19"/>
                <a:gd name="T79" fmla="*/ 2 h 2"/>
                <a:gd name="T80" fmla="*/ 18 w 19"/>
                <a:gd name="T81" fmla="*/ 0 h 2"/>
                <a:gd name="T82" fmla="*/ 18 w 19"/>
                <a:gd name="T83" fmla="*/ 0 h 2"/>
                <a:gd name="T84" fmla="*/ 19 w 19"/>
                <a:gd name="T85" fmla="*/ 0 h 2"/>
                <a:gd name="T86" fmla="*/ 19 w 19"/>
                <a:gd name="T87" fmla="*/ 0 h 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9" h="2">
                  <a:moveTo>
                    <a:pt x="0" y="2"/>
                  </a:moveTo>
                  <a:lnTo>
                    <a:pt x="0" y="2"/>
                  </a:lnTo>
                  <a:lnTo>
                    <a:pt x="0" y="2"/>
                  </a:lnTo>
                  <a:lnTo>
                    <a:pt x="0" y="2"/>
                  </a:lnTo>
                  <a:lnTo>
                    <a:pt x="0" y="2"/>
                  </a:lnTo>
                  <a:close/>
                  <a:moveTo>
                    <a:pt x="2" y="2"/>
                  </a:moveTo>
                  <a:lnTo>
                    <a:pt x="2" y="2"/>
                  </a:lnTo>
                  <a:lnTo>
                    <a:pt x="0" y="2"/>
                  </a:lnTo>
                  <a:lnTo>
                    <a:pt x="0" y="2"/>
                  </a:lnTo>
                  <a:lnTo>
                    <a:pt x="2" y="2"/>
                  </a:lnTo>
                  <a:close/>
                  <a:moveTo>
                    <a:pt x="2" y="2"/>
                  </a:moveTo>
                  <a:lnTo>
                    <a:pt x="2" y="2"/>
                  </a:lnTo>
                  <a:lnTo>
                    <a:pt x="2" y="2"/>
                  </a:lnTo>
                  <a:lnTo>
                    <a:pt x="2" y="2"/>
                  </a:lnTo>
                  <a:lnTo>
                    <a:pt x="2" y="2"/>
                  </a:lnTo>
                  <a:close/>
                  <a:moveTo>
                    <a:pt x="2" y="2"/>
                  </a:moveTo>
                  <a:lnTo>
                    <a:pt x="2" y="2"/>
                  </a:lnTo>
                  <a:lnTo>
                    <a:pt x="2" y="2"/>
                  </a:lnTo>
                  <a:lnTo>
                    <a:pt x="2" y="2"/>
                  </a:lnTo>
                  <a:lnTo>
                    <a:pt x="2" y="2"/>
                  </a:lnTo>
                  <a:close/>
                  <a:moveTo>
                    <a:pt x="3" y="2"/>
                  </a:moveTo>
                  <a:lnTo>
                    <a:pt x="3" y="2"/>
                  </a:lnTo>
                  <a:lnTo>
                    <a:pt x="2" y="2"/>
                  </a:lnTo>
                  <a:lnTo>
                    <a:pt x="2" y="2"/>
                  </a:lnTo>
                  <a:lnTo>
                    <a:pt x="3" y="2"/>
                  </a:lnTo>
                  <a:close/>
                  <a:moveTo>
                    <a:pt x="3" y="2"/>
                  </a:moveTo>
                  <a:lnTo>
                    <a:pt x="3" y="2"/>
                  </a:lnTo>
                  <a:lnTo>
                    <a:pt x="3" y="2"/>
                  </a:lnTo>
                  <a:lnTo>
                    <a:pt x="3" y="2"/>
                  </a:lnTo>
                  <a:lnTo>
                    <a:pt x="3" y="2"/>
                  </a:lnTo>
                  <a:close/>
                  <a:moveTo>
                    <a:pt x="3" y="2"/>
                  </a:moveTo>
                  <a:lnTo>
                    <a:pt x="3" y="2"/>
                  </a:lnTo>
                  <a:lnTo>
                    <a:pt x="3" y="2"/>
                  </a:lnTo>
                  <a:lnTo>
                    <a:pt x="3" y="2"/>
                  </a:lnTo>
                  <a:lnTo>
                    <a:pt x="3" y="2"/>
                  </a:lnTo>
                  <a:close/>
                  <a:moveTo>
                    <a:pt x="3" y="2"/>
                  </a:moveTo>
                  <a:lnTo>
                    <a:pt x="3" y="2"/>
                  </a:lnTo>
                  <a:lnTo>
                    <a:pt x="3" y="2"/>
                  </a:lnTo>
                  <a:lnTo>
                    <a:pt x="3" y="2"/>
                  </a:lnTo>
                  <a:lnTo>
                    <a:pt x="3" y="2"/>
                  </a:lnTo>
                  <a:close/>
                  <a:moveTo>
                    <a:pt x="5" y="2"/>
                  </a:moveTo>
                  <a:lnTo>
                    <a:pt x="5" y="2"/>
                  </a:lnTo>
                  <a:lnTo>
                    <a:pt x="5" y="2"/>
                  </a:lnTo>
                  <a:lnTo>
                    <a:pt x="5" y="2"/>
                  </a:lnTo>
                  <a:lnTo>
                    <a:pt x="5" y="2"/>
                  </a:lnTo>
                  <a:close/>
                  <a:moveTo>
                    <a:pt x="5" y="2"/>
                  </a:moveTo>
                  <a:lnTo>
                    <a:pt x="5" y="2"/>
                  </a:lnTo>
                  <a:lnTo>
                    <a:pt x="5" y="2"/>
                  </a:lnTo>
                  <a:lnTo>
                    <a:pt x="5" y="2"/>
                  </a:lnTo>
                  <a:lnTo>
                    <a:pt x="5" y="2"/>
                  </a:lnTo>
                  <a:close/>
                  <a:moveTo>
                    <a:pt x="5" y="2"/>
                  </a:moveTo>
                  <a:lnTo>
                    <a:pt x="5" y="2"/>
                  </a:lnTo>
                  <a:lnTo>
                    <a:pt x="5" y="2"/>
                  </a:lnTo>
                  <a:lnTo>
                    <a:pt x="5" y="2"/>
                  </a:lnTo>
                  <a:lnTo>
                    <a:pt x="5" y="2"/>
                  </a:lnTo>
                  <a:close/>
                  <a:moveTo>
                    <a:pt x="6" y="2"/>
                  </a:moveTo>
                  <a:lnTo>
                    <a:pt x="6" y="2"/>
                  </a:lnTo>
                  <a:lnTo>
                    <a:pt x="6" y="2"/>
                  </a:lnTo>
                  <a:lnTo>
                    <a:pt x="6" y="2"/>
                  </a:lnTo>
                  <a:lnTo>
                    <a:pt x="6" y="2"/>
                  </a:lnTo>
                  <a:close/>
                  <a:moveTo>
                    <a:pt x="6" y="2"/>
                  </a:moveTo>
                  <a:lnTo>
                    <a:pt x="6" y="2"/>
                  </a:lnTo>
                  <a:lnTo>
                    <a:pt x="6" y="2"/>
                  </a:lnTo>
                  <a:lnTo>
                    <a:pt x="6" y="2"/>
                  </a:lnTo>
                  <a:lnTo>
                    <a:pt x="6" y="2"/>
                  </a:lnTo>
                  <a:close/>
                  <a:moveTo>
                    <a:pt x="6" y="2"/>
                  </a:moveTo>
                  <a:lnTo>
                    <a:pt x="6" y="2"/>
                  </a:lnTo>
                  <a:lnTo>
                    <a:pt x="6" y="2"/>
                  </a:lnTo>
                  <a:lnTo>
                    <a:pt x="6" y="2"/>
                  </a:lnTo>
                  <a:lnTo>
                    <a:pt x="6" y="2"/>
                  </a:lnTo>
                  <a:close/>
                  <a:moveTo>
                    <a:pt x="8" y="2"/>
                  </a:moveTo>
                  <a:lnTo>
                    <a:pt x="8" y="2"/>
                  </a:lnTo>
                  <a:lnTo>
                    <a:pt x="6" y="2"/>
                  </a:lnTo>
                  <a:lnTo>
                    <a:pt x="6" y="2"/>
                  </a:lnTo>
                  <a:lnTo>
                    <a:pt x="8" y="2"/>
                  </a:lnTo>
                  <a:close/>
                  <a:moveTo>
                    <a:pt x="8" y="2"/>
                  </a:moveTo>
                  <a:lnTo>
                    <a:pt x="8" y="2"/>
                  </a:lnTo>
                  <a:lnTo>
                    <a:pt x="8" y="2"/>
                  </a:lnTo>
                  <a:lnTo>
                    <a:pt x="8" y="2"/>
                  </a:lnTo>
                  <a:lnTo>
                    <a:pt x="8" y="2"/>
                  </a:lnTo>
                  <a:close/>
                  <a:moveTo>
                    <a:pt x="8" y="2"/>
                  </a:moveTo>
                  <a:lnTo>
                    <a:pt x="8" y="2"/>
                  </a:lnTo>
                  <a:lnTo>
                    <a:pt x="8" y="2"/>
                  </a:lnTo>
                  <a:lnTo>
                    <a:pt x="8" y="2"/>
                  </a:lnTo>
                  <a:lnTo>
                    <a:pt x="8" y="2"/>
                  </a:lnTo>
                  <a:close/>
                  <a:moveTo>
                    <a:pt x="8" y="2"/>
                  </a:moveTo>
                  <a:lnTo>
                    <a:pt x="8" y="2"/>
                  </a:lnTo>
                  <a:lnTo>
                    <a:pt x="8" y="2"/>
                  </a:lnTo>
                  <a:lnTo>
                    <a:pt x="8" y="2"/>
                  </a:lnTo>
                  <a:lnTo>
                    <a:pt x="8" y="2"/>
                  </a:lnTo>
                  <a:close/>
                  <a:moveTo>
                    <a:pt x="10" y="2"/>
                  </a:moveTo>
                  <a:lnTo>
                    <a:pt x="10" y="2"/>
                  </a:lnTo>
                  <a:lnTo>
                    <a:pt x="10" y="2"/>
                  </a:lnTo>
                  <a:lnTo>
                    <a:pt x="10" y="2"/>
                  </a:lnTo>
                  <a:lnTo>
                    <a:pt x="10" y="2"/>
                  </a:lnTo>
                  <a:close/>
                  <a:moveTo>
                    <a:pt x="10" y="2"/>
                  </a:moveTo>
                  <a:lnTo>
                    <a:pt x="10" y="2"/>
                  </a:lnTo>
                  <a:lnTo>
                    <a:pt x="10" y="2"/>
                  </a:lnTo>
                  <a:lnTo>
                    <a:pt x="10" y="2"/>
                  </a:lnTo>
                  <a:lnTo>
                    <a:pt x="10" y="2"/>
                  </a:lnTo>
                  <a:close/>
                  <a:moveTo>
                    <a:pt x="10" y="2"/>
                  </a:moveTo>
                  <a:lnTo>
                    <a:pt x="10" y="2"/>
                  </a:lnTo>
                  <a:lnTo>
                    <a:pt x="10" y="2"/>
                  </a:lnTo>
                  <a:lnTo>
                    <a:pt x="10" y="2"/>
                  </a:lnTo>
                  <a:lnTo>
                    <a:pt x="10" y="2"/>
                  </a:lnTo>
                  <a:close/>
                  <a:moveTo>
                    <a:pt x="11" y="2"/>
                  </a:moveTo>
                  <a:lnTo>
                    <a:pt x="11" y="2"/>
                  </a:lnTo>
                  <a:lnTo>
                    <a:pt x="11" y="2"/>
                  </a:lnTo>
                  <a:lnTo>
                    <a:pt x="11" y="2"/>
                  </a:lnTo>
                  <a:lnTo>
                    <a:pt x="11" y="2"/>
                  </a:lnTo>
                  <a:close/>
                  <a:moveTo>
                    <a:pt x="11" y="2"/>
                  </a:moveTo>
                  <a:lnTo>
                    <a:pt x="11" y="2"/>
                  </a:lnTo>
                  <a:lnTo>
                    <a:pt x="11" y="2"/>
                  </a:lnTo>
                  <a:lnTo>
                    <a:pt x="11" y="2"/>
                  </a:lnTo>
                  <a:lnTo>
                    <a:pt x="11" y="2"/>
                  </a:lnTo>
                  <a:close/>
                  <a:moveTo>
                    <a:pt x="11" y="2"/>
                  </a:moveTo>
                  <a:lnTo>
                    <a:pt x="11" y="2"/>
                  </a:lnTo>
                  <a:lnTo>
                    <a:pt x="11" y="2"/>
                  </a:lnTo>
                  <a:lnTo>
                    <a:pt x="11" y="2"/>
                  </a:lnTo>
                  <a:lnTo>
                    <a:pt x="11" y="2"/>
                  </a:lnTo>
                  <a:close/>
                  <a:moveTo>
                    <a:pt x="18" y="0"/>
                  </a:moveTo>
                  <a:lnTo>
                    <a:pt x="18" y="0"/>
                  </a:lnTo>
                  <a:lnTo>
                    <a:pt x="18" y="0"/>
                  </a:lnTo>
                  <a:lnTo>
                    <a:pt x="18" y="0"/>
                  </a:lnTo>
                  <a:close/>
                  <a:moveTo>
                    <a:pt x="18" y="0"/>
                  </a:moveTo>
                  <a:lnTo>
                    <a:pt x="18" y="0"/>
                  </a:lnTo>
                  <a:lnTo>
                    <a:pt x="18" y="0"/>
                  </a:lnTo>
                  <a:close/>
                  <a:moveTo>
                    <a:pt x="19" y="0"/>
                  </a:moveTo>
                  <a:lnTo>
                    <a:pt x="19" y="0"/>
                  </a:lnTo>
                  <a:lnTo>
                    <a:pt x="19" y="0"/>
                  </a:lnTo>
                  <a:close/>
                  <a:moveTo>
                    <a:pt x="19" y="0"/>
                  </a:moveTo>
                  <a:lnTo>
                    <a:pt x="19" y="0"/>
                  </a:lnTo>
                  <a:lnTo>
                    <a:pt x="19" y="0"/>
                  </a:lnTo>
                  <a:lnTo>
                    <a:pt x="19" y="0"/>
                  </a:lnTo>
                  <a:close/>
                </a:path>
              </a:pathLst>
            </a:custGeom>
            <a:solidFill>
              <a:srgbClr val="CAC5C3"/>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0" name="Rectangle 8">
              <a:extLst>
                <a:ext uri="{FF2B5EF4-FFF2-40B4-BE49-F238E27FC236}">
                  <a16:creationId xmlns:a16="http://schemas.microsoft.com/office/drawing/2014/main" id="{BB3DB7F6-93F1-203C-D838-7CEC2AAB51B9}"/>
                </a:ext>
              </a:extLst>
            </p:cNvPr>
            <p:cNvSpPr>
              <a:spLocks noChangeArrowheads="1"/>
            </p:cNvSpPr>
            <p:nvPr/>
          </p:nvSpPr>
          <p:spPr bwMode="auto">
            <a:xfrm>
              <a:off x="6750"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1" name="Rectangle 9">
              <a:extLst>
                <a:ext uri="{FF2B5EF4-FFF2-40B4-BE49-F238E27FC236}">
                  <a16:creationId xmlns:a16="http://schemas.microsoft.com/office/drawing/2014/main" id="{FA9F806A-4E26-6CF6-DAEC-303807B7E819}"/>
                </a:ext>
              </a:extLst>
            </p:cNvPr>
            <p:cNvSpPr>
              <a:spLocks noChangeArrowheads="1"/>
            </p:cNvSpPr>
            <p:nvPr/>
          </p:nvSpPr>
          <p:spPr bwMode="auto">
            <a:xfrm>
              <a:off x="6750"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2" name="Rectangle 10">
              <a:extLst>
                <a:ext uri="{FF2B5EF4-FFF2-40B4-BE49-F238E27FC236}">
                  <a16:creationId xmlns:a16="http://schemas.microsoft.com/office/drawing/2014/main" id="{29AA9C0A-1E86-6024-D10A-085542178ACC}"/>
                </a:ext>
              </a:extLst>
            </p:cNvPr>
            <p:cNvSpPr>
              <a:spLocks noChangeArrowheads="1"/>
            </p:cNvSpPr>
            <p:nvPr/>
          </p:nvSpPr>
          <p:spPr bwMode="auto">
            <a:xfrm>
              <a:off x="6750"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3" name="Rectangle 11">
              <a:extLst>
                <a:ext uri="{FF2B5EF4-FFF2-40B4-BE49-F238E27FC236}">
                  <a16:creationId xmlns:a16="http://schemas.microsoft.com/office/drawing/2014/main" id="{E9B4CFC0-B95C-DCC3-AD1A-EA15E3B2F364}"/>
                </a:ext>
              </a:extLst>
            </p:cNvPr>
            <p:cNvSpPr>
              <a:spLocks noChangeArrowheads="1"/>
            </p:cNvSpPr>
            <p:nvPr/>
          </p:nvSpPr>
          <p:spPr bwMode="auto">
            <a:xfrm>
              <a:off x="6750"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4" name="Rectangle 12">
              <a:extLst>
                <a:ext uri="{FF2B5EF4-FFF2-40B4-BE49-F238E27FC236}">
                  <a16:creationId xmlns:a16="http://schemas.microsoft.com/office/drawing/2014/main" id="{2874059A-57E0-397B-BBD1-175F89D629EF}"/>
                </a:ext>
              </a:extLst>
            </p:cNvPr>
            <p:cNvSpPr>
              <a:spLocks noChangeArrowheads="1"/>
            </p:cNvSpPr>
            <p:nvPr/>
          </p:nvSpPr>
          <p:spPr bwMode="auto">
            <a:xfrm>
              <a:off x="6750"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5" name="Rectangle 13">
              <a:extLst>
                <a:ext uri="{FF2B5EF4-FFF2-40B4-BE49-F238E27FC236}">
                  <a16:creationId xmlns:a16="http://schemas.microsoft.com/office/drawing/2014/main" id="{35CC0A58-0219-32AD-9BE5-E9387A543900}"/>
                </a:ext>
              </a:extLst>
            </p:cNvPr>
            <p:cNvSpPr>
              <a:spLocks noChangeArrowheads="1"/>
            </p:cNvSpPr>
            <p:nvPr/>
          </p:nvSpPr>
          <p:spPr bwMode="auto">
            <a:xfrm>
              <a:off x="6751"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6" name="Rectangle 14">
              <a:extLst>
                <a:ext uri="{FF2B5EF4-FFF2-40B4-BE49-F238E27FC236}">
                  <a16:creationId xmlns:a16="http://schemas.microsoft.com/office/drawing/2014/main" id="{31BA02B2-4F42-C38F-9A1D-B1CC93006258}"/>
                </a:ext>
              </a:extLst>
            </p:cNvPr>
            <p:cNvSpPr>
              <a:spLocks noChangeArrowheads="1"/>
            </p:cNvSpPr>
            <p:nvPr/>
          </p:nvSpPr>
          <p:spPr bwMode="auto">
            <a:xfrm>
              <a:off x="6751"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7" name="Rectangle 15">
              <a:extLst>
                <a:ext uri="{FF2B5EF4-FFF2-40B4-BE49-F238E27FC236}">
                  <a16:creationId xmlns:a16="http://schemas.microsoft.com/office/drawing/2014/main" id="{55647E48-C0CD-22BD-987E-6C57586979FA}"/>
                </a:ext>
              </a:extLst>
            </p:cNvPr>
            <p:cNvSpPr>
              <a:spLocks noChangeArrowheads="1"/>
            </p:cNvSpPr>
            <p:nvPr/>
          </p:nvSpPr>
          <p:spPr bwMode="auto">
            <a:xfrm>
              <a:off x="6751"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8" name="Rectangle 16">
              <a:extLst>
                <a:ext uri="{FF2B5EF4-FFF2-40B4-BE49-F238E27FC236}">
                  <a16:creationId xmlns:a16="http://schemas.microsoft.com/office/drawing/2014/main" id="{5B51BD67-D946-696F-2356-6EFD6CA1E7EC}"/>
                </a:ext>
              </a:extLst>
            </p:cNvPr>
            <p:cNvSpPr>
              <a:spLocks noChangeArrowheads="1"/>
            </p:cNvSpPr>
            <p:nvPr/>
          </p:nvSpPr>
          <p:spPr bwMode="auto">
            <a:xfrm>
              <a:off x="6752"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9" name="Rectangle 17">
              <a:extLst>
                <a:ext uri="{FF2B5EF4-FFF2-40B4-BE49-F238E27FC236}">
                  <a16:creationId xmlns:a16="http://schemas.microsoft.com/office/drawing/2014/main" id="{8A68682C-CB4E-EC33-0F6D-A3D8041EF08F}"/>
                </a:ext>
              </a:extLst>
            </p:cNvPr>
            <p:cNvSpPr>
              <a:spLocks noChangeArrowheads="1"/>
            </p:cNvSpPr>
            <p:nvPr/>
          </p:nvSpPr>
          <p:spPr bwMode="auto">
            <a:xfrm>
              <a:off x="6752"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20" name="Rectangle 18">
              <a:extLst>
                <a:ext uri="{FF2B5EF4-FFF2-40B4-BE49-F238E27FC236}">
                  <a16:creationId xmlns:a16="http://schemas.microsoft.com/office/drawing/2014/main" id="{C4B7C0E5-42F6-7903-DF59-EC972717D07B}"/>
                </a:ext>
              </a:extLst>
            </p:cNvPr>
            <p:cNvSpPr>
              <a:spLocks noChangeArrowheads="1"/>
            </p:cNvSpPr>
            <p:nvPr/>
          </p:nvSpPr>
          <p:spPr bwMode="auto">
            <a:xfrm>
              <a:off x="6752"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21" name="Rectangle 19">
              <a:extLst>
                <a:ext uri="{FF2B5EF4-FFF2-40B4-BE49-F238E27FC236}">
                  <a16:creationId xmlns:a16="http://schemas.microsoft.com/office/drawing/2014/main" id="{CDC86ABE-37A7-465C-1CCF-1305C00AE0A7}"/>
                </a:ext>
              </a:extLst>
            </p:cNvPr>
            <p:cNvSpPr>
              <a:spLocks noChangeArrowheads="1"/>
            </p:cNvSpPr>
            <p:nvPr/>
          </p:nvSpPr>
          <p:spPr bwMode="auto">
            <a:xfrm>
              <a:off x="6753"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22" name="Rectangle 20">
              <a:extLst>
                <a:ext uri="{FF2B5EF4-FFF2-40B4-BE49-F238E27FC236}">
                  <a16:creationId xmlns:a16="http://schemas.microsoft.com/office/drawing/2014/main" id="{70FDB0C7-1A00-D7DA-9C1E-310593914525}"/>
                </a:ext>
              </a:extLst>
            </p:cNvPr>
            <p:cNvSpPr>
              <a:spLocks noChangeArrowheads="1"/>
            </p:cNvSpPr>
            <p:nvPr/>
          </p:nvSpPr>
          <p:spPr bwMode="auto">
            <a:xfrm>
              <a:off x="6753"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23" name="Rectangle 21">
              <a:extLst>
                <a:ext uri="{FF2B5EF4-FFF2-40B4-BE49-F238E27FC236}">
                  <a16:creationId xmlns:a16="http://schemas.microsoft.com/office/drawing/2014/main" id="{75699170-EAA7-0876-762B-14B3CA9B17E4}"/>
                </a:ext>
              </a:extLst>
            </p:cNvPr>
            <p:cNvSpPr>
              <a:spLocks noChangeArrowheads="1"/>
            </p:cNvSpPr>
            <p:nvPr/>
          </p:nvSpPr>
          <p:spPr bwMode="auto">
            <a:xfrm>
              <a:off x="6753"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24" name="Rectangle 22">
              <a:extLst>
                <a:ext uri="{FF2B5EF4-FFF2-40B4-BE49-F238E27FC236}">
                  <a16:creationId xmlns:a16="http://schemas.microsoft.com/office/drawing/2014/main" id="{51688BCE-596F-EDB9-B7AE-8A98481C7F74}"/>
                </a:ext>
              </a:extLst>
            </p:cNvPr>
            <p:cNvSpPr>
              <a:spLocks noChangeArrowheads="1"/>
            </p:cNvSpPr>
            <p:nvPr/>
          </p:nvSpPr>
          <p:spPr bwMode="auto">
            <a:xfrm>
              <a:off x="6753"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25" name="Rectangle 23">
              <a:extLst>
                <a:ext uri="{FF2B5EF4-FFF2-40B4-BE49-F238E27FC236}">
                  <a16:creationId xmlns:a16="http://schemas.microsoft.com/office/drawing/2014/main" id="{1CD3C0C7-6E01-B403-3387-A70156D8579B}"/>
                </a:ext>
              </a:extLst>
            </p:cNvPr>
            <p:cNvSpPr>
              <a:spLocks noChangeArrowheads="1"/>
            </p:cNvSpPr>
            <p:nvPr/>
          </p:nvSpPr>
          <p:spPr bwMode="auto">
            <a:xfrm>
              <a:off x="6754"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26" name="Rectangle 24">
              <a:extLst>
                <a:ext uri="{FF2B5EF4-FFF2-40B4-BE49-F238E27FC236}">
                  <a16:creationId xmlns:a16="http://schemas.microsoft.com/office/drawing/2014/main" id="{36613435-9905-6D05-FD59-BE54372BFC1A}"/>
                </a:ext>
              </a:extLst>
            </p:cNvPr>
            <p:cNvSpPr>
              <a:spLocks noChangeArrowheads="1"/>
            </p:cNvSpPr>
            <p:nvPr/>
          </p:nvSpPr>
          <p:spPr bwMode="auto">
            <a:xfrm>
              <a:off x="6754"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27" name="Rectangle 25">
              <a:extLst>
                <a:ext uri="{FF2B5EF4-FFF2-40B4-BE49-F238E27FC236}">
                  <a16:creationId xmlns:a16="http://schemas.microsoft.com/office/drawing/2014/main" id="{980C1DB2-CA6B-73EB-3824-F8FF9B2E77F3}"/>
                </a:ext>
              </a:extLst>
            </p:cNvPr>
            <p:cNvSpPr>
              <a:spLocks noChangeArrowheads="1"/>
            </p:cNvSpPr>
            <p:nvPr/>
          </p:nvSpPr>
          <p:spPr bwMode="auto">
            <a:xfrm>
              <a:off x="6754"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28" name="Rectangle 26">
              <a:extLst>
                <a:ext uri="{FF2B5EF4-FFF2-40B4-BE49-F238E27FC236}">
                  <a16:creationId xmlns:a16="http://schemas.microsoft.com/office/drawing/2014/main" id="{C0F66962-CAA3-D5F6-3C78-A02B528366D1}"/>
                </a:ext>
              </a:extLst>
            </p:cNvPr>
            <p:cNvSpPr>
              <a:spLocks noChangeArrowheads="1"/>
            </p:cNvSpPr>
            <p:nvPr/>
          </p:nvSpPr>
          <p:spPr bwMode="auto">
            <a:xfrm>
              <a:off x="6754"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29" name="Rectangle 27">
              <a:extLst>
                <a:ext uri="{FF2B5EF4-FFF2-40B4-BE49-F238E27FC236}">
                  <a16:creationId xmlns:a16="http://schemas.microsoft.com/office/drawing/2014/main" id="{E56BFDAC-BD19-EABC-D795-AD1FD5D3D90E}"/>
                </a:ext>
              </a:extLst>
            </p:cNvPr>
            <p:cNvSpPr>
              <a:spLocks noChangeArrowheads="1"/>
            </p:cNvSpPr>
            <p:nvPr/>
          </p:nvSpPr>
          <p:spPr bwMode="auto">
            <a:xfrm>
              <a:off x="6754"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30" name="Rectangle 28">
              <a:extLst>
                <a:ext uri="{FF2B5EF4-FFF2-40B4-BE49-F238E27FC236}">
                  <a16:creationId xmlns:a16="http://schemas.microsoft.com/office/drawing/2014/main" id="{1FE4291C-9334-1592-22EB-157FE7899DD2}"/>
                </a:ext>
              </a:extLst>
            </p:cNvPr>
            <p:cNvSpPr>
              <a:spLocks noChangeArrowheads="1"/>
            </p:cNvSpPr>
            <p:nvPr/>
          </p:nvSpPr>
          <p:spPr bwMode="auto">
            <a:xfrm>
              <a:off x="6754"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31" name="Rectangle 29">
              <a:extLst>
                <a:ext uri="{FF2B5EF4-FFF2-40B4-BE49-F238E27FC236}">
                  <a16:creationId xmlns:a16="http://schemas.microsoft.com/office/drawing/2014/main" id="{2F393917-49B2-24B0-1DF6-47122C7882D6}"/>
                </a:ext>
              </a:extLst>
            </p:cNvPr>
            <p:cNvSpPr>
              <a:spLocks noChangeArrowheads="1"/>
            </p:cNvSpPr>
            <p:nvPr/>
          </p:nvSpPr>
          <p:spPr bwMode="auto">
            <a:xfrm>
              <a:off x="6755"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32" name="Rectangle 30">
              <a:extLst>
                <a:ext uri="{FF2B5EF4-FFF2-40B4-BE49-F238E27FC236}">
                  <a16:creationId xmlns:a16="http://schemas.microsoft.com/office/drawing/2014/main" id="{4CAD9356-12C5-C88A-0D79-B41AFDFBAC83}"/>
                </a:ext>
              </a:extLst>
            </p:cNvPr>
            <p:cNvSpPr>
              <a:spLocks noChangeArrowheads="1"/>
            </p:cNvSpPr>
            <p:nvPr/>
          </p:nvSpPr>
          <p:spPr bwMode="auto">
            <a:xfrm>
              <a:off x="6755"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33" name="Rectangle 31">
              <a:extLst>
                <a:ext uri="{FF2B5EF4-FFF2-40B4-BE49-F238E27FC236}">
                  <a16:creationId xmlns:a16="http://schemas.microsoft.com/office/drawing/2014/main" id="{ADDAC7F5-DD70-CFE3-7187-618CA2F85434}"/>
                </a:ext>
              </a:extLst>
            </p:cNvPr>
            <p:cNvSpPr>
              <a:spLocks noChangeArrowheads="1"/>
            </p:cNvSpPr>
            <p:nvPr/>
          </p:nvSpPr>
          <p:spPr bwMode="auto">
            <a:xfrm>
              <a:off x="6755" y="1285"/>
              <a:ext cx="1" cy="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34" name="Freeform 32">
              <a:extLst>
                <a:ext uri="{FF2B5EF4-FFF2-40B4-BE49-F238E27FC236}">
                  <a16:creationId xmlns:a16="http://schemas.microsoft.com/office/drawing/2014/main" id="{6904F492-8EAE-3F9D-A702-22C6F418CAE3}"/>
                </a:ext>
              </a:extLst>
            </p:cNvPr>
            <p:cNvSpPr>
              <a:spLocks/>
            </p:cNvSpPr>
            <p:nvPr/>
          </p:nvSpPr>
          <p:spPr bwMode="auto">
            <a:xfrm>
              <a:off x="6758" y="1284"/>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35" name="Freeform 33">
              <a:extLst>
                <a:ext uri="{FF2B5EF4-FFF2-40B4-BE49-F238E27FC236}">
                  <a16:creationId xmlns:a16="http://schemas.microsoft.com/office/drawing/2014/main" id="{5139199C-D90D-32F2-EE81-CDFF824E1C55}"/>
                </a:ext>
              </a:extLst>
            </p:cNvPr>
            <p:cNvSpPr>
              <a:spLocks/>
            </p:cNvSpPr>
            <p:nvPr/>
          </p:nvSpPr>
          <p:spPr bwMode="auto">
            <a:xfrm>
              <a:off x="6758" y="128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36" name="Freeform 34">
              <a:extLst>
                <a:ext uri="{FF2B5EF4-FFF2-40B4-BE49-F238E27FC236}">
                  <a16:creationId xmlns:a16="http://schemas.microsoft.com/office/drawing/2014/main" id="{16CCA95A-0604-53D1-5621-AC86EB2C323D}"/>
                </a:ext>
              </a:extLst>
            </p:cNvPr>
            <p:cNvSpPr>
              <a:spLocks/>
            </p:cNvSpPr>
            <p:nvPr/>
          </p:nvSpPr>
          <p:spPr bwMode="auto">
            <a:xfrm>
              <a:off x="6759" y="1284"/>
              <a:ext cx="0" cy="0"/>
            </a:xfrm>
            <a:custGeom>
              <a:avLst/>
              <a:gdLst/>
              <a:ahLst/>
              <a:cxnLst>
                <a:cxn ang="0">
                  <a:pos x="0" y="0"/>
                </a:cxn>
                <a:cxn ang="0">
                  <a:pos x="0" y="0"/>
                </a:cxn>
                <a:cxn ang="0">
                  <a:pos x="0" y="0"/>
                </a:cxn>
              </a:cxnLst>
              <a:rect l="0" t="0" r="r" b="b"/>
              <a:pathLst>
                <a:path>
                  <a:moveTo>
                    <a:pt x="0" y="0"/>
                  </a:move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37" name="Freeform 35">
              <a:extLst>
                <a:ext uri="{FF2B5EF4-FFF2-40B4-BE49-F238E27FC236}">
                  <a16:creationId xmlns:a16="http://schemas.microsoft.com/office/drawing/2014/main" id="{E8AF1FF0-A79A-B1CC-EFE3-10F92AA818A1}"/>
                </a:ext>
              </a:extLst>
            </p:cNvPr>
            <p:cNvSpPr>
              <a:spLocks/>
            </p:cNvSpPr>
            <p:nvPr/>
          </p:nvSpPr>
          <p:spPr bwMode="auto">
            <a:xfrm>
              <a:off x="6759" y="1284"/>
              <a:ext cx="0" cy="0"/>
            </a:xfrm>
            <a:custGeom>
              <a:avLst/>
              <a:gdLst/>
              <a:ahLst/>
              <a:cxnLst>
                <a:cxn ang="0">
                  <a:pos x="0" y="0"/>
                </a:cxn>
                <a:cxn ang="0">
                  <a:pos x="0" y="0"/>
                </a:cxn>
                <a:cxn ang="0">
                  <a:pos x="0" y="0"/>
                </a:cxn>
                <a:cxn ang="0">
                  <a:pos x="0" y="0"/>
                </a:cxn>
              </a:cxnLst>
              <a:rect l="0" t="0" r="r" b="b"/>
              <a:pathLst>
                <a:path>
                  <a:moveTo>
                    <a:pt x="0" y="0"/>
                  </a:moveTo>
                  <a:lnTo>
                    <a:pt x="0" y="0"/>
                  </a:lnTo>
                  <a:lnTo>
                    <a:pt x="0" y="0"/>
                  </a:lnTo>
                  <a:lnTo>
                    <a:pt x="0"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38" name="Freeform 37">
              <a:extLst>
                <a:ext uri="{FF2B5EF4-FFF2-40B4-BE49-F238E27FC236}">
                  <a16:creationId xmlns:a16="http://schemas.microsoft.com/office/drawing/2014/main" id="{3958EA8F-7782-4952-24E6-9F71F90DBC44}"/>
                </a:ext>
              </a:extLst>
            </p:cNvPr>
            <p:cNvSpPr>
              <a:spLocks/>
            </p:cNvSpPr>
            <p:nvPr/>
          </p:nvSpPr>
          <p:spPr bwMode="auto">
            <a:xfrm>
              <a:off x="6597" y="818"/>
              <a:ext cx="454" cy="467"/>
            </a:xfrm>
            <a:custGeom>
              <a:avLst/>
              <a:gdLst>
                <a:gd name="T0" fmla="*/ 92 w 909"/>
                <a:gd name="T1" fmla="*/ 224 h 933"/>
                <a:gd name="T2" fmla="*/ 303 w 909"/>
                <a:gd name="T3" fmla="*/ 933 h 933"/>
                <a:gd name="T4" fmla="*/ 306 w 909"/>
                <a:gd name="T5" fmla="*/ 933 h 933"/>
                <a:gd name="T6" fmla="*/ 306 w 909"/>
                <a:gd name="T7" fmla="*/ 933 h 933"/>
                <a:gd name="T8" fmla="*/ 308 w 909"/>
                <a:gd name="T9" fmla="*/ 933 h 933"/>
                <a:gd name="T10" fmla="*/ 308 w 909"/>
                <a:gd name="T11" fmla="*/ 933 h 933"/>
                <a:gd name="T12" fmla="*/ 308 w 909"/>
                <a:gd name="T13" fmla="*/ 933 h 933"/>
                <a:gd name="T14" fmla="*/ 308 w 909"/>
                <a:gd name="T15" fmla="*/ 933 h 933"/>
                <a:gd name="T16" fmla="*/ 309 w 909"/>
                <a:gd name="T17" fmla="*/ 933 h 933"/>
                <a:gd name="T18" fmla="*/ 309 w 909"/>
                <a:gd name="T19" fmla="*/ 933 h 933"/>
                <a:gd name="T20" fmla="*/ 309 w 909"/>
                <a:gd name="T21" fmla="*/ 933 h 933"/>
                <a:gd name="T22" fmla="*/ 309 w 909"/>
                <a:gd name="T23" fmla="*/ 933 h 933"/>
                <a:gd name="T24" fmla="*/ 309 w 909"/>
                <a:gd name="T25" fmla="*/ 933 h 933"/>
                <a:gd name="T26" fmla="*/ 311 w 909"/>
                <a:gd name="T27" fmla="*/ 933 h 933"/>
                <a:gd name="T28" fmla="*/ 311 w 909"/>
                <a:gd name="T29" fmla="*/ 933 h 933"/>
                <a:gd name="T30" fmla="*/ 311 w 909"/>
                <a:gd name="T31" fmla="*/ 933 h 933"/>
                <a:gd name="T32" fmla="*/ 311 w 909"/>
                <a:gd name="T33" fmla="*/ 933 h 933"/>
                <a:gd name="T34" fmla="*/ 312 w 909"/>
                <a:gd name="T35" fmla="*/ 933 h 933"/>
                <a:gd name="T36" fmla="*/ 312 w 909"/>
                <a:gd name="T37" fmla="*/ 933 h 933"/>
                <a:gd name="T38" fmla="*/ 312 w 909"/>
                <a:gd name="T39" fmla="*/ 933 h 933"/>
                <a:gd name="T40" fmla="*/ 312 w 909"/>
                <a:gd name="T41" fmla="*/ 933 h 933"/>
                <a:gd name="T42" fmla="*/ 312 w 909"/>
                <a:gd name="T43" fmla="*/ 933 h 933"/>
                <a:gd name="T44" fmla="*/ 314 w 909"/>
                <a:gd name="T45" fmla="*/ 933 h 933"/>
                <a:gd name="T46" fmla="*/ 314 w 909"/>
                <a:gd name="T47" fmla="*/ 933 h 933"/>
                <a:gd name="T48" fmla="*/ 314 w 909"/>
                <a:gd name="T49" fmla="*/ 933 h 933"/>
                <a:gd name="T50" fmla="*/ 314 w 909"/>
                <a:gd name="T51" fmla="*/ 933 h 933"/>
                <a:gd name="T52" fmla="*/ 316 w 909"/>
                <a:gd name="T53" fmla="*/ 933 h 933"/>
                <a:gd name="T54" fmla="*/ 316 w 909"/>
                <a:gd name="T55" fmla="*/ 933 h 933"/>
                <a:gd name="T56" fmla="*/ 316 w 909"/>
                <a:gd name="T57" fmla="*/ 933 h 933"/>
                <a:gd name="T58" fmla="*/ 316 w 909"/>
                <a:gd name="T59" fmla="*/ 933 h 933"/>
                <a:gd name="T60" fmla="*/ 317 w 909"/>
                <a:gd name="T61" fmla="*/ 933 h 933"/>
                <a:gd name="T62" fmla="*/ 317 w 909"/>
                <a:gd name="T63" fmla="*/ 933 h 933"/>
                <a:gd name="T64" fmla="*/ 317 w 909"/>
                <a:gd name="T65" fmla="*/ 933 h 933"/>
                <a:gd name="T66" fmla="*/ 317 w 909"/>
                <a:gd name="T67" fmla="*/ 933 h 933"/>
                <a:gd name="T68" fmla="*/ 324 w 909"/>
                <a:gd name="T69" fmla="*/ 931 h 933"/>
                <a:gd name="T70" fmla="*/ 324 w 909"/>
                <a:gd name="T71" fmla="*/ 931 h 933"/>
                <a:gd name="T72" fmla="*/ 324 w 909"/>
                <a:gd name="T73" fmla="*/ 931 h 933"/>
                <a:gd name="T74" fmla="*/ 325 w 909"/>
                <a:gd name="T75" fmla="*/ 931 h 933"/>
                <a:gd name="T76" fmla="*/ 325 w 909"/>
                <a:gd name="T77" fmla="*/ 931 h 933"/>
                <a:gd name="T78" fmla="*/ 383 w 909"/>
                <a:gd name="T79" fmla="*/ 928 h 933"/>
                <a:gd name="T80" fmla="*/ 466 w 909"/>
                <a:gd name="T81" fmla="*/ 911 h 933"/>
                <a:gd name="T82" fmla="*/ 546 w 909"/>
                <a:gd name="T83" fmla="*/ 883 h 933"/>
                <a:gd name="T84" fmla="*/ 620 w 909"/>
                <a:gd name="T85" fmla="*/ 845 h 933"/>
                <a:gd name="T86" fmla="*/ 687 w 909"/>
                <a:gd name="T87" fmla="*/ 797 h 933"/>
                <a:gd name="T88" fmla="*/ 748 w 909"/>
                <a:gd name="T89" fmla="*/ 741 h 933"/>
                <a:gd name="T90" fmla="*/ 799 w 909"/>
                <a:gd name="T91" fmla="*/ 677 h 933"/>
                <a:gd name="T92" fmla="*/ 842 w 909"/>
                <a:gd name="T93" fmla="*/ 606 h 933"/>
                <a:gd name="T94" fmla="*/ 876 w 909"/>
                <a:gd name="T95" fmla="*/ 531 h 933"/>
                <a:gd name="T96" fmla="*/ 898 w 909"/>
                <a:gd name="T97" fmla="*/ 450 h 933"/>
                <a:gd name="T98" fmla="*/ 909 w 909"/>
                <a:gd name="T99" fmla="*/ 363 h 9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Lst>
              <a:rect l="0" t="0" r="r" b="b"/>
              <a:pathLst>
                <a:path w="909" h="933">
                  <a:moveTo>
                    <a:pt x="546" y="0"/>
                  </a:moveTo>
                  <a:lnTo>
                    <a:pt x="0" y="131"/>
                  </a:lnTo>
                  <a:lnTo>
                    <a:pt x="92" y="224"/>
                  </a:lnTo>
                  <a:lnTo>
                    <a:pt x="192" y="438"/>
                  </a:lnTo>
                  <a:lnTo>
                    <a:pt x="24" y="655"/>
                  </a:lnTo>
                  <a:lnTo>
                    <a:pt x="303" y="933"/>
                  </a:lnTo>
                  <a:lnTo>
                    <a:pt x="303" y="933"/>
                  </a:lnTo>
                  <a:lnTo>
                    <a:pt x="306" y="933"/>
                  </a:lnTo>
                  <a:lnTo>
                    <a:pt x="306" y="933"/>
                  </a:lnTo>
                  <a:lnTo>
                    <a:pt x="306" y="933"/>
                  </a:lnTo>
                  <a:lnTo>
                    <a:pt x="306" y="933"/>
                  </a:lnTo>
                  <a:lnTo>
                    <a:pt x="306" y="933"/>
                  </a:lnTo>
                  <a:lnTo>
                    <a:pt x="306" y="933"/>
                  </a:lnTo>
                  <a:lnTo>
                    <a:pt x="306" y="933"/>
                  </a:lnTo>
                  <a:lnTo>
                    <a:pt x="308" y="933"/>
                  </a:lnTo>
                  <a:lnTo>
                    <a:pt x="308" y="933"/>
                  </a:lnTo>
                  <a:lnTo>
                    <a:pt x="308" y="933"/>
                  </a:lnTo>
                  <a:lnTo>
                    <a:pt x="308" y="933"/>
                  </a:lnTo>
                  <a:lnTo>
                    <a:pt x="308" y="933"/>
                  </a:lnTo>
                  <a:lnTo>
                    <a:pt x="308" y="933"/>
                  </a:lnTo>
                  <a:lnTo>
                    <a:pt x="308" y="933"/>
                  </a:lnTo>
                  <a:lnTo>
                    <a:pt x="308" y="933"/>
                  </a:lnTo>
                  <a:lnTo>
                    <a:pt x="308" y="933"/>
                  </a:lnTo>
                  <a:lnTo>
                    <a:pt x="308" y="933"/>
                  </a:lnTo>
                  <a:lnTo>
                    <a:pt x="308" y="933"/>
                  </a:lnTo>
                  <a:lnTo>
                    <a:pt x="308" y="933"/>
                  </a:lnTo>
                  <a:lnTo>
                    <a:pt x="309" y="933"/>
                  </a:lnTo>
                  <a:lnTo>
                    <a:pt x="309" y="933"/>
                  </a:lnTo>
                  <a:lnTo>
                    <a:pt x="309" y="933"/>
                  </a:lnTo>
                  <a:lnTo>
                    <a:pt x="309" y="933"/>
                  </a:lnTo>
                  <a:lnTo>
                    <a:pt x="309" y="933"/>
                  </a:lnTo>
                  <a:lnTo>
                    <a:pt x="309" y="933"/>
                  </a:lnTo>
                  <a:lnTo>
                    <a:pt x="309" y="933"/>
                  </a:lnTo>
                  <a:lnTo>
                    <a:pt x="309" y="933"/>
                  </a:lnTo>
                  <a:lnTo>
                    <a:pt x="309" y="933"/>
                  </a:lnTo>
                  <a:lnTo>
                    <a:pt x="309" y="933"/>
                  </a:lnTo>
                  <a:lnTo>
                    <a:pt x="309" y="933"/>
                  </a:lnTo>
                  <a:lnTo>
                    <a:pt x="309" y="933"/>
                  </a:lnTo>
                  <a:lnTo>
                    <a:pt x="309" y="933"/>
                  </a:lnTo>
                  <a:lnTo>
                    <a:pt x="309" y="933"/>
                  </a:lnTo>
                  <a:lnTo>
                    <a:pt x="311" y="933"/>
                  </a:lnTo>
                  <a:lnTo>
                    <a:pt x="311" y="933"/>
                  </a:lnTo>
                  <a:lnTo>
                    <a:pt x="311" y="933"/>
                  </a:lnTo>
                  <a:lnTo>
                    <a:pt x="311" y="933"/>
                  </a:lnTo>
                  <a:lnTo>
                    <a:pt x="311" y="933"/>
                  </a:lnTo>
                  <a:lnTo>
                    <a:pt x="311" y="933"/>
                  </a:lnTo>
                  <a:lnTo>
                    <a:pt x="311" y="933"/>
                  </a:lnTo>
                  <a:lnTo>
                    <a:pt x="311" y="933"/>
                  </a:lnTo>
                  <a:lnTo>
                    <a:pt x="311" y="933"/>
                  </a:lnTo>
                  <a:lnTo>
                    <a:pt x="311" y="933"/>
                  </a:lnTo>
                  <a:lnTo>
                    <a:pt x="311" y="933"/>
                  </a:lnTo>
                  <a:lnTo>
                    <a:pt x="311" y="933"/>
                  </a:lnTo>
                  <a:lnTo>
                    <a:pt x="312" y="933"/>
                  </a:lnTo>
                  <a:lnTo>
                    <a:pt x="312" y="933"/>
                  </a:lnTo>
                  <a:lnTo>
                    <a:pt x="312" y="933"/>
                  </a:lnTo>
                  <a:lnTo>
                    <a:pt x="312" y="933"/>
                  </a:lnTo>
                  <a:lnTo>
                    <a:pt x="312" y="933"/>
                  </a:lnTo>
                  <a:lnTo>
                    <a:pt x="312" y="933"/>
                  </a:lnTo>
                  <a:lnTo>
                    <a:pt x="312" y="933"/>
                  </a:lnTo>
                  <a:lnTo>
                    <a:pt x="312" y="933"/>
                  </a:lnTo>
                  <a:lnTo>
                    <a:pt x="312" y="933"/>
                  </a:lnTo>
                  <a:lnTo>
                    <a:pt x="312" y="933"/>
                  </a:lnTo>
                  <a:lnTo>
                    <a:pt x="312" y="933"/>
                  </a:lnTo>
                  <a:lnTo>
                    <a:pt x="312" y="933"/>
                  </a:lnTo>
                  <a:lnTo>
                    <a:pt x="312" y="933"/>
                  </a:lnTo>
                  <a:lnTo>
                    <a:pt x="312" y="933"/>
                  </a:lnTo>
                  <a:lnTo>
                    <a:pt x="314" y="933"/>
                  </a:lnTo>
                  <a:lnTo>
                    <a:pt x="314" y="933"/>
                  </a:lnTo>
                  <a:lnTo>
                    <a:pt x="314" y="933"/>
                  </a:lnTo>
                  <a:lnTo>
                    <a:pt x="314" y="933"/>
                  </a:lnTo>
                  <a:lnTo>
                    <a:pt x="314" y="933"/>
                  </a:lnTo>
                  <a:lnTo>
                    <a:pt x="314" y="933"/>
                  </a:lnTo>
                  <a:lnTo>
                    <a:pt x="314" y="933"/>
                  </a:lnTo>
                  <a:lnTo>
                    <a:pt x="314" y="933"/>
                  </a:lnTo>
                  <a:lnTo>
                    <a:pt x="314" y="933"/>
                  </a:lnTo>
                  <a:lnTo>
                    <a:pt x="314" y="933"/>
                  </a:lnTo>
                  <a:lnTo>
                    <a:pt x="314" y="933"/>
                  </a:lnTo>
                  <a:lnTo>
                    <a:pt x="314" y="933"/>
                  </a:lnTo>
                  <a:lnTo>
                    <a:pt x="314" y="933"/>
                  </a:lnTo>
                  <a:lnTo>
                    <a:pt x="314" y="933"/>
                  </a:lnTo>
                  <a:lnTo>
                    <a:pt x="316" y="933"/>
                  </a:lnTo>
                  <a:lnTo>
                    <a:pt x="316" y="933"/>
                  </a:lnTo>
                  <a:lnTo>
                    <a:pt x="316" y="933"/>
                  </a:lnTo>
                  <a:lnTo>
                    <a:pt x="316" y="933"/>
                  </a:lnTo>
                  <a:lnTo>
                    <a:pt x="316" y="933"/>
                  </a:lnTo>
                  <a:lnTo>
                    <a:pt x="316" y="933"/>
                  </a:lnTo>
                  <a:lnTo>
                    <a:pt x="316" y="933"/>
                  </a:lnTo>
                  <a:lnTo>
                    <a:pt x="316" y="933"/>
                  </a:lnTo>
                  <a:lnTo>
                    <a:pt x="316" y="933"/>
                  </a:lnTo>
                  <a:lnTo>
                    <a:pt x="316" y="933"/>
                  </a:lnTo>
                  <a:lnTo>
                    <a:pt x="316" y="933"/>
                  </a:lnTo>
                  <a:lnTo>
                    <a:pt x="316" y="933"/>
                  </a:lnTo>
                  <a:lnTo>
                    <a:pt x="317" y="933"/>
                  </a:lnTo>
                  <a:lnTo>
                    <a:pt x="317" y="933"/>
                  </a:lnTo>
                  <a:lnTo>
                    <a:pt x="317" y="933"/>
                  </a:lnTo>
                  <a:lnTo>
                    <a:pt x="317" y="933"/>
                  </a:lnTo>
                  <a:lnTo>
                    <a:pt x="317" y="933"/>
                  </a:lnTo>
                  <a:lnTo>
                    <a:pt x="317" y="933"/>
                  </a:lnTo>
                  <a:lnTo>
                    <a:pt x="317" y="933"/>
                  </a:lnTo>
                  <a:lnTo>
                    <a:pt x="317" y="933"/>
                  </a:lnTo>
                  <a:lnTo>
                    <a:pt x="317" y="933"/>
                  </a:lnTo>
                  <a:lnTo>
                    <a:pt x="317" y="933"/>
                  </a:lnTo>
                  <a:lnTo>
                    <a:pt x="317" y="933"/>
                  </a:lnTo>
                  <a:lnTo>
                    <a:pt x="317" y="933"/>
                  </a:lnTo>
                  <a:lnTo>
                    <a:pt x="324" y="931"/>
                  </a:lnTo>
                  <a:lnTo>
                    <a:pt x="324" y="931"/>
                  </a:lnTo>
                  <a:lnTo>
                    <a:pt x="324" y="931"/>
                  </a:lnTo>
                  <a:lnTo>
                    <a:pt x="324" y="931"/>
                  </a:lnTo>
                  <a:lnTo>
                    <a:pt x="324" y="931"/>
                  </a:lnTo>
                  <a:lnTo>
                    <a:pt x="324" y="931"/>
                  </a:lnTo>
                  <a:lnTo>
                    <a:pt x="324" y="931"/>
                  </a:lnTo>
                  <a:lnTo>
                    <a:pt x="325" y="931"/>
                  </a:lnTo>
                  <a:lnTo>
                    <a:pt x="325" y="931"/>
                  </a:lnTo>
                  <a:lnTo>
                    <a:pt x="325" y="931"/>
                  </a:lnTo>
                  <a:lnTo>
                    <a:pt x="325" y="931"/>
                  </a:lnTo>
                  <a:lnTo>
                    <a:pt x="325" y="931"/>
                  </a:lnTo>
                  <a:lnTo>
                    <a:pt x="325" y="931"/>
                  </a:lnTo>
                  <a:lnTo>
                    <a:pt x="325" y="931"/>
                  </a:lnTo>
                  <a:lnTo>
                    <a:pt x="354" y="930"/>
                  </a:lnTo>
                  <a:lnTo>
                    <a:pt x="383" y="928"/>
                  </a:lnTo>
                  <a:lnTo>
                    <a:pt x="412" y="923"/>
                  </a:lnTo>
                  <a:lnTo>
                    <a:pt x="439" y="917"/>
                  </a:lnTo>
                  <a:lnTo>
                    <a:pt x="466" y="911"/>
                  </a:lnTo>
                  <a:lnTo>
                    <a:pt x="493" y="903"/>
                  </a:lnTo>
                  <a:lnTo>
                    <a:pt x="520" y="893"/>
                  </a:lnTo>
                  <a:lnTo>
                    <a:pt x="546" y="883"/>
                  </a:lnTo>
                  <a:lnTo>
                    <a:pt x="572" y="872"/>
                  </a:lnTo>
                  <a:lnTo>
                    <a:pt x="596" y="859"/>
                  </a:lnTo>
                  <a:lnTo>
                    <a:pt x="620" y="845"/>
                  </a:lnTo>
                  <a:lnTo>
                    <a:pt x="642" y="831"/>
                  </a:lnTo>
                  <a:lnTo>
                    <a:pt x="666" y="815"/>
                  </a:lnTo>
                  <a:lnTo>
                    <a:pt x="687" y="797"/>
                  </a:lnTo>
                  <a:lnTo>
                    <a:pt x="708" y="779"/>
                  </a:lnTo>
                  <a:lnTo>
                    <a:pt x="729" y="760"/>
                  </a:lnTo>
                  <a:lnTo>
                    <a:pt x="748" y="741"/>
                  </a:lnTo>
                  <a:lnTo>
                    <a:pt x="765" y="720"/>
                  </a:lnTo>
                  <a:lnTo>
                    <a:pt x="783" y="699"/>
                  </a:lnTo>
                  <a:lnTo>
                    <a:pt x="799" y="677"/>
                  </a:lnTo>
                  <a:lnTo>
                    <a:pt x="815" y="655"/>
                  </a:lnTo>
                  <a:lnTo>
                    <a:pt x="829" y="632"/>
                  </a:lnTo>
                  <a:lnTo>
                    <a:pt x="842" y="606"/>
                  </a:lnTo>
                  <a:lnTo>
                    <a:pt x="855" y="582"/>
                  </a:lnTo>
                  <a:lnTo>
                    <a:pt x="866" y="557"/>
                  </a:lnTo>
                  <a:lnTo>
                    <a:pt x="876" y="531"/>
                  </a:lnTo>
                  <a:lnTo>
                    <a:pt x="885" y="504"/>
                  </a:lnTo>
                  <a:lnTo>
                    <a:pt x="892" y="477"/>
                  </a:lnTo>
                  <a:lnTo>
                    <a:pt x="898" y="450"/>
                  </a:lnTo>
                  <a:lnTo>
                    <a:pt x="903" y="421"/>
                  </a:lnTo>
                  <a:lnTo>
                    <a:pt x="908" y="392"/>
                  </a:lnTo>
                  <a:lnTo>
                    <a:pt x="909" y="363"/>
                  </a:lnTo>
                  <a:lnTo>
                    <a:pt x="546"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39" name="Freeform 38">
              <a:extLst>
                <a:ext uri="{FF2B5EF4-FFF2-40B4-BE49-F238E27FC236}">
                  <a16:creationId xmlns:a16="http://schemas.microsoft.com/office/drawing/2014/main" id="{512D8EE1-DB1A-DB88-7EC8-66CEB9EB5E06}"/>
                </a:ext>
              </a:extLst>
            </p:cNvPr>
            <p:cNvSpPr>
              <a:spLocks/>
            </p:cNvSpPr>
            <p:nvPr/>
          </p:nvSpPr>
          <p:spPr bwMode="auto">
            <a:xfrm>
              <a:off x="6609" y="1062"/>
              <a:ext cx="277" cy="72"/>
            </a:xfrm>
            <a:custGeom>
              <a:avLst/>
              <a:gdLst>
                <a:gd name="T0" fmla="*/ 543 w 554"/>
                <a:gd name="T1" fmla="*/ 72 h 145"/>
                <a:gd name="T2" fmla="*/ 543 w 554"/>
                <a:gd name="T3" fmla="*/ 72 h 145"/>
                <a:gd name="T4" fmla="*/ 544 w 554"/>
                <a:gd name="T5" fmla="*/ 53 h 145"/>
                <a:gd name="T6" fmla="*/ 546 w 554"/>
                <a:gd name="T7" fmla="*/ 36 h 145"/>
                <a:gd name="T8" fmla="*/ 549 w 554"/>
                <a:gd name="T9" fmla="*/ 18 h 145"/>
                <a:gd name="T10" fmla="*/ 554 w 554"/>
                <a:gd name="T11" fmla="*/ 0 h 145"/>
                <a:gd name="T12" fmla="*/ 12 w 554"/>
                <a:gd name="T13" fmla="*/ 0 h 145"/>
                <a:gd name="T14" fmla="*/ 12 w 554"/>
                <a:gd name="T15" fmla="*/ 0 h 145"/>
                <a:gd name="T16" fmla="*/ 7 w 554"/>
                <a:gd name="T17" fmla="*/ 16 h 145"/>
                <a:gd name="T18" fmla="*/ 4 w 554"/>
                <a:gd name="T19" fmla="*/ 34 h 145"/>
                <a:gd name="T20" fmla="*/ 0 w 554"/>
                <a:gd name="T21" fmla="*/ 53 h 145"/>
                <a:gd name="T22" fmla="*/ 0 w 554"/>
                <a:gd name="T23" fmla="*/ 72 h 145"/>
                <a:gd name="T24" fmla="*/ 0 w 554"/>
                <a:gd name="T25" fmla="*/ 92 h 145"/>
                <a:gd name="T26" fmla="*/ 4 w 554"/>
                <a:gd name="T27" fmla="*/ 111 h 145"/>
                <a:gd name="T28" fmla="*/ 7 w 554"/>
                <a:gd name="T29" fmla="*/ 128 h 145"/>
                <a:gd name="T30" fmla="*/ 12 w 554"/>
                <a:gd name="T31" fmla="*/ 145 h 145"/>
                <a:gd name="T32" fmla="*/ 554 w 554"/>
                <a:gd name="T33" fmla="*/ 145 h 145"/>
                <a:gd name="T34" fmla="*/ 554 w 554"/>
                <a:gd name="T35" fmla="*/ 145 h 145"/>
                <a:gd name="T36" fmla="*/ 549 w 554"/>
                <a:gd name="T37" fmla="*/ 127 h 145"/>
                <a:gd name="T38" fmla="*/ 546 w 554"/>
                <a:gd name="T39" fmla="*/ 109 h 145"/>
                <a:gd name="T40" fmla="*/ 544 w 554"/>
                <a:gd name="T41" fmla="*/ 90 h 145"/>
                <a:gd name="T42" fmla="*/ 543 w 554"/>
                <a:gd name="T43" fmla="*/ 72 h 145"/>
                <a:gd name="T44" fmla="*/ 543 w 554"/>
                <a:gd name="T45" fmla="*/ 72 h 1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554" h="145">
                  <a:moveTo>
                    <a:pt x="543" y="72"/>
                  </a:moveTo>
                  <a:lnTo>
                    <a:pt x="543" y="72"/>
                  </a:lnTo>
                  <a:lnTo>
                    <a:pt x="544" y="53"/>
                  </a:lnTo>
                  <a:lnTo>
                    <a:pt x="546" y="36"/>
                  </a:lnTo>
                  <a:lnTo>
                    <a:pt x="549" y="18"/>
                  </a:lnTo>
                  <a:lnTo>
                    <a:pt x="554" y="0"/>
                  </a:lnTo>
                  <a:lnTo>
                    <a:pt x="12" y="0"/>
                  </a:lnTo>
                  <a:lnTo>
                    <a:pt x="12" y="0"/>
                  </a:lnTo>
                  <a:lnTo>
                    <a:pt x="7" y="16"/>
                  </a:lnTo>
                  <a:lnTo>
                    <a:pt x="4" y="34"/>
                  </a:lnTo>
                  <a:lnTo>
                    <a:pt x="0" y="53"/>
                  </a:lnTo>
                  <a:lnTo>
                    <a:pt x="0" y="72"/>
                  </a:lnTo>
                  <a:lnTo>
                    <a:pt x="0" y="92"/>
                  </a:lnTo>
                  <a:lnTo>
                    <a:pt x="4" y="111"/>
                  </a:lnTo>
                  <a:lnTo>
                    <a:pt x="7" y="128"/>
                  </a:lnTo>
                  <a:lnTo>
                    <a:pt x="12" y="145"/>
                  </a:lnTo>
                  <a:lnTo>
                    <a:pt x="554" y="145"/>
                  </a:lnTo>
                  <a:lnTo>
                    <a:pt x="554" y="145"/>
                  </a:lnTo>
                  <a:lnTo>
                    <a:pt x="549" y="127"/>
                  </a:lnTo>
                  <a:lnTo>
                    <a:pt x="546" y="109"/>
                  </a:lnTo>
                  <a:lnTo>
                    <a:pt x="544" y="90"/>
                  </a:lnTo>
                  <a:lnTo>
                    <a:pt x="543" y="72"/>
                  </a:lnTo>
                  <a:lnTo>
                    <a:pt x="543" y="72"/>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40" name="Freeform 39">
              <a:extLst>
                <a:ext uri="{FF2B5EF4-FFF2-40B4-BE49-F238E27FC236}">
                  <a16:creationId xmlns:a16="http://schemas.microsoft.com/office/drawing/2014/main" id="{3400A982-3C89-E38E-8DEB-636620D70481}"/>
                </a:ext>
              </a:extLst>
            </p:cNvPr>
            <p:cNvSpPr>
              <a:spLocks/>
            </p:cNvSpPr>
            <p:nvPr/>
          </p:nvSpPr>
          <p:spPr bwMode="auto">
            <a:xfrm>
              <a:off x="6624" y="900"/>
              <a:ext cx="227" cy="88"/>
            </a:xfrm>
            <a:custGeom>
              <a:avLst/>
              <a:gdLst>
                <a:gd name="T0" fmla="*/ 438 w 454"/>
                <a:gd name="T1" fmla="*/ 88 h 176"/>
                <a:gd name="T2" fmla="*/ 438 w 454"/>
                <a:gd name="T3" fmla="*/ 88 h 176"/>
                <a:gd name="T4" fmla="*/ 440 w 454"/>
                <a:gd name="T5" fmla="*/ 64 h 176"/>
                <a:gd name="T6" fmla="*/ 443 w 454"/>
                <a:gd name="T7" fmla="*/ 42 h 176"/>
                <a:gd name="T8" fmla="*/ 448 w 454"/>
                <a:gd name="T9" fmla="*/ 21 h 176"/>
                <a:gd name="T10" fmla="*/ 454 w 454"/>
                <a:gd name="T11" fmla="*/ 0 h 176"/>
                <a:gd name="T12" fmla="*/ 14 w 454"/>
                <a:gd name="T13" fmla="*/ 0 h 176"/>
                <a:gd name="T14" fmla="*/ 14 w 454"/>
                <a:gd name="T15" fmla="*/ 0 h 176"/>
                <a:gd name="T16" fmla="*/ 14 w 454"/>
                <a:gd name="T17" fmla="*/ 0 h 176"/>
                <a:gd name="T18" fmla="*/ 8 w 454"/>
                <a:gd name="T19" fmla="*/ 19 h 176"/>
                <a:gd name="T20" fmla="*/ 3 w 454"/>
                <a:gd name="T21" fmla="*/ 42 h 176"/>
                <a:gd name="T22" fmla="*/ 0 w 454"/>
                <a:gd name="T23" fmla="*/ 64 h 176"/>
                <a:gd name="T24" fmla="*/ 0 w 454"/>
                <a:gd name="T25" fmla="*/ 88 h 176"/>
                <a:gd name="T26" fmla="*/ 0 w 454"/>
                <a:gd name="T27" fmla="*/ 112 h 176"/>
                <a:gd name="T28" fmla="*/ 3 w 454"/>
                <a:gd name="T29" fmla="*/ 135 h 176"/>
                <a:gd name="T30" fmla="*/ 8 w 454"/>
                <a:gd name="T31" fmla="*/ 157 h 176"/>
                <a:gd name="T32" fmla="*/ 14 w 454"/>
                <a:gd name="T33" fmla="*/ 176 h 176"/>
                <a:gd name="T34" fmla="*/ 14 w 454"/>
                <a:gd name="T35" fmla="*/ 176 h 176"/>
                <a:gd name="T36" fmla="*/ 454 w 454"/>
                <a:gd name="T37" fmla="*/ 176 h 176"/>
                <a:gd name="T38" fmla="*/ 454 w 454"/>
                <a:gd name="T39" fmla="*/ 176 h 176"/>
                <a:gd name="T40" fmla="*/ 448 w 454"/>
                <a:gd name="T41" fmla="*/ 155 h 176"/>
                <a:gd name="T42" fmla="*/ 443 w 454"/>
                <a:gd name="T43" fmla="*/ 133 h 176"/>
                <a:gd name="T44" fmla="*/ 440 w 454"/>
                <a:gd name="T45" fmla="*/ 111 h 176"/>
                <a:gd name="T46" fmla="*/ 438 w 454"/>
                <a:gd name="T47" fmla="*/ 88 h 176"/>
                <a:gd name="T48" fmla="*/ 438 w 454"/>
                <a:gd name="T49" fmla="*/ 88 h 1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454" h="176">
                  <a:moveTo>
                    <a:pt x="438" y="88"/>
                  </a:moveTo>
                  <a:lnTo>
                    <a:pt x="438" y="88"/>
                  </a:lnTo>
                  <a:lnTo>
                    <a:pt x="440" y="64"/>
                  </a:lnTo>
                  <a:lnTo>
                    <a:pt x="443" y="42"/>
                  </a:lnTo>
                  <a:lnTo>
                    <a:pt x="448" y="21"/>
                  </a:lnTo>
                  <a:lnTo>
                    <a:pt x="454" y="0"/>
                  </a:lnTo>
                  <a:lnTo>
                    <a:pt x="14" y="0"/>
                  </a:lnTo>
                  <a:lnTo>
                    <a:pt x="14" y="0"/>
                  </a:lnTo>
                  <a:lnTo>
                    <a:pt x="14" y="0"/>
                  </a:lnTo>
                  <a:lnTo>
                    <a:pt x="8" y="19"/>
                  </a:lnTo>
                  <a:lnTo>
                    <a:pt x="3" y="42"/>
                  </a:lnTo>
                  <a:lnTo>
                    <a:pt x="0" y="64"/>
                  </a:lnTo>
                  <a:lnTo>
                    <a:pt x="0" y="88"/>
                  </a:lnTo>
                  <a:lnTo>
                    <a:pt x="0" y="112"/>
                  </a:lnTo>
                  <a:lnTo>
                    <a:pt x="3" y="135"/>
                  </a:lnTo>
                  <a:lnTo>
                    <a:pt x="8" y="157"/>
                  </a:lnTo>
                  <a:lnTo>
                    <a:pt x="14" y="176"/>
                  </a:lnTo>
                  <a:lnTo>
                    <a:pt x="14" y="176"/>
                  </a:lnTo>
                  <a:lnTo>
                    <a:pt x="454" y="176"/>
                  </a:lnTo>
                  <a:lnTo>
                    <a:pt x="454" y="176"/>
                  </a:lnTo>
                  <a:lnTo>
                    <a:pt x="448" y="155"/>
                  </a:lnTo>
                  <a:lnTo>
                    <a:pt x="443" y="133"/>
                  </a:lnTo>
                  <a:lnTo>
                    <a:pt x="440" y="111"/>
                  </a:lnTo>
                  <a:lnTo>
                    <a:pt x="438" y="88"/>
                  </a:lnTo>
                  <a:lnTo>
                    <a:pt x="438" y="8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41" name="Freeform 40">
              <a:extLst>
                <a:ext uri="{FF2B5EF4-FFF2-40B4-BE49-F238E27FC236}">
                  <a16:creationId xmlns:a16="http://schemas.microsoft.com/office/drawing/2014/main" id="{C88DEE30-C73E-F11B-AE57-29606818B93E}"/>
                </a:ext>
              </a:extLst>
            </p:cNvPr>
            <p:cNvSpPr>
              <a:spLocks/>
            </p:cNvSpPr>
            <p:nvPr/>
          </p:nvSpPr>
          <p:spPr bwMode="auto">
            <a:xfrm>
              <a:off x="6603" y="830"/>
              <a:ext cx="251" cy="46"/>
            </a:xfrm>
            <a:custGeom>
              <a:avLst/>
              <a:gdLst>
                <a:gd name="T0" fmla="*/ 496 w 503"/>
                <a:gd name="T1" fmla="*/ 45 h 91"/>
                <a:gd name="T2" fmla="*/ 496 w 503"/>
                <a:gd name="T3" fmla="*/ 45 h 91"/>
                <a:gd name="T4" fmla="*/ 498 w 503"/>
                <a:gd name="T5" fmla="*/ 22 h 91"/>
                <a:gd name="T6" fmla="*/ 503 w 503"/>
                <a:gd name="T7" fmla="*/ 0 h 91"/>
                <a:gd name="T8" fmla="*/ 7 w 503"/>
                <a:gd name="T9" fmla="*/ 0 h 91"/>
                <a:gd name="T10" fmla="*/ 7 w 503"/>
                <a:gd name="T11" fmla="*/ 0 h 91"/>
                <a:gd name="T12" fmla="*/ 3 w 503"/>
                <a:gd name="T13" fmla="*/ 11 h 91"/>
                <a:gd name="T14" fmla="*/ 2 w 503"/>
                <a:gd name="T15" fmla="*/ 22 h 91"/>
                <a:gd name="T16" fmla="*/ 0 w 503"/>
                <a:gd name="T17" fmla="*/ 45 h 91"/>
                <a:gd name="T18" fmla="*/ 2 w 503"/>
                <a:gd name="T19" fmla="*/ 69 h 91"/>
                <a:gd name="T20" fmla="*/ 3 w 503"/>
                <a:gd name="T21" fmla="*/ 80 h 91"/>
                <a:gd name="T22" fmla="*/ 7 w 503"/>
                <a:gd name="T23" fmla="*/ 91 h 91"/>
                <a:gd name="T24" fmla="*/ 503 w 503"/>
                <a:gd name="T25" fmla="*/ 91 h 91"/>
                <a:gd name="T26" fmla="*/ 503 w 503"/>
                <a:gd name="T27" fmla="*/ 91 h 91"/>
                <a:gd name="T28" fmla="*/ 498 w 503"/>
                <a:gd name="T29" fmla="*/ 69 h 91"/>
                <a:gd name="T30" fmla="*/ 496 w 503"/>
                <a:gd name="T31" fmla="*/ 45 h 91"/>
                <a:gd name="T32" fmla="*/ 496 w 503"/>
                <a:gd name="T33" fmla="*/ 45 h 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503" h="91">
                  <a:moveTo>
                    <a:pt x="496" y="45"/>
                  </a:moveTo>
                  <a:lnTo>
                    <a:pt x="496" y="45"/>
                  </a:lnTo>
                  <a:lnTo>
                    <a:pt x="498" y="22"/>
                  </a:lnTo>
                  <a:lnTo>
                    <a:pt x="503" y="0"/>
                  </a:lnTo>
                  <a:lnTo>
                    <a:pt x="7" y="0"/>
                  </a:lnTo>
                  <a:lnTo>
                    <a:pt x="7" y="0"/>
                  </a:lnTo>
                  <a:lnTo>
                    <a:pt x="3" y="11"/>
                  </a:lnTo>
                  <a:lnTo>
                    <a:pt x="2" y="22"/>
                  </a:lnTo>
                  <a:lnTo>
                    <a:pt x="0" y="45"/>
                  </a:lnTo>
                  <a:lnTo>
                    <a:pt x="2" y="69"/>
                  </a:lnTo>
                  <a:lnTo>
                    <a:pt x="3" y="80"/>
                  </a:lnTo>
                  <a:lnTo>
                    <a:pt x="7" y="91"/>
                  </a:lnTo>
                  <a:lnTo>
                    <a:pt x="503" y="91"/>
                  </a:lnTo>
                  <a:lnTo>
                    <a:pt x="503" y="91"/>
                  </a:lnTo>
                  <a:lnTo>
                    <a:pt x="498" y="69"/>
                  </a:lnTo>
                  <a:lnTo>
                    <a:pt x="496" y="45"/>
                  </a:lnTo>
                  <a:lnTo>
                    <a:pt x="496" y="4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42" name="Freeform 41">
              <a:extLst>
                <a:ext uri="{FF2B5EF4-FFF2-40B4-BE49-F238E27FC236}">
                  <a16:creationId xmlns:a16="http://schemas.microsoft.com/office/drawing/2014/main" id="{7F9B697A-A53F-1B20-B660-CD854FF62FD0}"/>
                </a:ext>
              </a:extLst>
            </p:cNvPr>
            <p:cNvSpPr>
              <a:spLocks/>
            </p:cNvSpPr>
            <p:nvPr/>
          </p:nvSpPr>
          <p:spPr bwMode="auto">
            <a:xfrm>
              <a:off x="6645" y="1012"/>
              <a:ext cx="282" cy="26"/>
            </a:xfrm>
            <a:custGeom>
              <a:avLst/>
              <a:gdLst>
                <a:gd name="T0" fmla="*/ 557 w 563"/>
                <a:gd name="T1" fmla="*/ 26 h 51"/>
                <a:gd name="T2" fmla="*/ 557 w 563"/>
                <a:gd name="T3" fmla="*/ 26 h 51"/>
                <a:gd name="T4" fmla="*/ 559 w 563"/>
                <a:gd name="T5" fmla="*/ 13 h 51"/>
                <a:gd name="T6" fmla="*/ 563 w 563"/>
                <a:gd name="T7" fmla="*/ 0 h 51"/>
                <a:gd name="T8" fmla="*/ 3 w 563"/>
                <a:gd name="T9" fmla="*/ 0 h 51"/>
                <a:gd name="T10" fmla="*/ 3 w 563"/>
                <a:gd name="T11" fmla="*/ 0 h 51"/>
                <a:gd name="T12" fmla="*/ 2 w 563"/>
                <a:gd name="T13" fmla="*/ 13 h 51"/>
                <a:gd name="T14" fmla="*/ 0 w 563"/>
                <a:gd name="T15" fmla="*/ 26 h 51"/>
                <a:gd name="T16" fmla="*/ 2 w 563"/>
                <a:gd name="T17" fmla="*/ 39 h 51"/>
                <a:gd name="T18" fmla="*/ 3 w 563"/>
                <a:gd name="T19" fmla="*/ 51 h 51"/>
                <a:gd name="T20" fmla="*/ 563 w 563"/>
                <a:gd name="T21" fmla="*/ 51 h 51"/>
                <a:gd name="T22" fmla="*/ 563 w 563"/>
                <a:gd name="T23" fmla="*/ 51 h 51"/>
                <a:gd name="T24" fmla="*/ 559 w 563"/>
                <a:gd name="T25" fmla="*/ 39 h 51"/>
                <a:gd name="T26" fmla="*/ 557 w 563"/>
                <a:gd name="T27" fmla="*/ 26 h 51"/>
                <a:gd name="T28" fmla="*/ 557 w 563"/>
                <a:gd name="T29" fmla="*/ 26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Lst>
              <a:rect l="0" t="0" r="r" b="b"/>
              <a:pathLst>
                <a:path w="563" h="51">
                  <a:moveTo>
                    <a:pt x="557" y="26"/>
                  </a:moveTo>
                  <a:lnTo>
                    <a:pt x="557" y="26"/>
                  </a:lnTo>
                  <a:lnTo>
                    <a:pt x="559" y="13"/>
                  </a:lnTo>
                  <a:lnTo>
                    <a:pt x="563" y="0"/>
                  </a:lnTo>
                  <a:lnTo>
                    <a:pt x="3" y="0"/>
                  </a:lnTo>
                  <a:lnTo>
                    <a:pt x="3" y="0"/>
                  </a:lnTo>
                  <a:lnTo>
                    <a:pt x="2" y="13"/>
                  </a:lnTo>
                  <a:lnTo>
                    <a:pt x="0" y="26"/>
                  </a:lnTo>
                  <a:lnTo>
                    <a:pt x="2" y="39"/>
                  </a:lnTo>
                  <a:lnTo>
                    <a:pt x="3" y="51"/>
                  </a:lnTo>
                  <a:lnTo>
                    <a:pt x="563" y="51"/>
                  </a:lnTo>
                  <a:lnTo>
                    <a:pt x="563" y="51"/>
                  </a:lnTo>
                  <a:lnTo>
                    <a:pt x="559" y="39"/>
                  </a:lnTo>
                  <a:lnTo>
                    <a:pt x="557" y="26"/>
                  </a:lnTo>
                  <a:lnTo>
                    <a:pt x="557" y="2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43" name="Freeform 42">
              <a:extLst>
                <a:ext uri="{FF2B5EF4-FFF2-40B4-BE49-F238E27FC236}">
                  <a16:creationId xmlns:a16="http://schemas.microsoft.com/office/drawing/2014/main" id="{E0DDE8B0-D79C-42CC-5EB6-FF5599FCE3CE}"/>
                </a:ext>
              </a:extLst>
            </p:cNvPr>
            <p:cNvSpPr>
              <a:spLocks/>
            </p:cNvSpPr>
            <p:nvPr/>
          </p:nvSpPr>
          <p:spPr bwMode="auto">
            <a:xfrm>
              <a:off x="6597" y="1050"/>
              <a:ext cx="301" cy="96"/>
            </a:xfrm>
            <a:custGeom>
              <a:avLst/>
              <a:gdLst>
                <a:gd name="T0" fmla="*/ 36 w 604"/>
                <a:gd name="T1" fmla="*/ 169 h 193"/>
                <a:gd name="T2" fmla="*/ 36 w 604"/>
                <a:gd name="T3" fmla="*/ 169 h 193"/>
                <a:gd name="T4" fmla="*/ 31 w 604"/>
                <a:gd name="T5" fmla="*/ 152 h 193"/>
                <a:gd name="T6" fmla="*/ 28 w 604"/>
                <a:gd name="T7" fmla="*/ 135 h 193"/>
                <a:gd name="T8" fmla="*/ 24 w 604"/>
                <a:gd name="T9" fmla="*/ 116 h 193"/>
                <a:gd name="T10" fmla="*/ 24 w 604"/>
                <a:gd name="T11" fmla="*/ 96 h 193"/>
                <a:gd name="T12" fmla="*/ 24 w 604"/>
                <a:gd name="T13" fmla="*/ 77 h 193"/>
                <a:gd name="T14" fmla="*/ 28 w 604"/>
                <a:gd name="T15" fmla="*/ 58 h 193"/>
                <a:gd name="T16" fmla="*/ 31 w 604"/>
                <a:gd name="T17" fmla="*/ 40 h 193"/>
                <a:gd name="T18" fmla="*/ 36 w 604"/>
                <a:gd name="T19" fmla="*/ 24 h 193"/>
                <a:gd name="T20" fmla="*/ 604 w 604"/>
                <a:gd name="T21" fmla="*/ 24 h 193"/>
                <a:gd name="T22" fmla="*/ 604 w 604"/>
                <a:gd name="T23" fmla="*/ 0 h 193"/>
                <a:gd name="T24" fmla="*/ 34 w 604"/>
                <a:gd name="T25" fmla="*/ 0 h 193"/>
                <a:gd name="T26" fmla="*/ 34 w 604"/>
                <a:gd name="T27" fmla="*/ 0 h 193"/>
                <a:gd name="T28" fmla="*/ 28 w 604"/>
                <a:gd name="T29" fmla="*/ 0 h 193"/>
                <a:gd name="T30" fmla="*/ 23 w 604"/>
                <a:gd name="T31" fmla="*/ 4 h 193"/>
                <a:gd name="T32" fmla="*/ 18 w 604"/>
                <a:gd name="T33" fmla="*/ 7 h 193"/>
                <a:gd name="T34" fmla="*/ 15 w 604"/>
                <a:gd name="T35" fmla="*/ 10 h 193"/>
                <a:gd name="T36" fmla="*/ 15 w 604"/>
                <a:gd name="T37" fmla="*/ 10 h 193"/>
                <a:gd name="T38" fmla="*/ 8 w 604"/>
                <a:gd name="T39" fmla="*/ 29 h 193"/>
                <a:gd name="T40" fmla="*/ 4 w 604"/>
                <a:gd name="T41" fmla="*/ 50 h 193"/>
                <a:gd name="T42" fmla="*/ 2 w 604"/>
                <a:gd name="T43" fmla="*/ 72 h 193"/>
                <a:gd name="T44" fmla="*/ 0 w 604"/>
                <a:gd name="T45" fmla="*/ 96 h 193"/>
                <a:gd name="T46" fmla="*/ 0 w 604"/>
                <a:gd name="T47" fmla="*/ 119 h 193"/>
                <a:gd name="T48" fmla="*/ 4 w 604"/>
                <a:gd name="T49" fmla="*/ 141 h 193"/>
                <a:gd name="T50" fmla="*/ 8 w 604"/>
                <a:gd name="T51" fmla="*/ 162 h 193"/>
                <a:gd name="T52" fmla="*/ 16 w 604"/>
                <a:gd name="T53" fmla="*/ 183 h 193"/>
                <a:gd name="T54" fmla="*/ 16 w 604"/>
                <a:gd name="T55" fmla="*/ 183 h 193"/>
                <a:gd name="T56" fmla="*/ 18 w 604"/>
                <a:gd name="T57" fmla="*/ 186 h 193"/>
                <a:gd name="T58" fmla="*/ 23 w 604"/>
                <a:gd name="T59" fmla="*/ 189 h 193"/>
                <a:gd name="T60" fmla="*/ 28 w 604"/>
                <a:gd name="T61" fmla="*/ 191 h 193"/>
                <a:gd name="T62" fmla="*/ 34 w 604"/>
                <a:gd name="T63" fmla="*/ 193 h 193"/>
                <a:gd name="T64" fmla="*/ 604 w 604"/>
                <a:gd name="T65" fmla="*/ 193 h 193"/>
                <a:gd name="T66" fmla="*/ 604 w 604"/>
                <a:gd name="T67" fmla="*/ 169 h 193"/>
                <a:gd name="T68" fmla="*/ 36 w 604"/>
                <a:gd name="T69" fmla="*/ 16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Lst>
              <a:rect l="0" t="0" r="r" b="b"/>
              <a:pathLst>
                <a:path w="604" h="193">
                  <a:moveTo>
                    <a:pt x="36" y="169"/>
                  </a:moveTo>
                  <a:lnTo>
                    <a:pt x="36" y="169"/>
                  </a:lnTo>
                  <a:lnTo>
                    <a:pt x="31" y="152"/>
                  </a:lnTo>
                  <a:lnTo>
                    <a:pt x="28" y="135"/>
                  </a:lnTo>
                  <a:lnTo>
                    <a:pt x="24" y="116"/>
                  </a:lnTo>
                  <a:lnTo>
                    <a:pt x="24" y="96"/>
                  </a:lnTo>
                  <a:lnTo>
                    <a:pt x="24" y="77"/>
                  </a:lnTo>
                  <a:lnTo>
                    <a:pt x="28" y="58"/>
                  </a:lnTo>
                  <a:lnTo>
                    <a:pt x="31" y="40"/>
                  </a:lnTo>
                  <a:lnTo>
                    <a:pt x="36" y="24"/>
                  </a:lnTo>
                  <a:lnTo>
                    <a:pt x="604" y="24"/>
                  </a:lnTo>
                  <a:lnTo>
                    <a:pt x="604" y="0"/>
                  </a:lnTo>
                  <a:lnTo>
                    <a:pt x="34" y="0"/>
                  </a:lnTo>
                  <a:lnTo>
                    <a:pt x="34" y="0"/>
                  </a:lnTo>
                  <a:lnTo>
                    <a:pt x="28" y="0"/>
                  </a:lnTo>
                  <a:lnTo>
                    <a:pt x="23" y="4"/>
                  </a:lnTo>
                  <a:lnTo>
                    <a:pt x="18" y="7"/>
                  </a:lnTo>
                  <a:lnTo>
                    <a:pt x="15" y="10"/>
                  </a:lnTo>
                  <a:lnTo>
                    <a:pt x="15" y="10"/>
                  </a:lnTo>
                  <a:lnTo>
                    <a:pt x="8" y="29"/>
                  </a:lnTo>
                  <a:lnTo>
                    <a:pt x="4" y="50"/>
                  </a:lnTo>
                  <a:lnTo>
                    <a:pt x="2" y="72"/>
                  </a:lnTo>
                  <a:lnTo>
                    <a:pt x="0" y="96"/>
                  </a:lnTo>
                  <a:lnTo>
                    <a:pt x="0" y="119"/>
                  </a:lnTo>
                  <a:lnTo>
                    <a:pt x="4" y="141"/>
                  </a:lnTo>
                  <a:lnTo>
                    <a:pt x="8" y="162"/>
                  </a:lnTo>
                  <a:lnTo>
                    <a:pt x="16" y="183"/>
                  </a:lnTo>
                  <a:lnTo>
                    <a:pt x="16" y="183"/>
                  </a:lnTo>
                  <a:lnTo>
                    <a:pt x="18" y="186"/>
                  </a:lnTo>
                  <a:lnTo>
                    <a:pt x="23" y="189"/>
                  </a:lnTo>
                  <a:lnTo>
                    <a:pt x="28" y="191"/>
                  </a:lnTo>
                  <a:lnTo>
                    <a:pt x="34" y="193"/>
                  </a:lnTo>
                  <a:lnTo>
                    <a:pt x="604" y="193"/>
                  </a:lnTo>
                  <a:lnTo>
                    <a:pt x="604" y="169"/>
                  </a:lnTo>
                  <a:lnTo>
                    <a:pt x="36" y="169"/>
                  </a:lnTo>
                  <a:close/>
                </a:path>
              </a:pathLst>
            </a:custGeom>
            <a:solidFill>
              <a:srgbClr val="DFA14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44" name="Freeform 43">
              <a:extLst>
                <a:ext uri="{FF2B5EF4-FFF2-40B4-BE49-F238E27FC236}">
                  <a16:creationId xmlns:a16="http://schemas.microsoft.com/office/drawing/2014/main" id="{4836180D-303D-A889-955D-0D25E911FCD7}"/>
                </a:ext>
              </a:extLst>
            </p:cNvPr>
            <p:cNvSpPr>
              <a:spLocks/>
            </p:cNvSpPr>
            <p:nvPr/>
          </p:nvSpPr>
          <p:spPr bwMode="auto">
            <a:xfrm>
              <a:off x="6612" y="888"/>
              <a:ext cx="255" cy="112"/>
            </a:xfrm>
            <a:custGeom>
              <a:avLst/>
              <a:gdLst>
                <a:gd name="T0" fmla="*/ 38 w 510"/>
                <a:gd name="T1" fmla="*/ 200 h 224"/>
                <a:gd name="T2" fmla="*/ 38 w 510"/>
                <a:gd name="T3" fmla="*/ 200 h 224"/>
                <a:gd name="T4" fmla="*/ 38 w 510"/>
                <a:gd name="T5" fmla="*/ 200 h 224"/>
                <a:gd name="T6" fmla="*/ 32 w 510"/>
                <a:gd name="T7" fmla="*/ 181 h 224"/>
                <a:gd name="T8" fmla="*/ 27 w 510"/>
                <a:gd name="T9" fmla="*/ 159 h 224"/>
                <a:gd name="T10" fmla="*/ 24 w 510"/>
                <a:gd name="T11" fmla="*/ 136 h 224"/>
                <a:gd name="T12" fmla="*/ 24 w 510"/>
                <a:gd name="T13" fmla="*/ 112 h 224"/>
                <a:gd name="T14" fmla="*/ 24 w 510"/>
                <a:gd name="T15" fmla="*/ 88 h 224"/>
                <a:gd name="T16" fmla="*/ 27 w 510"/>
                <a:gd name="T17" fmla="*/ 66 h 224"/>
                <a:gd name="T18" fmla="*/ 32 w 510"/>
                <a:gd name="T19" fmla="*/ 43 h 224"/>
                <a:gd name="T20" fmla="*/ 38 w 510"/>
                <a:gd name="T21" fmla="*/ 24 h 224"/>
                <a:gd name="T22" fmla="*/ 38 w 510"/>
                <a:gd name="T23" fmla="*/ 24 h 224"/>
                <a:gd name="T24" fmla="*/ 510 w 510"/>
                <a:gd name="T25" fmla="*/ 24 h 224"/>
                <a:gd name="T26" fmla="*/ 510 w 510"/>
                <a:gd name="T27" fmla="*/ 0 h 224"/>
                <a:gd name="T28" fmla="*/ 38 w 510"/>
                <a:gd name="T29" fmla="*/ 0 h 224"/>
                <a:gd name="T30" fmla="*/ 38 w 510"/>
                <a:gd name="T31" fmla="*/ 0 h 224"/>
                <a:gd name="T32" fmla="*/ 32 w 510"/>
                <a:gd name="T33" fmla="*/ 0 h 224"/>
                <a:gd name="T34" fmla="*/ 25 w 510"/>
                <a:gd name="T35" fmla="*/ 3 h 224"/>
                <a:gd name="T36" fmla="*/ 21 w 510"/>
                <a:gd name="T37" fmla="*/ 7 h 224"/>
                <a:gd name="T38" fmla="*/ 17 w 510"/>
                <a:gd name="T39" fmla="*/ 11 h 224"/>
                <a:gd name="T40" fmla="*/ 17 w 510"/>
                <a:gd name="T41" fmla="*/ 11 h 224"/>
                <a:gd name="T42" fmla="*/ 9 w 510"/>
                <a:gd name="T43" fmla="*/ 34 h 224"/>
                <a:gd name="T44" fmla="*/ 3 w 510"/>
                <a:gd name="T45" fmla="*/ 58 h 224"/>
                <a:gd name="T46" fmla="*/ 0 w 510"/>
                <a:gd name="T47" fmla="*/ 85 h 224"/>
                <a:gd name="T48" fmla="*/ 0 w 510"/>
                <a:gd name="T49" fmla="*/ 112 h 224"/>
                <a:gd name="T50" fmla="*/ 0 w 510"/>
                <a:gd name="T51" fmla="*/ 139 h 224"/>
                <a:gd name="T52" fmla="*/ 3 w 510"/>
                <a:gd name="T53" fmla="*/ 165 h 224"/>
                <a:gd name="T54" fmla="*/ 9 w 510"/>
                <a:gd name="T55" fmla="*/ 191 h 224"/>
                <a:gd name="T56" fmla="*/ 17 w 510"/>
                <a:gd name="T57" fmla="*/ 213 h 224"/>
                <a:gd name="T58" fmla="*/ 17 w 510"/>
                <a:gd name="T59" fmla="*/ 213 h 224"/>
                <a:gd name="T60" fmla="*/ 21 w 510"/>
                <a:gd name="T61" fmla="*/ 218 h 224"/>
                <a:gd name="T62" fmla="*/ 25 w 510"/>
                <a:gd name="T63" fmla="*/ 221 h 224"/>
                <a:gd name="T64" fmla="*/ 32 w 510"/>
                <a:gd name="T65" fmla="*/ 223 h 224"/>
                <a:gd name="T66" fmla="*/ 38 w 510"/>
                <a:gd name="T67" fmla="*/ 224 h 224"/>
                <a:gd name="T68" fmla="*/ 510 w 510"/>
                <a:gd name="T69" fmla="*/ 224 h 224"/>
                <a:gd name="T70" fmla="*/ 510 w 510"/>
                <a:gd name="T71" fmla="*/ 200 h 224"/>
                <a:gd name="T72" fmla="*/ 38 w 510"/>
                <a:gd name="T73" fmla="*/ 200 h 22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510" h="224">
                  <a:moveTo>
                    <a:pt x="38" y="200"/>
                  </a:moveTo>
                  <a:lnTo>
                    <a:pt x="38" y="200"/>
                  </a:lnTo>
                  <a:lnTo>
                    <a:pt x="38" y="200"/>
                  </a:lnTo>
                  <a:lnTo>
                    <a:pt x="32" y="181"/>
                  </a:lnTo>
                  <a:lnTo>
                    <a:pt x="27" y="159"/>
                  </a:lnTo>
                  <a:lnTo>
                    <a:pt x="24" y="136"/>
                  </a:lnTo>
                  <a:lnTo>
                    <a:pt x="24" y="112"/>
                  </a:lnTo>
                  <a:lnTo>
                    <a:pt x="24" y="88"/>
                  </a:lnTo>
                  <a:lnTo>
                    <a:pt x="27" y="66"/>
                  </a:lnTo>
                  <a:lnTo>
                    <a:pt x="32" y="43"/>
                  </a:lnTo>
                  <a:lnTo>
                    <a:pt x="38" y="24"/>
                  </a:lnTo>
                  <a:lnTo>
                    <a:pt x="38" y="24"/>
                  </a:lnTo>
                  <a:lnTo>
                    <a:pt x="510" y="24"/>
                  </a:lnTo>
                  <a:lnTo>
                    <a:pt x="510" y="0"/>
                  </a:lnTo>
                  <a:lnTo>
                    <a:pt x="38" y="0"/>
                  </a:lnTo>
                  <a:lnTo>
                    <a:pt x="38" y="0"/>
                  </a:lnTo>
                  <a:lnTo>
                    <a:pt x="32" y="0"/>
                  </a:lnTo>
                  <a:lnTo>
                    <a:pt x="25" y="3"/>
                  </a:lnTo>
                  <a:lnTo>
                    <a:pt x="21" y="7"/>
                  </a:lnTo>
                  <a:lnTo>
                    <a:pt x="17" y="11"/>
                  </a:lnTo>
                  <a:lnTo>
                    <a:pt x="17" y="11"/>
                  </a:lnTo>
                  <a:lnTo>
                    <a:pt x="9" y="34"/>
                  </a:lnTo>
                  <a:lnTo>
                    <a:pt x="3" y="58"/>
                  </a:lnTo>
                  <a:lnTo>
                    <a:pt x="0" y="85"/>
                  </a:lnTo>
                  <a:lnTo>
                    <a:pt x="0" y="112"/>
                  </a:lnTo>
                  <a:lnTo>
                    <a:pt x="0" y="139"/>
                  </a:lnTo>
                  <a:lnTo>
                    <a:pt x="3" y="165"/>
                  </a:lnTo>
                  <a:lnTo>
                    <a:pt x="9" y="191"/>
                  </a:lnTo>
                  <a:lnTo>
                    <a:pt x="17" y="213"/>
                  </a:lnTo>
                  <a:lnTo>
                    <a:pt x="17" y="213"/>
                  </a:lnTo>
                  <a:lnTo>
                    <a:pt x="21" y="218"/>
                  </a:lnTo>
                  <a:lnTo>
                    <a:pt x="25" y="221"/>
                  </a:lnTo>
                  <a:lnTo>
                    <a:pt x="32" y="223"/>
                  </a:lnTo>
                  <a:lnTo>
                    <a:pt x="38" y="224"/>
                  </a:lnTo>
                  <a:lnTo>
                    <a:pt x="510" y="224"/>
                  </a:lnTo>
                  <a:lnTo>
                    <a:pt x="510" y="200"/>
                  </a:lnTo>
                  <a:lnTo>
                    <a:pt x="38" y="200"/>
                  </a:lnTo>
                  <a:close/>
                </a:path>
              </a:pathLst>
            </a:custGeom>
            <a:solidFill>
              <a:srgbClr val="D48E3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45" name="Freeform 44">
              <a:extLst>
                <a:ext uri="{FF2B5EF4-FFF2-40B4-BE49-F238E27FC236}">
                  <a16:creationId xmlns:a16="http://schemas.microsoft.com/office/drawing/2014/main" id="{F0E92B7A-B23A-3BDA-B8AF-3ACF7893EB18}"/>
                </a:ext>
              </a:extLst>
            </p:cNvPr>
            <p:cNvSpPr>
              <a:spLocks/>
            </p:cNvSpPr>
            <p:nvPr/>
          </p:nvSpPr>
          <p:spPr bwMode="auto">
            <a:xfrm>
              <a:off x="6591" y="818"/>
              <a:ext cx="279" cy="70"/>
            </a:xfrm>
            <a:custGeom>
              <a:avLst/>
              <a:gdLst>
                <a:gd name="T0" fmla="*/ 31 w 557"/>
                <a:gd name="T1" fmla="*/ 115 h 139"/>
                <a:gd name="T2" fmla="*/ 31 w 557"/>
                <a:gd name="T3" fmla="*/ 115 h 139"/>
                <a:gd name="T4" fmla="*/ 27 w 557"/>
                <a:gd name="T5" fmla="*/ 104 h 139"/>
                <a:gd name="T6" fmla="*/ 26 w 557"/>
                <a:gd name="T7" fmla="*/ 93 h 139"/>
                <a:gd name="T8" fmla="*/ 24 w 557"/>
                <a:gd name="T9" fmla="*/ 69 h 139"/>
                <a:gd name="T10" fmla="*/ 26 w 557"/>
                <a:gd name="T11" fmla="*/ 46 h 139"/>
                <a:gd name="T12" fmla="*/ 27 w 557"/>
                <a:gd name="T13" fmla="*/ 35 h 139"/>
                <a:gd name="T14" fmla="*/ 31 w 557"/>
                <a:gd name="T15" fmla="*/ 24 h 139"/>
                <a:gd name="T16" fmla="*/ 557 w 557"/>
                <a:gd name="T17" fmla="*/ 24 h 139"/>
                <a:gd name="T18" fmla="*/ 557 w 557"/>
                <a:gd name="T19" fmla="*/ 0 h 139"/>
                <a:gd name="T20" fmla="*/ 24 w 557"/>
                <a:gd name="T21" fmla="*/ 0 h 139"/>
                <a:gd name="T22" fmla="*/ 24 w 557"/>
                <a:gd name="T23" fmla="*/ 0 h 139"/>
                <a:gd name="T24" fmla="*/ 21 w 557"/>
                <a:gd name="T25" fmla="*/ 1 h 139"/>
                <a:gd name="T26" fmla="*/ 16 w 557"/>
                <a:gd name="T27" fmla="*/ 3 h 139"/>
                <a:gd name="T28" fmla="*/ 13 w 557"/>
                <a:gd name="T29" fmla="*/ 5 h 139"/>
                <a:gd name="T30" fmla="*/ 11 w 557"/>
                <a:gd name="T31" fmla="*/ 8 h 139"/>
                <a:gd name="T32" fmla="*/ 11 w 557"/>
                <a:gd name="T33" fmla="*/ 8 h 139"/>
                <a:gd name="T34" fmla="*/ 6 w 557"/>
                <a:gd name="T35" fmla="*/ 21 h 139"/>
                <a:gd name="T36" fmla="*/ 3 w 557"/>
                <a:gd name="T37" fmla="*/ 37 h 139"/>
                <a:gd name="T38" fmla="*/ 0 w 557"/>
                <a:gd name="T39" fmla="*/ 53 h 139"/>
                <a:gd name="T40" fmla="*/ 0 w 557"/>
                <a:gd name="T41" fmla="*/ 69 h 139"/>
                <a:gd name="T42" fmla="*/ 0 w 557"/>
                <a:gd name="T43" fmla="*/ 86 h 139"/>
                <a:gd name="T44" fmla="*/ 3 w 557"/>
                <a:gd name="T45" fmla="*/ 102 h 139"/>
                <a:gd name="T46" fmla="*/ 6 w 557"/>
                <a:gd name="T47" fmla="*/ 117 h 139"/>
                <a:gd name="T48" fmla="*/ 11 w 557"/>
                <a:gd name="T49" fmla="*/ 131 h 139"/>
                <a:gd name="T50" fmla="*/ 11 w 557"/>
                <a:gd name="T51" fmla="*/ 131 h 139"/>
                <a:gd name="T52" fmla="*/ 13 w 557"/>
                <a:gd name="T53" fmla="*/ 134 h 139"/>
                <a:gd name="T54" fmla="*/ 16 w 557"/>
                <a:gd name="T55" fmla="*/ 136 h 139"/>
                <a:gd name="T56" fmla="*/ 24 w 557"/>
                <a:gd name="T57" fmla="*/ 139 h 139"/>
                <a:gd name="T58" fmla="*/ 557 w 557"/>
                <a:gd name="T59" fmla="*/ 139 h 139"/>
                <a:gd name="T60" fmla="*/ 557 w 557"/>
                <a:gd name="T61" fmla="*/ 115 h 139"/>
                <a:gd name="T62" fmla="*/ 31 w 557"/>
                <a:gd name="T63" fmla="*/ 115 h 1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557" h="139">
                  <a:moveTo>
                    <a:pt x="31" y="115"/>
                  </a:moveTo>
                  <a:lnTo>
                    <a:pt x="31" y="115"/>
                  </a:lnTo>
                  <a:lnTo>
                    <a:pt x="27" y="104"/>
                  </a:lnTo>
                  <a:lnTo>
                    <a:pt x="26" y="93"/>
                  </a:lnTo>
                  <a:lnTo>
                    <a:pt x="24" y="69"/>
                  </a:lnTo>
                  <a:lnTo>
                    <a:pt x="26" y="46"/>
                  </a:lnTo>
                  <a:lnTo>
                    <a:pt x="27" y="35"/>
                  </a:lnTo>
                  <a:lnTo>
                    <a:pt x="31" y="24"/>
                  </a:lnTo>
                  <a:lnTo>
                    <a:pt x="557" y="24"/>
                  </a:lnTo>
                  <a:lnTo>
                    <a:pt x="557" y="0"/>
                  </a:lnTo>
                  <a:lnTo>
                    <a:pt x="24" y="0"/>
                  </a:lnTo>
                  <a:lnTo>
                    <a:pt x="24" y="0"/>
                  </a:lnTo>
                  <a:lnTo>
                    <a:pt x="21" y="1"/>
                  </a:lnTo>
                  <a:lnTo>
                    <a:pt x="16" y="3"/>
                  </a:lnTo>
                  <a:lnTo>
                    <a:pt x="13" y="5"/>
                  </a:lnTo>
                  <a:lnTo>
                    <a:pt x="11" y="8"/>
                  </a:lnTo>
                  <a:lnTo>
                    <a:pt x="11" y="8"/>
                  </a:lnTo>
                  <a:lnTo>
                    <a:pt x="6" y="21"/>
                  </a:lnTo>
                  <a:lnTo>
                    <a:pt x="3" y="37"/>
                  </a:lnTo>
                  <a:lnTo>
                    <a:pt x="0" y="53"/>
                  </a:lnTo>
                  <a:lnTo>
                    <a:pt x="0" y="69"/>
                  </a:lnTo>
                  <a:lnTo>
                    <a:pt x="0" y="86"/>
                  </a:lnTo>
                  <a:lnTo>
                    <a:pt x="3" y="102"/>
                  </a:lnTo>
                  <a:lnTo>
                    <a:pt x="6" y="117"/>
                  </a:lnTo>
                  <a:lnTo>
                    <a:pt x="11" y="131"/>
                  </a:lnTo>
                  <a:lnTo>
                    <a:pt x="11" y="131"/>
                  </a:lnTo>
                  <a:lnTo>
                    <a:pt x="13" y="134"/>
                  </a:lnTo>
                  <a:lnTo>
                    <a:pt x="16" y="136"/>
                  </a:lnTo>
                  <a:lnTo>
                    <a:pt x="24" y="139"/>
                  </a:lnTo>
                  <a:lnTo>
                    <a:pt x="557" y="139"/>
                  </a:lnTo>
                  <a:lnTo>
                    <a:pt x="557" y="115"/>
                  </a:lnTo>
                  <a:lnTo>
                    <a:pt x="31" y="115"/>
                  </a:lnTo>
                  <a:close/>
                </a:path>
              </a:pathLst>
            </a:custGeom>
            <a:solidFill>
              <a:srgbClr val="B6423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46" name="Freeform 45">
              <a:extLst>
                <a:ext uri="{FF2B5EF4-FFF2-40B4-BE49-F238E27FC236}">
                  <a16:creationId xmlns:a16="http://schemas.microsoft.com/office/drawing/2014/main" id="{30BF616F-43FE-B9F1-C0AB-06D63A0CAB57}"/>
                </a:ext>
              </a:extLst>
            </p:cNvPr>
            <p:cNvSpPr>
              <a:spLocks/>
            </p:cNvSpPr>
            <p:nvPr/>
          </p:nvSpPr>
          <p:spPr bwMode="auto">
            <a:xfrm>
              <a:off x="6633" y="1000"/>
              <a:ext cx="305" cy="50"/>
            </a:xfrm>
            <a:custGeom>
              <a:avLst/>
              <a:gdLst>
                <a:gd name="T0" fmla="*/ 27 w 608"/>
                <a:gd name="T1" fmla="*/ 75 h 99"/>
                <a:gd name="T2" fmla="*/ 27 w 608"/>
                <a:gd name="T3" fmla="*/ 75 h 99"/>
                <a:gd name="T4" fmla="*/ 26 w 608"/>
                <a:gd name="T5" fmla="*/ 63 h 99"/>
                <a:gd name="T6" fmla="*/ 24 w 608"/>
                <a:gd name="T7" fmla="*/ 50 h 99"/>
                <a:gd name="T8" fmla="*/ 26 w 608"/>
                <a:gd name="T9" fmla="*/ 37 h 99"/>
                <a:gd name="T10" fmla="*/ 27 w 608"/>
                <a:gd name="T11" fmla="*/ 24 h 99"/>
                <a:gd name="T12" fmla="*/ 608 w 608"/>
                <a:gd name="T13" fmla="*/ 24 h 99"/>
                <a:gd name="T14" fmla="*/ 608 w 608"/>
                <a:gd name="T15" fmla="*/ 0 h 99"/>
                <a:gd name="T16" fmla="*/ 18 w 608"/>
                <a:gd name="T17" fmla="*/ 0 h 99"/>
                <a:gd name="T18" fmla="*/ 18 w 608"/>
                <a:gd name="T19" fmla="*/ 0 h 99"/>
                <a:gd name="T20" fmla="*/ 13 w 608"/>
                <a:gd name="T21" fmla="*/ 2 h 99"/>
                <a:gd name="T22" fmla="*/ 10 w 608"/>
                <a:gd name="T23" fmla="*/ 3 h 99"/>
                <a:gd name="T24" fmla="*/ 8 w 608"/>
                <a:gd name="T25" fmla="*/ 5 h 99"/>
                <a:gd name="T26" fmla="*/ 8 w 608"/>
                <a:gd name="T27" fmla="*/ 5 h 99"/>
                <a:gd name="T28" fmla="*/ 5 w 608"/>
                <a:gd name="T29" fmla="*/ 15 h 99"/>
                <a:gd name="T30" fmla="*/ 2 w 608"/>
                <a:gd name="T31" fmla="*/ 26 h 99"/>
                <a:gd name="T32" fmla="*/ 2 w 608"/>
                <a:gd name="T33" fmla="*/ 37 h 99"/>
                <a:gd name="T34" fmla="*/ 0 w 608"/>
                <a:gd name="T35" fmla="*/ 50 h 99"/>
                <a:gd name="T36" fmla="*/ 0 w 608"/>
                <a:gd name="T37" fmla="*/ 61 h 99"/>
                <a:gd name="T38" fmla="*/ 2 w 608"/>
                <a:gd name="T39" fmla="*/ 74 h 99"/>
                <a:gd name="T40" fmla="*/ 5 w 608"/>
                <a:gd name="T41" fmla="*/ 83 h 99"/>
                <a:gd name="T42" fmla="*/ 8 w 608"/>
                <a:gd name="T43" fmla="*/ 95 h 99"/>
                <a:gd name="T44" fmla="*/ 8 w 608"/>
                <a:gd name="T45" fmla="*/ 95 h 99"/>
                <a:gd name="T46" fmla="*/ 13 w 608"/>
                <a:gd name="T47" fmla="*/ 98 h 99"/>
                <a:gd name="T48" fmla="*/ 18 w 608"/>
                <a:gd name="T49" fmla="*/ 99 h 99"/>
                <a:gd name="T50" fmla="*/ 608 w 608"/>
                <a:gd name="T51" fmla="*/ 99 h 99"/>
                <a:gd name="T52" fmla="*/ 608 w 608"/>
                <a:gd name="T53" fmla="*/ 75 h 99"/>
                <a:gd name="T54" fmla="*/ 27 w 608"/>
                <a:gd name="T55" fmla="*/ 75 h 9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608" h="99">
                  <a:moveTo>
                    <a:pt x="27" y="75"/>
                  </a:moveTo>
                  <a:lnTo>
                    <a:pt x="27" y="75"/>
                  </a:lnTo>
                  <a:lnTo>
                    <a:pt x="26" y="63"/>
                  </a:lnTo>
                  <a:lnTo>
                    <a:pt x="24" y="50"/>
                  </a:lnTo>
                  <a:lnTo>
                    <a:pt x="26" y="37"/>
                  </a:lnTo>
                  <a:lnTo>
                    <a:pt x="27" y="24"/>
                  </a:lnTo>
                  <a:lnTo>
                    <a:pt x="608" y="24"/>
                  </a:lnTo>
                  <a:lnTo>
                    <a:pt x="608" y="0"/>
                  </a:lnTo>
                  <a:lnTo>
                    <a:pt x="18" y="0"/>
                  </a:lnTo>
                  <a:lnTo>
                    <a:pt x="18" y="0"/>
                  </a:lnTo>
                  <a:lnTo>
                    <a:pt x="13" y="2"/>
                  </a:lnTo>
                  <a:lnTo>
                    <a:pt x="10" y="3"/>
                  </a:lnTo>
                  <a:lnTo>
                    <a:pt x="8" y="5"/>
                  </a:lnTo>
                  <a:lnTo>
                    <a:pt x="8" y="5"/>
                  </a:lnTo>
                  <a:lnTo>
                    <a:pt x="5" y="15"/>
                  </a:lnTo>
                  <a:lnTo>
                    <a:pt x="2" y="26"/>
                  </a:lnTo>
                  <a:lnTo>
                    <a:pt x="2" y="37"/>
                  </a:lnTo>
                  <a:lnTo>
                    <a:pt x="0" y="50"/>
                  </a:lnTo>
                  <a:lnTo>
                    <a:pt x="0" y="61"/>
                  </a:lnTo>
                  <a:lnTo>
                    <a:pt x="2" y="74"/>
                  </a:lnTo>
                  <a:lnTo>
                    <a:pt x="5" y="83"/>
                  </a:lnTo>
                  <a:lnTo>
                    <a:pt x="8" y="95"/>
                  </a:lnTo>
                  <a:lnTo>
                    <a:pt x="8" y="95"/>
                  </a:lnTo>
                  <a:lnTo>
                    <a:pt x="13" y="98"/>
                  </a:lnTo>
                  <a:lnTo>
                    <a:pt x="18" y="99"/>
                  </a:lnTo>
                  <a:lnTo>
                    <a:pt x="608" y="99"/>
                  </a:lnTo>
                  <a:lnTo>
                    <a:pt x="608" y="75"/>
                  </a:lnTo>
                  <a:lnTo>
                    <a:pt x="27" y="75"/>
                  </a:lnTo>
                  <a:close/>
                </a:path>
              </a:pathLst>
            </a:custGeom>
            <a:solidFill>
              <a:srgbClr val="CE5D4A"/>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47" name="Freeform 46">
              <a:extLst>
                <a:ext uri="{FF2B5EF4-FFF2-40B4-BE49-F238E27FC236}">
                  <a16:creationId xmlns:a16="http://schemas.microsoft.com/office/drawing/2014/main" id="{BF8AE25A-658B-BEBC-4D11-245A2F5E59D7}"/>
                </a:ext>
              </a:extLst>
            </p:cNvPr>
            <p:cNvSpPr>
              <a:spLocks/>
            </p:cNvSpPr>
            <p:nvPr/>
          </p:nvSpPr>
          <p:spPr bwMode="auto">
            <a:xfrm>
              <a:off x="6640" y="1092"/>
              <a:ext cx="105" cy="2"/>
            </a:xfrm>
            <a:custGeom>
              <a:avLst/>
              <a:gdLst>
                <a:gd name="T0" fmla="*/ 211 w 211"/>
                <a:gd name="T1" fmla="*/ 3 h 3"/>
                <a:gd name="T2" fmla="*/ 0 w 211"/>
                <a:gd name="T3" fmla="*/ 3 h 3"/>
                <a:gd name="T4" fmla="*/ 0 w 211"/>
                <a:gd name="T5" fmla="*/ 3 h 3"/>
                <a:gd name="T6" fmla="*/ 29 w 211"/>
                <a:gd name="T7" fmla="*/ 2 h 3"/>
                <a:gd name="T8" fmla="*/ 62 w 211"/>
                <a:gd name="T9" fmla="*/ 0 h 3"/>
                <a:gd name="T10" fmla="*/ 107 w 211"/>
                <a:gd name="T11" fmla="*/ 0 h 3"/>
                <a:gd name="T12" fmla="*/ 107 w 211"/>
                <a:gd name="T13" fmla="*/ 0 h 3"/>
                <a:gd name="T14" fmla="*/ 152 w 211"/>
                <a:gd name="T15" fmla="*/ 0 h 3"/>
                <a:gd name="T16" fmla="*/ 185 w 211"/>
                <a:gd name="T17" fmla="*/ 2 h 3"/>
                <a:gd name="T18" fmla="*/ 211 w 211"/>
                <a:gd name="T19" fmla="*/ 3 h 3"/>
                <a:gd name="T20" fmla="*/ 211 w 211"/>
                <a:gd name="T2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211" h="3">
                  <a:moveTo>
                    <a:pt x="211" y="3"/>
                  </a:moveTo>
                  <a:lnTo>
                    <a:pt x="0" y="3"/>
                  </a:lnTo>
                  <a:lnTo>
                    <a:pt x="0" y="3"/>
                  </a:lnTo>
                  <a:lnTo>
                    <a:pt x="29" y="2"/>
                  </a:lnTo>
                  <a:lnTo>
                    <a:pt x="62" y="0"/>
                  </a:lnTo>
                  <a:lnTo>
                    <a:pt x="107" y="0"/>
                  </a:lnTo>
                  <a:lnTo>
                    <a:pt x="107" y="0"/>
                  </a:lnTo>
                  <a:lnTo>
                    <a:pt x="152" y="0"/>
                  </a:lnTo>
                  <a:lnTo>
                    <a:pt x="185" y="2"/>
                  </a:lnTo>
                  <a:lnTo>
                    <a:pt x="211" y="3"/>
                  </a:lnTo>
                  <a:lnTo>
                    <a:pt x="211" y="3"/>
                  </a:lnTo>
                  <a:close/>
                </a:path>
              </a:pathLst>
            </a:custGeom>
            <a:solidFill>
              <a:srgbClr val="BEBE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48" name="Freeform 47">
              <a:extLst>
                <a:ext uri="{FF2B5EF4-FFF2-40B4-BE49-F238E27FC236}">
                  <a16:creationId xmlns:a16="http://schemas.microsoft.com/office/drawing/2014/main" id="{77A23DAE-356A-89B8-8B08-206F1DD1A8CF}"/>
                </a:ext>
              </a:extLst>
            </p:cNvPr>
            <p:cNvSpPr>
              <a:spLocks/>
            </p:cNvSpPr>
            <p:nvPr/>
          </p:nvSpPr>
          <p:spPr bwMode="auto">
            <a:xfrm>
              <a:off x="6649" y="929"/>
              <a:ext cx="87" cy="1"/>
            </a:xfrm>
            <a:custGeom>
              <a:avLst/>
              <a:gdLst>
                <a:gd name="T0" fmla="*/ 175 w 175"/>
                <a:gd name="T1" fmla="*/ 3 h 3"/>
                <a:gd name="T2" fmla="*/ 0 w 175"/>
                <a:gd name="T3" fmla="*/ 3 h 3"/>
                <a:gd name="T4" fmla="*/ 0 w 175"/>
                <a:gd name="T5" fmla="*/ 3 h 3"/>
                <a:gd name="T6" fmla="*/ 23 w 175"/>
                <a:gd name="T7" fmla="*/ 1 h 3"/>
                <a:gd name="T8" fmla="*/ 52 w 175"/>
                <a:gd name="T9" fmla="*/ 0 h 3"/>
                <a:gd name="T10" fmla="*/ 88 w 175"/>
                <a:gd name="T11" fmla="*/ 0 h 3"/>
                <a:gd name="T12" fmla="*/ 88 w 175"/>
                <a:gd name="T13" fmla="*/ 0 h 3"/>
                <a:gd name="T14" fmla="*/ 127 w 175"/>
                <a:gd name="T15" fmla="*/ 0 h 3"/>
                <a:gd name="T16" fmla="*/ 154 w 175"/>
                <a:gd name="T17" fmla="*/ 1 h 3"/>
                <a:gd name="T18" fmla="*/ 175 w 175"/>
                <a:gd name="T19" fmla="*/ 3 h 3"/>
                <a:gd name="T20" fmla="*/ 175 w 175"/>
                <a:gd name="T21" fmla="*/ 3 h 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Lst>
              <a:rect l="0" t="0" r="r" b="b"/>
              <a:pathLst>
                <a:path w="175" h="3">
                  <a:moveTo>
                    <a:pt x="175" y="3"/>
                  </a:moveTo>
                  <a:lnTo>
                    <a:pt x="0" y="3"/>
                  </a:lnTo>
                  <a:lnTo>
                    <a:pt x="0" y="3"/>
                  </a:lnTo>
                  <a:lnTo>
                    <a:pt x="23" y="1"/>
                  </a:lnTo>
                  <a:lnTo>
                    <a:pt x="52" y="0"/>
                  </a:lnTo>
                  <a:lnTo>
                    <a:pt x="88" y="0"/>
                  </a:lnTo>
                  <a:lnTo>
                    <a:pt x="88" y="0"/>
                  </a:lnTo>
                  <a:lnTo>
                    <a:pt x="127" y="0"/>
                  </a:lnTo>
                  <a:lnTo>
                    <a:pt x="154" y="1"/>
                  </a:lnTo>
                  <a:lnTo>
                    <a:pt x="175" y="3"/>
                  </a:lnTo>
                  <a:lnTo>
                    <a:pt x="175" y="3"/>
                  </a:lnTo>
                  <a:close/>
                </a:path>
              </a:pathLst>
            </a:custGeom>
            <a:solidFill>
              <a:srgbClr val="BEBEC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49" name="Freeform 48">
              <a:extLst>
                <a:ext uri="{FF2B5EF4-FFF2-40B4-BE49-F238E27FC236}">
                  <a16:creationId xmlns:a16="http://schemas.microsoft.com/office/drawing/2014/main" id="{DD295C51-C78A-79F3-0504-65FB442CAFC3}"/>
                </a:ext>
              </a:extLst>
            </p:cNvPr>
            <p:cNvSpPr>
              <a:spLocks/>
            </p:cNvSpPr>
            <p:nvPr/>
          </p:nvSpPr>
          <p:spPr bwMode="auto">
            <a:xfrm>
              <a:off x="6661" y="1093"/>
              <a:ext cx="60" cy="26"/>
            </a:xfrm>
            <a:custGeom>
              <a:avLst/>
              <a:gdLst>
                <a:gd name="T0" fmla="*/ 120 w 120"/>
                <a:gd name="T1" fmla="*/ 0 h 51"/>
                <a:gd name="T2" fmla="*/ 8 w 120"/>
                <a:gd name="T3" fmla="*/ 0 h 51"/>
                <a:gd name="T4" fmla="*/ 0 w 120"/>
                <a:gd name="T5" fmla="*/ 17 h 51"/>
                <a:gd name="T6" fmla="*/ 0 w 120"/>
                <a:gd name="T7" fmla="*/ 17 h 51"/>
                <a:gd name="T8" fmla="*/ 10 w 120"/>
                <a:gd name="T9" fmla="*/ 17 h 51"/>
                <a:gd name="T10" fmla="*/ 24 w 120"/>
                <a:gd name="T11" fmla="*/ 21 h 51"/>
                <a:gd name="T12" fmla="*/ 42 w 120"/>
                <a:gd name="T13" fmla="*/ 27 h 51"/>
                <a:gd name="T14" fmla="*/ 42 w 120"/>
                <a:gd name="T15" fmla="*/ 27 h 51"/>
                <a:gd name="T16" fmla="*/ 63 w 120"/>
                <a:gd name="T17" fmla="*/ 33 h 51"/>
                <a:gd name="T18" fmla="*/ 82 w 120"/>
                <a:gd name="T19" fmla="*/ 43 h 51"/>
                <a:gd name="T20" fmla="*/ 98 w 120"/>
                <a:gd name="T21" fmla="*/ 51 h 51"/>
                <a:gd name="T22" fmla="*/ 120 w 120"/>
                <a:gd name="T23" fmla="*/ 0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Lst>
              <a:rect l="0" t="0" r="r" b="b"/>
              <a:pathLst>
                <a:path w="120" h="51">
                  <a:moveTo>
                    <a:pt x="120" y="0"/>
                  </a:moveTo>
                  <a:lnTo>
                    <a:pt x="8" y="0"/>
                  </a:lnTo>
                  <a:lnTo>
                    <a:pt x="0" y="17"/>
                  </a:lnTo>
                  <a:lnTo>
                    <a:pt x="0" y="17"/>
                  </a:lnTo>
                  <a:lnTo>
                    <a:pt x="10" y="17"/>
                  </a:lnTo>
                  <a:lnTo>
                    <a:pt x="24" y="21"/>
                  </a:lnTo>
                  <a:lnTo>
                    <a:pt x="42" y="27"/>
                  </a:lnTo>
                  <a:lnTo>
                    <a:pt x="42" y="27"/>
                  </a:lnTo>
                  <a:lnTo>
                    <a:pt x="63" y="33"/>
                  </a:lnTo>
                  <a:lnTo>
                    <a:pt x="82" y="43"/>
                  </a:lnTo>
                  <a:lnTo>
                    <a:pt x="98" y="51"/>
                  </a:lnTo>
                  <a:lnTo>
                    <a:pt x="120" y="0"/>
                  </a:lnTo>
                  <a:close/>
                </a:path>
              </a:pathLst>
            </a:custGeom>
            <a:solidFill>
              <a:srgbClr val="DC715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50" name="Freeform 49">
              <a:extLst>
                <a:ext uri="{FF2B5EF4-FFF2-40B4-BE49-F238E27FC236}">
                  <a16:creationId xmlns:a16="http://schemas.microsoft.com/office/drawing/2014/main" id="{DF997444-6AB1-7222-6B3B-6BDA4EDE7A8B}"/>
                </a:ext>
              </a:extLst>
            </p:cNvPr>
            <p:cNvSpPr>
              <a:spLocks/>
            </p:cNvSpPr>
            <p:nvPr/>
          </p:nvSpPr>
          <p:spPr bwMode="auto">
            <a:xfrm>
              <a:off x="6673" y="930"/>
              <a:ext cx="62" cy="95"/>
            </a:xfrm>
            <a:custGeom>
              <a:avLst/>
              <a:gdLst>
                <a:gd name="T0" fmla="*/ 0 w 125"/>
                <a:gd name="T1" fmla="*/ 0 h 191"/>
                <a:gd name="T2" fmla="*/ 72 w 125"/>
                <a:gd name="T3" fmla="*/ 0 h 191"/>
                <a:gd name="T4" fmla="*/ 72 w 125"/>
                <a:gd name="T5" fmla="*/ 0 h 191"/>
                <a:gd name="T6" fmla="*/ 85 w 125"/>
                <a:gd name="T7" fmla="*/ 21 h 191"/>
                <a:gd name="T8" fmla="*/ 95 w 125"/>
                <a:gd name="T9" fmla="*/ 45 h 191"/>
                <a:gd name="T10" fmla="*/ 106 w 125"/>
                <a:gd name="T11" fmla="*/ 74 h 191"/>
                <a:gd name="T12" fmla="*/ 106 w 125"/>
                <a:gd name="T13" fmla="*/ 74 h 191"/>
                <a:gd name="T14" fmla="*/ 116 w 125"/>
                <a:gd name="T15" fmla="*/ 106 h 191"/>
                <a:gd name="T16" fmla="*/ 120 w 125"/>
                <a:gd name="T17" fmla="*/ 133 h 191"/>
                <a:gd name="T18" fmla="*/ 125 w 125"/>
                <a:gd name="T19" fmla="*/ 160 h 191"/>
                <a:gd name="T20" fmla="*/ 84 w 125"/>
                <a:gd name="T21" fmla="*/ 146 h 191"/>
                <a:gd name="T22" fmla="*/ 24 w 125"/>
                <a:gd name="T23" fmla="*/ 191 h 191"/>
                <a:gd name="T24" fmla="*/ 24 w 125"/>
                <a:gd name="T25" fmla="*/ 191 h 191"/>
                <a:gd name="T26" fmla="*/ 26 w 125"/>
                <a:gd name="T27" fmla="*/ 183 h 191"/>
                <a:gd name="T28" fmla="*/ 29 w 125"/>
                <a:gd name="T29" fmla="*/ 159 h 191"/>
                <a:gd name="T30" fmla="*/ 31 w 125"/>
                <a:gd name="T31" fmla="*/ 143 h 191"/>
                <a:gd name="T32" fmla="*/ 31 w 125"/>
                <a:gd name="T33" fmla="*/ 125 h 191"/>
                <a:gd name="T34" fmla="*/ 29 w 125"/>
                <a:gd name="T35" fmla="*/ 106 h 191"/>
                <a:gd name="T36" fmla="*/ 26 w 125"/>
                <a:gd name="T37" fmla="*/ 84 h 191"/>
                <a:gd name="T38" fmla="*/ 26 w 125"/>
                <a:gd name="T39" fmla="*/ 84 h 191"/>
                <a:gd name="T40" fmla="*/ 18 w 125"/>
                <a:gd name="T41" fmla="*/ 47 h 191"/>
                <a:gd name="T42" fmla="*/ 10 w 125"/>
                <a:gd name="T43" fmla="*/ 21 h 191"/>
                <a:gd name="T44" fmla="*/ 4 w 125"/>
                <a:gd name="T45" fmla="*/ 5 h 191"/>
                <a:gd name="T46" fmla="*/ 0 w 125"/>
                <a:gd name="T47" fmla="*/ 0 h 191"/>
                <a:gd name="T48" fmla="*/ 0 w 125"/>
                <a:gd name="T49" fmla="*/ 0 h 19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25" h="191">
                  <a:moveTo>
                    <a:pt x="0" y="0"/>
                  </a:moveTo>
                  <a:lnTo>
                    <a:pt x="72" y="0"/>
                  </a:lnTo>
                  <a:lnTo>
                    <a:pt x="72" y="0"/>
                  </a:lnTo>
                  <a:lnTo>
                    <a:pt x="85" y="21"/>
                  </a:lnTo>
                  <a:lnTo>
                    <a:pt x="95" y="45"/>
                  </a:lnTo>
                  <a:lnTo>
                    <a:pt x="106" y="74"/>
                  </a:lnTo>
                  <a:lnTo>
                    <a:pt x="106" y="74"/>
                  </a:lnTo>
                  <a:lnTo>
                    <a:pt x="116" y="106"/>
                  </a:lnTo>
                  <a:lnTo>
                    <a:pt x="120" y="133"/>
                  </a:lnTo>
                  <a:lnTo>
                    <a:pt x="125" y="160"/>
                  </a:lnTo>
                  <a:lnTo>
                    <a:pt x="84" y="146"/>
                  </a:lnTo>
                  <a:lnTo>
                    <a:pt x="24" y="191"/>
                  </a:lnTo>
                  <a:lnTo>
                    <a:pt x="24" y="191"/>
                  </a:lnTo>
                  <a:lnTo>
                    <a:pt x="26" y="183"/>
                  </a:lnTo>
                  <a:lnTo>
                    <a:pt x="29" y="159"/>
                  </a:lnTo>
                  <a:lnTo>
                    <a:pt x="31" y="143"/>
                  </a:lnTo>
                  <a:lnTo>
                    <a:pt x="31" y="125"/>
                  </a:lnTo>
                  <a:lnTo>
                    <a:pt x="29" y="106"/>
                  </a:lnTo>
                  <a:lnTo>
                    <a:pt x="26" y="84"/>
                  </a:lnTo>
                  <a:lnTo>
                    <a:pt x="26" y="84"/>
                  </a:lnTo>
                  <a:lnTo>
                    <a:pt x="18" y="47"/>
                  </a:lnTo>
                  <a:lnTo>
                    <a:pt x="10" y="21"/>
                  </a:lnTo>
                  <a:lnTo>
                    <a:pt x="4" y="5"/>
                  </a:lnTo>
                  <a:lnTo>
                    <a:pt x="0" y="0"/>
                  </a:lnTo>
                  <a:lnTo>
                    <a:pt x="0" y="0"/>
                  </a:lnTo>
                  <a:close/>
                </a:path>
              </a:pathLst>
            </a:custGeom>
            <a:solidFill>
              <a:srgbClr val="EDBA65"/>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grpSp>
      <p:sp>
        <p:nvSpPr>
          <p:cNvPr id="55" name="TextBox 22">
            <a:extLst>
              <a:ext uri="{FF2B5EF4-FFF2-40B4-BE49-F238E27FC236}">
                <a16:creationId xmlns:a16="http://schemas.microsoft.com/office/drawing/2014/main" id="{6E8E831B-08C1-EA26-4613-B8A37F3CF175}"/>
              </a:ext>
            </a:extLst>
          </p:cNvPr>
          <p:cNvSpPr txBox="1"/>
          <p:nvPr/>
        </p:nvSpPr>
        <p:spPr>
          <a:xfrm>
            <a:off x="796923" y="3451538"/>
            <a:ext cx="2869785" cy="1723549"/>
          </a:xfrm>
          <a:prstGeom prst="rect">
            <a:avLst/>
          </a:prstGeom>
          <a:noFill/>
        </p:spPr>
        <p:txBody>
          <a:bodyPr wrap="square" lIns="0" tIns="0" rIns="0" bIns="0" rtlCol="0">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it-IT" sz="1400" b="0" i="1"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Le </a:t>
            </a:r>
            <a:r>
              <a:rPr kumimoji="0" lang="it-IT" sz="1400" b="1" i="1" u="none" strike="noStrike" kern="0" cap="none" spc="0" normalizeH="0" baseline="0" noProof="0" dirty="0">
                <a:ln>
                  <a:noFill/>
                </a:ln>
                <a:solidFill>
                  <a:srgbClr val="00206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hlinkClick r:id="rId2"/>
              </a:rPr>
              <a:t>Web Form </a:t>
            </a:r>
            <a:r>
              <a:rPr kumimoji="0" lang="it-IT" sz="1400" b="0" i="1"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sono</a:t>
            </a:r>
            <a:r>
              <a:rPr kumimoji="0" lang="it-IT" sz="1400" b="1" i="1"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 </a:t>
            </a:r>
            <a:r>
              <a:rPr kumimoji="0" lang="it-IT" sz="1400" b="0" i="1"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compilabili prima o dopo il login a Unica</a:t>
            </a:r>
          </a:p>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400" b="0" i="1" u="none" strike="noStrike" kern="0" cap="none" spc="0" normalizeH="0" baseline="0" noProof="0" dirty="0">
              <a:ln>
                <a:noFill/>
              </a:ln>
              <a:solidFill>
                <a:srgbClr val="00206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it-IT" sz="1400" b="0"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disponibile per </a:t>
            </a:r>
            <a:r>
              <a:rPr kumimoji="0" lang="it-IT" sz="14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Docente e </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Docente tutor</a:t>
            </a:r>
            <a:endParaRPr kumimoji="0" lang="en-US" sz="14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400" b="0" i="1" u="none" strike="noStrike" kern="0" cap="none" spc="0" normalizeH="0" baseline="0" noProof="0" dirty="0">
              <a:ln>
                <a:noFill/>
              </a:ln>
              <a:solidFill>
                <a:srgbClr val="00206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400" b="0" i="1" u="none" strike="noStrike" kern="0" cap="none" spc="0" normalizeH="0" baseline="0" noProof="0" dirty="0">
              <a:ln>
                <a:noFill/>
              </a:ln>
              <a:solidFill>
                <a:srgbClr val="00206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400" b="0" i="1" u="none" strike="noStrike" kern="0" cap="none" spc="0" normalizeH="0" baseline="0" noProof="0" dirty="0">
              <a:ln>
                <a:noFill/>
              </a:ln>
              <a:solidFill>
                <a:srgbClr val="00206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cxnSp>
        <p:nvCxnSpPr>
          <p:cNvPr id="56" name="Straight Connector 25">
            <a:extLst>
              <a:ext uri="{FF2B5EF4-FFF2-40B4-BE49-F238E27FC236}">
                <a16:creationId xmlns:a16="http://schemas.microsoft.com/office/drawing/2014/main" id="{7AEB23AA-6C0F-426D-2EAA-9155C7ABFFB8}"/>
              </a:ext>
            </a:extLst>
          </p:cNvPr>
          <p:cNvCxnSpPr>
            <a:cxnSpLocks/>
          </p:cNvCxnSpPr>
          <p:nvPr/>
        </p:nvCxnSpPr>
        <p:spPr>
          <a:xfrm>
            <a:off x="626137" y="3428678"/>
            <a:ext cx="0" cy="1260000"/>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sp>
        <p:nvSpPr>
          <p:cNvPr id="57" name="TextBox 30">
            <a:extLst>
              <a:ext uri="{FF2B5EF4-FFF2-40B4-BE49-F238E27FC236}">
                <a16:creationId xmlns:a16="http://schemas.microsoft.com/office/drawing/2014/main" id="{ECB063F4-A40E-52C3-F602-F5EDD246BFAF}"/>
              </a:ext>
            </a:extLst>
          </p:cNvPr>
          <p:cNvSpPr txBox="1"/>
          <p:nvPr/>
        </p:nvSpPr>
        <p:spPr>
          <a:xfrm>
            <a:off x="4410144" y="3910780"/>
            <a:ext cx="2985066" cy="1508105"/>
          </a:xfrm>
          <a:prstGeom prst="rect">
            <a:avLst/>
          </a:prstGeom>
          <a:noFill/>
        </p:spPr>
        <p:txBody>
          <a:bodyPr wrap="square" lIns="0" tIns="0" rIns="0" bIns="0" rtlCol="0">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it-IT" sz="1400" b="0" i="1"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Il numero verde è attivo:</a:t>
            </a:r>
            <a:endParaRPr kumimoji="0" lang="it-IT" sz="1400" b="1" i="1"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it-IT" sz="1400" b="1" i="1"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Lunedì – Venerdì ore 8:00 – 18:30</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it-IT" sz="1400" b="1" i="1"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Sabato ore 8:00 – 14:00</a:t>
            </a:r>
          </a:p>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400" b="1" i="1"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it-IT" sz="1400" b="0"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disponibile per </a:t>
            </a:r>
            <a:r>
              <a:rPr kumimoji="0" lang="it-IT" sz="14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Dirigente scolastico e </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Personale ATA</a:t>
            </a:r>
            <a:endParaRPr kumimoji="0" lang="en-US" sz="14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400" b="1" i="1"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cxnSp>
        <p:nvCxnSpPr>
          <p:cNvPr id="58" name="Straight Connector 31">
            <a:extLst>
              <a:ext uri="{FF2B5EF4-FFF2-40B4-BE49-F238E27FC236}">
                <a16:creationId xmlns:a16="http://schemas.microsoft.com/office/drawing/2014/main" id="{2FAFDC06-2AA9-E5AE-3631-4805B6AA6B8E}"/>
              </a:ext>
            </a:extLst>
          </p:cNvPr>
          <p:cNvCxnSpPr>
            <a:cxnSpLocks/>
          </p:cNvCxnSpPr>
          <p:nvPr/>
        </p:nvCxnSpPr>
        <p:spPr>
          <a:xfrm>
            <a:off x="4239358" y="3910780"/>
            <a:ext cx="0" cy="1260000"/>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sp>
        <p:nvSpPr>
          <p:cNvPr id="59" name="TextBox 33">
            <a:extLst>
              <a:ext uri="{FF2B5EF4-FFF2-40B4-BE49-F238E27FC236}">
                <a16:creationId xmlns:a16="http://schemas.microsoft.com/office/drawing/2014/main" id="{085BAD5C-4E2A-A9DF-1872-E4C2D8744EBC}"/>
              </a:ext>
            </a:extLst>
          </p:cNvPr>
          <p:cNvSpPr txBox="1"/>
          <p:nvPr/>
        </p:nvSpPr>
        <p:spPr>
          <a:xfrm>
            <a:off x="8263034" y="3451538"/>
            <a:ext cx="2926936" cy="1292662"/>
          </a:xfrm>
          <a:prstGeom prst="rect">
            <a:avLst/>
          </a:prstGeom>
          <a:noFill/>
        </p:spPr>
        <p:txBody>
          <a:bodyPr wrap="square" lIns="0" tIns="0" rIns="0" bIns="0" rtlCol="0">
            <a:spAutoFit/>
          </a:bodyPr>
          <a:lstStyle/>
          <a:p>
            <a:pPr marL="0" marR="0" lvl="0" indent="0" algn="l" defTabSz="914400" rtl="0" eaLnBrk="1" fontAlgn="auto" latinLnBrk="0" hangingPunct="0">
              <a:lnSpc>
                <a:spcPct val="100000"/>
              </a:lnSpc>
              <a:spcBef>
                <a:spcPts val="0"/>
              </a:spcBef>
              <a:spcAft>
                <a:spcPts val="0"/>
              </a:spcAft>
              <a:buClrTx/>
              <a:buSzTx/>
              <a:buFontTx/>
              <a:buNone/>
              <a:tabLst/>
              <a:defRPr/>
            </a:pPr>
            <a:r>
              <a:rPr kumimoji="0" lang="it-IT" sz="1400" b="0" i="1"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Le </a:t>
            </a:r>
            <a:r>
              <a:rPr kumimoji="0" lang="it-IT" sz="1400" b="1" i="1"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Web Request </a:t>
            </a:r>
            <a:r>
              <a:rPr kumimoji="0" lang="it-IT" sz="1400" b="0" i="1"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sono compilabili previo accesso su </a:t>
            </a:r>
            <a:r>
              <a:rPr kumimoji="0" lang="it-IT" sz="1400" b="1" i="1" u="sng" strike="noStrike" kern="0" cap="none" spc="0" normalizeH="0" baseline="0" noProof="0" dirty="0">
                <a:ln>
                  <a:noFill/>
                </a:ln>
                <a:solidFill>
                  <a:srgbClr val="00206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hlinkClick r:id="rId3"/>
              </a:rPr>
              <a:t>HDAC</a:t>
            </a:r>
            <a:endParaRPr kumimoji="0" lang="it-IT" sz="1400" b="1" i="1" u="sng" strike="noStrike" kern="0" cap="none" spc="0" normalizeH="0" baseline="0" noProof="0" dirty="0">
              <a:ln>
                <a:noFill/>
              </a:ln>
              <a:solidFill>
                <a:srgbClr val="00206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400" b="1" i="1" u="sng" strike="noStrike" kern="0" cap="none" spc="0" normalizeH="0" baseline="0" noProof="0" dirty="0">
              <a:ln>
                <a:noFill/>
              </a:ln>
              <a:solidFill>
                <a:srgbClr val="00206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it-IT" sz="1400" b="0"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disponibile per </a:t>
            </a:r>
            <a:r>
              <a:rPr kumimoji="0" lang="it-IT" sz="14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Docente tutor,</a:t>
            </a:r>
            <a:r>
              <a:rPr kumimoji="0" lang="it-IT" sz="1400" b="0"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 </a:t>
            </a:r>
            <a:r>
              <a:rPr kumimoji="0" lang="it-IT" sz="14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Dirigente scolastico e Personale ATA</a:t>
            </a:r>
            <a:endParaRPr kumimoji="0" lang="en-US" sz="14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it-IT" sz="1400" b="1" i="1" u="sng" strike="noStrike" kern="0" cap="none" spc="0" normalizeH="0" baseline="0" noProof="0" dirty="0">
              <a:ln>
                <a:noFill/>
              </a:ln>
              <a:solidFill>
                <a:srgbClr val="00206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cxnSp>
        <p:nvCxnSpPr>
          <p:cNvPr id="60" name="Straight Connector 34">
            <a:extLst>
              <a:ext uri="{FF2B5EF4-FFF2-40B4-BE49-F238E27FC236}">
                <a16:creationId xmlns:a16="http://schemas.microsoft.com/office/drawing/2014/main" id="{FCE091BC-C243-70EB-248E-DC85EB91675C}"/>
              </a:ext>
            </a:extLst>
          </p:cNvPr>
          <p:cNvCxnSpPr>
            <a:cxnSpLocks/>
          </p:cNvCxnSpPr>
          <p:nvPr/>
        </p:nvCxnSpPr>
        <p:spPr>
          <a:xfrm>
            <a:off x="8092248" y="3428678"/>
            <a:ext cx="0" cy="1260000"/>
          </a:xfrm>
          <a:prstGeom prst="line">
            <a:avLst/>
          </a:prstGeom>
          <a:ln w="12700">
            <a:solidFill>
              <a:srgbClr val="003294"/>
            </a:solidFill>
          </a:ln>
        </p:spPr>
        <p:style>
          <a:lnRef idx="1">
            <a:schemeClr val="accent1"/>
          </a:lnRef>
          <a:fillRef idx="0">
            <a:schemeClr val="accent1"/>
          </a:fillRef>
          <a:effectRef idx="0">
            <a:schemeClr val="accent1"/>
          </a:effectRef>
          <a:fontRef idx="minor">
            <a:schemeClr val="tx1"/>
          </a:fontRef>
        </p:style>
      </p:cxnSp>
      <p:grpSp>
        <p:nvGrpSpPr>
          <p:cNvPr id="51" name="Gruppo 50">
            <a:extLst>
              <a:ext uri="{FF2B5EF4-FFF2-40B4-BE49-F238E27FC236}">
                <a16:creationId xmlns:a16="http://schemas.microsoft.com/office/drawing/2014/main" id="{1B2AD7AB-653F-31F7-9638-38061AB4F03B}"/>
              </a:ext>
            </a:extLst>
          </p:cNvPr>
          <p:cNvGrpSpPr/>
          <p:nvPr/>
        </p:nvGrpSpPr>
        <p:grpSpPr>
          <a:xfrm>
            <a:off x="567578" y="1653019"/>
            <a:ext cx="7046945" cy="2018466"/>
            <a:chOff x="567578" y="1653019"/>
            <a:chExt cx="7046945" cy="2018466"/>
          </a:xfrm>
        </p:grpSpPr>
        <p:grpSp>
          <p:nvGrpSpPr>
            <p:cNvPr id="61" name="Group 41">
              <a:extLst>
                <a:ext uri="{FF2B5EF4-FFF2-40B4-BE49-F238E27FC236}">
                  <a16:creationId xmlns:a16="http://schemas.microsoft.com/office/drawing/2014/main" id="{A44588F8-26B4-D19A-65ED-B61D91D612D8}"/>
                </a:ext>
              </a:extLst>
            </p:cNvPr>
            <p:cNvGrpSpPr/>
            <p:nvPr/>
          </p:nvGrpSpPr>
          <p:grpSpPr>
            <a:xfrm>
              <a:off x="567578" y="1653019"/>
              <a:ext cx="3415121" cy="2016009"/>
              <a:chOff x="998398" y="2302063"/>
              <a:chExt cx="2550430" cy="2251634"/>
            </a:xfrm>
            <a:solidFill>
              <a:srgbClr val="EDF2F9"/>
            </a:solidFill>
          </p:grpSpPr>
          <p:sp>
            <p:nvSpPr>
              <p:cNvPr id="62" name="Rectangle 8">
                <a:extLst>
                  <a:ext uri="{FF2B5EF4-FFF2-40B4-BE49-F238E27FC236}">
                    <a16:creationId xmlns:a16="http://schemas.microsoft.com/office/drawing/2014/main" id="{7AE78141-43AC-3972-B442-34F89CA49FEE}"/>
                  </a:ext>
                </a:extLst>
              </p:cNvPr>
              <p:cNvSpPr/>
              <p:nvPr/>
            </p:nvSpPr>
            <p:spPr>
              <a:xfrm>
                <a:off x="998398" y="2302063"/>
                <a:ext cx="2548801" cy="1828620"/>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marL="0" marR="0" lvl="0" indent="0" algn="l" defTabSz="914400" rtl="0" eaLnBrk="1" fontAlgn="auto" latinLnBrk="0" hangingPunct="0">
                  <a:lnSpc>
                    <a:spcPct val="70000"/>
                  </a:lnSpc>
                  <a:spcBef>
                    <a:spcPts val="0"/>
                  </a:spcBef>
                  <a:spcAft>
                    <a:spcPts val="600"/>
                  </a:spcAft>
                  <a:buClrTx/>
                  <a:buSzTx/>
                  <a:buFontTx/>
                  <a:buNone/>
                  <a:tabLst/>
                  <a:defRPr/>
                </a:pPr>
                <a:r>
                  <a:rPr kumimoji="0" lang="en-GB" sz="20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Assistenza </a:t>
                </a:r>
              </a:p>
              <a:p>
                <a:pPr marL="0" marR="0" lvl="0" indent="0" algn="l" defTabSz="914400" rtl="0" eaLnBrk="1" fontAlgn="auto" latinLnBrk="0" hangingPunct="0">
                  <a:lnSpc>
                    <a:spcPct val="70000"/>
                  </a:lnSpc>
                  <a:spcBef>
                    <a:spcPts val="0"/>
                  </a:spcBef>
                  <a:spcAft>
                    <a:spcPts val="600"/>
                  </a:spcAft>
                  <a:buClrTx/>
                  <a:buSzTx/>
                  <a:buFontTx/>
                  <a:buNone/>
                  <a:tabLst/>
                  <a:defRPr/>
                </a:pPr>
                <a:r>
                  <a:rPr kumimoji="0" lang="en-GB" sz="20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su Unica</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Pagina dedicata di assistenza </a:t>
                </a:r>
                <a:r>
                  <a:rPr kumimoji="0" lang="it-IT" sz="1400" b="0"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su tematiche di</a:t>
                </a:r>
                <a:r>
                  <a:rPr kumimoji="0" lang="it-IT" sz="14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 natura tecnica </a:t>
                </a:r>
                <a:r>
                  <a:rPr kumimoji="0" lang="it-IT" sz="1400" b="0"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legate al funzionamento della Piattaforma.</a:t>
                </a:r>
              </a:p>
              <a:p>
                <a:pPr marL="0" marR="0" lvl="0" indent="0" algn="l" defTabSz="914400" rtl="0" eaLnBrk="1" fontAlgn="auto" latinLnBrk="0" hangingPunct="0">
                  <a:lnSpc>
                    <a:spcPct val="110000"/>
                  </a:lnSpc>
                  <a:spcBef>
                    <a:spcPts val="0"/>
                  </a:spcBef>
                  <a:spcAft>
                    <a:spcPts val="600"/>
                  </a:spcAft>
                  <a:buClrTx/>
                  <a:buSzTx/>
                  <a:buFontTx/>
                  <a:buNone/>
                  <a:tabLst/>
                  <a:defRPr/>
                </a:pPr>
                <a:r>
                  <a:rPr kumimoji="0" lang="en-GB" sz="1000" b="0"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 </a:t>
                </a:r>
              </a:p>
            </p:txBody>
          </p:sp>
          <p:sp>
            <p:nvSpPr>
              <p:cNvPr id="63" name="Isosceles Triangle 38">
                <a:extLst>
                  <a:ext uri="{FF2B5EF4-FFF2-40B4-BE49-F238E27FC236}">
                    <a16:creationId xmlns:a16="http://schemas.microsoft.com/office/drawing/2014/main" id="{B272C225-4F27-5253-0FF6-DA0A5B8C3C31}"/>
                  </a:ext>
                </a:extLst>
              </p:cNvPr>
              <p:cNvSpPr/>
              <p:nvPr/>
            </p:nvSpPr>
            <p:spPr>
              <a:xfrm rot="10800000" flipH="1">
                <a:off x="3125813" y="4130682"/>
                <a:ext cx="423015" cy="423015"/>
              </a:xfrm>
              <a:prstGeom prst="triangle">
                <a:avLst>
                  <a:gd name="adj" fmla="val 100000"/>
                </a:avLst>
              </a:prstGeom>
              <a:grp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500" b="0" i="0" u="none" strike="noStrike" kern="0" cap="none" spc="0" normalizeH="0" baseline="0" noProof="0" dirty="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grpSp>
        <p:grpSp>
          <p:nvGrpSpPr>
            <p:cNvPr id="64" name="Gruppo 63">
              <a:extLst>
                <a:ext uri="{FF2B5EF4-FFF2-40B4-BE49-F238E27FC236}">
                  <a16:creationId xmlns:a16="http://schemas.microsoft.com/office/drawing/2014/main" id="{7CE6CC18-66B5-2CF0-7256-737566781ACB}"/>
                </a:ext>
              </a:extLst>
            </p:cNvPr>
            <p:cNvGrpSpPr/>
            <p:nvPr/>
          </p:nvGrpSpPr>
          <p:grpSpPr>
            <a:xfrm>
              <a:off x="4201583" y="1659643"/>
              <a:ext cx="3412940" cy="2011842"/>
              <a:chOff x="4201583" y="1785373"/>
              <a:chExt cx="3412940" cy="1908676"/>
            </a:xfrm>
          </p:grpSpPr>
          <p:sp>
            <p:nvSpPr>
              <p:cNvPr id="65" name="Rectangle 14">
                <a:extLst>
                  <a:ext uri="{FF2B5EF4-FFF2-40B4-BE49-F238E27FC236}">
                    <a16:creationId xmlns:a16="http://schemas.microsoft.com/office/drawing/2014/main" id="{8CBF0EE7-6E86-3063-9E70-D4D422B773C9}"/>
                  </a:ext>
                </a:extLst>
              </p:cNvPr>
              <p:cNvSpPr/>
              <p:nvPr/>
            </p:nvSpPr>
            <p:spPr>
              <a:xfrm>
                <a:off x="4201583" y="2140745"/>
                <a:ext cx="3412940" cy="1553304"/>
              </a:xfrm>
              <a:prstGeom prst="rect">
                <a:avLst/>
              </a:prstGeom>
              <a:solidFill>
                <a:schemeClr val="accent1">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marL="0" marR="0" lvl="0" indent="0" algn="l" defTabSz="914400" rtl="0" eaLnBrk="1" fontAlgn="auto" latinLnBrk="0" hangingPunct="0">
                  <a:lnSpc>
                    <a:spcPct val="70000"/>
                  </a:lnSpc>
                  <a:spcBef>
                    <a:spcPts val="0"/>
                  </a:spcBef>
                  <a:spcAft>
                    <a:spcPts val="600"/>
                  </a:spcAft>
                  <a:buClrTx/>
                  <a:buSzTx/>
                  <a:buFontTx/>
                  <a:buNone/>
                  <a:tabLst/>
                  <a:defRPr/>
                </a:pPr>
                <a:r>
                  <a:rPr kumimoji="0" lang="en-GB" sz="20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Numero verde </a:t>
                </a:r>
              </a:p>
              <a:p>
                <a:pPr marL="0" marR="0" lvl="0" indent="0" algn="l" defTabSz="914400" rtl="0" eaLnBrk="1" fontAlgn="auto" latinLnBrk="0" hangingPunct="0">
                  <a:lnSpc>
                    <a:spcPct val="70000"/>
                  </a:lnSpc>
                  <a:spcBef>
                    <a:spcPts val="0"/>
                  </a:spcBef>
                  <a:spcAft>
                    <a:spcPts val="600"/>
                  </a:spcAft>
                  <a:buClrTx/>
                  <a:buSzTx/>
                  <a:buFontTx/>
                  <a:buNone/>
                  <a:tabLst/>
                  <a:defRPr/>
                </a:pPr>
                <a:r>
                  <a:rPr kumimoji="0" lang="en-GB" sz="20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800 903 080</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Service Desk </a:t>
                </a:r>
                <a:r>
                  <a:rPr kumimoji="0" lang="it-IT" sz="1400" b="0"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dedicato alla risoluzione di problematiche di natura </a:t>
                </a:r>
                <a:r>
                  <a:rPr kumimoji="0" lang="it-IT" sz="14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tecnica e operativa.</a:t>
                </a:r>
              </a:p>
            </p:txBody>
          </p:sp>
          <p:sp>
            <p:nvSpPr>
              <p:cNvPr id="66" name="Isosceles Triangle 39">
                <a:extLst>
                  <a:ext uri="{FF2B5EF4-FFF2-40B4-BE49-F238E27FC236}">
                    <a16:creationId xmlns:a16="http://schemas.microsoft.com/office/drawing/2014/main" id="{F35E836D-EEFB-865E-A3FD-8B53B7473498}"/>
                  </a:ext>
                </a:extLst>
              </p:cNvPr>
              <p:cNvSpPr/>
              <p:nvPr/>
            </p:nvSpPr>
            <p:spPr>
              <a:xfrm rot="10800000" flipH="1" flipV="1">
                <a:off x="7048090" y="1785373"/>
                <a:ext cx="566433" cy="359326"/>
              </a:xfrm>
              <a:prstGeom prst="triangle">
                <a:avLst>
                  <a:gd name="adj" fmla="val 100000"/>
                </a:avLst>
              </a:prstGeom>
              <a:solidFill>
                <a:srgbClr val="EDF2F9"/>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500" b="0" i="0" u="none" strike="noStrike" kern="0" cap="none" spc="0" normalizeH="0" baseline="0" noProof="0" dirty="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grpSp>
      </p:grpSp>
      <p:grpSp>
        <p:nvGrpSpPr>
          <p:cNvPr id="67" name="Gruppo 66">
            <a:extLst>
              <a:ext uri="{FF2B5EF4-FFF2-40B4-BE49-F238E27FC236}">
                <a16:creationId xmlns:a16="http://schemas.microsoft.com/office/drawing/2014/main" id="{97D1B618-DF04-A0BE-DFFA-00E45A47A686}"/>
              </a:ext>
            </a:extLst>
          </p:cNvPr>
          <p:cNvGrpSpPr/>
          <p:nvPr/>
        </p:nvGrpSpPr>
        <p:grpSpPr>
          <a:xfrm>
            <a:off x="8020214" y="1653019"/>
            <a:ext cx="3413031" cy="2016009"/>
            <a:chOff x="8069958" y="1778170"/>
            <a:chExt cx="3413031" cy="1912629"/>
          </a:xfrm>
        </p:grpSpPr>
        <p:sp>
          <p:nvSpPr>
            <p:cNvPr id="68" name="Rectangle 20">
              <a:extLst>
                <a:ext uri="{FF2B5EF4-FFF2-40B4-BE49-F238E27FC236}">
                  <a16:creationId xmlns:a16="http://schemas.microsoft.com/office/drawing/2014/main" id="{BEAFC538-1610-E5D7-66DF-0C260181FC06}"/>
                </a:ext>
              </a:extLst>
            </p:cNvPr>
            <p:cNvSpPr/>
            <p:nvPr/>
          </p:nvSpPr>
          <p:spPr>
            <a:xfrm>
              <a:off x="8069958" y="1778170"/>
              <a:ext cx="3412940" cy="1553304"/>
            </a:xfrm>
            <a:prstGeom prst="rect">
              <a:avLst/>
            </a:prstGeom>
            <a:solidFill>
              <a:schemeClr val="tx2">
                <a:lumMod val="20000"/>
                <a:lumOff val="8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wrap="square" lIns="180000" tIns="180000" rIns="180000" bIns="180000" rtlCol="0" anchor="t" anchorCtr="0">
              <a:noAutofit/>
            </a:bodyPr>
            <a:lstStyle/>
            <a:p>
              <a:pPr marL="0" marR="0" lvl="0" indent="0" algn="l" defTabSz="914400" rtl="0" eaLnBrk="1" fontAlgn="auto" latinLnBrk="0" hangingPunct="0">
                <a:lnSpc>
                  <a:spcPct val="70000"/>
                </a:lnSpc>
                <a:spcBef>
                  <a:spcPts val="0"/>
                </a:spcBef>
                <a:spcAft>
                  <a:spcPts val="600"/>
                </a:spcAft>
                <a:buClrTx/>
                <a:buSzTx/>
                <a:buFontTx/>
                <a:buNone/>
                <a:tabLst/>
                <a:defRPr/>
              </a:pPr>
              <a:r>
                <a:rPr kumimoji="0" lang="en-GB" sz="20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Help Desk </a:t>
              </a:r>
            </a:p>
            <a:p>
              <a:pPr marL="0" marR="0" lvl="0" indent="0" algn="l" defTabSz="914400" rtl="0" eaLnBrk="1" fontAlgn="auto" latinLnBrk="0" hangingPunct="0">
                <a:lnSpc>
                  <a:spcPct val="70000"/>
                </a:lnSpc>
                <a:spcBef>
                  <a:spcPts val="0"/>
                </a:spcBef>
                <a:spcAft>
                  <a:spcPts val="600"/>
                </a:spcAft>
                <a:buClrTx/>
                <a:buSzTx/>
                <a:buFontTx/>
                <a:buNone/>
                <a:tabLst/>
                <a:defRPr/>
              </a:pPr>
              <a:r>
                <a:rPr kumimoji="0" lang="en-GB" sz="20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HDAC</a:t>
              </a:r>
            </a:p>
            <a:p>
              <a:pPr marL="0" marR="0" lvl="0" indent="0" algn="l" defTabSz="914400" rtl="0" eaLnBrk="1" fontAlgn="auto" latinLnBrk="0" hangingPunct="0">
                <a:lnSpc>
                  <a:spcPct val="100000"/>
                </a:lnSpc>
                <a:spcBef>
                  <a:spcPts val="0"/>
                </a:spcBef>
                <a:spcAft>
                  <a:spcPts val="0"/>
                </a:spcAft>
                <a:buClrTx/>
                <a:buSzTx/>
                <a:buFontTx/>
                <a:buNone/>
                <a:tabLst/>
                <a:defRPr/>
              </a:pPr>
              <a:r>
                <a:rPr kumimoji="0" lang="it-IT" sz="14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Canale di supporto </a:t>
              </a:r>
              <a:r>
                <a:rPr kumimoji="0" lang="it-IT" sz="1400" b="0"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su tematiche di natura</a:t>
              </a:r>
              <a:r>
                <a:rPr kumimoji="0" lang="it-IT" sz="14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 amministrativa, organizzativa e specialistica, </a:t>
              </a:r>
              <a:r>
                <a:rPr kumimoji="0" lang="it-IT" sz="1400" b="0"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in particolare sui temi dell</a:t>
              </a:r>
              <a:r>
                <a:rPr kumimoji="0" lang="it-IT" sz="1400" b="1"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rPr>
                <a:t>’Orientamento.</a:t>
              </a:r>
            </a:p>
          </p:txBody>
        </p:sp>
        <p:sp>
          <p:nvSpPr>
            <p:cNvPr id="69" name="Isosceles Triangle 40">
              <a:extLst>
                <a:ext uri="{FF2B5EF4-FFF2-40B4-BE49-F238E27FC236}">
                  <a16:creationId xmlns:a16="http://schemas.microsoft.com/office/drawing/2014/main" id="{88DE2A86-11E8-A1BB-E5A6-ECC136300547}"/>
                </a:ext>
              </a:extLst>
            </p:cNvPr>
            <p:cNvSpPr/>
            <p:nvPr/>
          </p:nvSpPr>
          <p:spPr>
            <a:xfrm rot="10800000" flipH="1">
              <a:off x="10916556" y="3331473"/>
              <a:ext cx="566433" cy="359326"/>
            </a:xfrm>
            <a:prstGeom prst="triangle">
              <a:avLst>
                <a:gd name="adj" fmla="val 100000"/>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54610" tIns="54610" rIns="54610" bIns="54610" rtlCol="0" anchor="ct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500" b="0" i="0" u="none" strike="noStrike" kern="0" cap="none" spc="0" normalizeH="0" baseline="0" noProof="0" dirty="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grpSp>
      <p:grpSp>
        <p:nvGrpSpPr>
          <p:cNvPr id="70" name="Gruppo 69">
            <a:extLst>
              <a:ext uri="{FF2B5EF4-FFF2-40B4-BE49-F238E27FC236}">
                <a16:creationId xmlns:a16="http://schemas.microsoft.com/office/drawing/2014/main" id="{C7683CCC-B2F8-E488-E72B-4B8E1CA2B82B}"/>
              </a:ext>
            </a:extLst>
          </p:cNvPr>
          <p:cNvGrpSpPr/>
          <p:nvPr/>
        </p:nvGrpSpPr>
        <p:grpSpPr>
          <a:xfrm>
            <a:off x="7151028" y="2130589"/>
            <a:ext cx="360000" cy="360000"/>
            <a:chOff x="5256879" y="1499551"/>
            <a:chExt cx="360000" cy="360000"/>
          </a:xfrm>
          <a:effectLst>
            <a:outerShdw blurRad="50800" dist="38100" dir="2700000" algn="tl" rotWithShape="0">
              <a:prstClr val="black">
                <a:alpha val="40000"/>
              </a:prstClr>
            </a:outerShdw>
          </a:effectLst>
        </p:grpSpPr>
        <p:sp>
          <p:nvSpPr>
            <p:cNvPr id="71" name="Freeform 117">
              <a:extLst>
                <a:ext uri="{FF2B5EF4-FFF2-40B4-BE49-F238E27FC236}">
                  <a16:creationId xmlns:a16="http://schemas.microsoft.com/office/drawing/2014/main" id="{9B7AE218-A2B6-EE64-11F2-C25C657A0F0C}"/>
                </a:ext>
              </a:extLst>
            </p:cNvPr>
            <p:cNvSpPr>
              <a:spLocks/>
            </p:cNvSpPr>
            <p:nvPr/>
          </p:nvSpPr>
          <p:spPr bwMode="auto">
            <a:xfrm>
              <a:off x="5256879" y="1499551"/>
              <a:ext cx="360000" cy="360000"/>
            </a:xfrm>
            <a:custGeom>
              <a:avLst/>
              <a:gdLst>
                <a:gd name="T0" fmla="*/ 0 w 626"/>
                <a:gd name="T1" fmla="*/ 298 h 626"/>
                <a:gd name="T2" fmla="*/ 6 w 626"/>
                <a:gd name="T3" fmla="*/ 250 h 626"/>
                <a:gd name="T4" fmla="*/ 19 w 626"/>
                <a:gd name="T5" fmla="*/ 206 h 626"/>
                <a:gd name="T6" fmla="*/ 37 w 626"/>
                <a:gd name="T7" fmla="*/ 164 h 626"/>
                <a:gd name="T8" fmla="*/ 62 w 626"/>
                <a:gd name="T9" fmla="*/ 126 h 626"/>
                <a:gd name="T10" fmla="*/ 91 w 626"/>
                <a:gd name="T11" fmla="*/ 92 h 626"/>
                <a:gd name="T12" fmla="*/ 126 w 626"/>
                <a:gd name="T13" fmla="*/ 63 h 626"/>
                <a:gd name="T14" fmla="*/ 163 w 626"/>
                <a:gd name="T15" fmla="*/ 38 h 626"/>
                <a:gd name="T16" fmla="*/ 205 w 626"/>
                <a:gd name="T17" fmla="*/ 19 h 626"/>
                <a:gd name="T18" fmla="*/ 249 w 626"/>
                <a:gd name="T19" fmla="*/ 7 h 626"/>
                <a:gd name="T20" fmla="*/ 296 w 626"/>
                <a:gd name="T21" fmla="*/ 0 h 626"/>
                <a:gd name="T22" fmla="*/ 328 w 626"/>
                <a:gd name="T23" fmla="*/ 0 h 626"/>
                <a:gd name="T24" fmla="*/ 376 w 626"/>
                <a:gd name="T25" fmla="*/ 7 h 626"/>
                <a:gd name="T26" fmla="*/ 420 w 626"/>
                <a:gd name="T27" fmla="*/ 19 h 626"/>
                <a:gd name="T28" fmla="*/ 461 w 626"/>
                <a:gd name="T29" fmla="*/ 38 h 626"/>
                <a:gd name="T30" fmla="*/ 500 w 626"/>
                <a:gd name="T31" fmla="*/ 63 h 626"/>
                <a:gd name="T32" fmla="*/ 534 w 626"/>
                <a:gd name="T33" fmla="*/ 92 h 626"/>
                <a:gd name="T34" fmla="*/ 563 w 626"/>
                <a:gd name="T35" fmla="*/ 126 h 626"/>
                <a:gd name="T36" fmla="*/ 588 w 626"/>
                <a:gd name="T37" fmla="*/ 164 h 626"/>
                <a:gd name="T38" fmla="*/ 607 w 626"/>
                <a:gd name="T39" fmla="*/ 206 h 626"/>
                <a:gd name="T40" fmla="*/ 619 w 626"/>
                <a:gd name="T41" fmla="*/ 250 h 626"/>
                <a:gd name="T42" fmla="*/ 624 w 626"/>
                <a:gd name="T43" fmla="*/ 298 h 626"/>
                <a:gd name="T44" fmla="*/ 624 w 626"/>
                <a:gd name="T45" fmla="*/ 330 h 626"/>
                <a:gd name="T46" fmla="*/ 619 w 626"/>
                <a:gd name="T47" fmla="*/ 376 h 626"/>
                <a:gd name="T48" fmla="*/ 607 w 626"/>
                <a:gd name="T49" fmla="*/ 421 h 626"/>
                <a:gd name="T50" fmla="*/ 588 w 626"/>
                <a:gd name="T51" fmla="*/ 463 h 626"/>
                <a:gd name="T52" fmla="*/ 563 w 626"/>
                <a:gd name="T53" fmla="*/ 500 h 626"/>
                <a:gd name="T54" fmla="*/ 534 w 626"/>
                <a:gd name="T55" fmla="*/ 534 h 626"/>
                <a:gd name="T56" fmla="*/ 500 w 626"/>
                <a:gd name="T57" fmla="*/ 564 h 626"/>
                <a:gd name="T58" fmla="*/ 461 w 626"/>
                <a:gd name="T59" fmla="*/ 588 h 626"/>
                <a:gd name="T60" fmla="*/ 420 w 626"/>
                <a:gd name="T61" fmla="*/ 607 h 626"/>
                <a:gd name="T62" fmla="*/ 376 w 626"/>
                <a:gd name="T63" fmla="*/ 620 h 626"/>
                <a:gd name="T64" fmla="*/ 328 w 626"/>
                <a:gd name="T65" fmla="*/ 626 h 626"/>
                <a:gd name="T66" fmla="*/ 296 w 626"/>
                <a:gd name="T67" fmla="*/ 626 h 626"/>
                <a:gd name="T68" fmla="*/ 249 w 626"/>
                <a:gd name="T69" fmla="*/ 620 h 626"/>
                <a:gd name="T70" fmla="*/ 205 w 626"/>
                <a:gd name="T71" fmla="*/ 607 h 626"/>
                <a:gd name="T72" fmla="*/ 163 w 626"/>
                <a:gd name="T73" fmla="*/ 588 h 626"/>
                <a:gd name="T74" fmla="*/ 126 w 626"/>
                <a:gd name="T75" fmla="*/ 564 h 626"/>
                <a:gd name="T76" fmla="*/ 91 w 626"/>
                <a:gd name="T77" fmla="*/ 534 h 626"/>
                <a:gd name="T78" fmla="*/ 62 w 626"/>
                <a:gd name="T79" fmla="*/ 500 h 626"/>
                <a:gd name="T80" fmla="*/ 37 w 626"/>
                <a:gd name="T81" fmla="*/ 463 h 626"/>
                <a:gd name="T82" fmla="*/ 19 w 626"/>
                <a:gd name="T83" fmla="*/ 421 h 626"/>
                <a:gd name="T84" fmla="*/ 6 w 626"/>
                <a:gd name="T85" fmla="*/ 376 h 626"/>
                <a:gd name="T86" fmla="*/ 0 w 626"/>
                <a:gd name="T87" fmla="*/ 330 h 62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626" h="626">
                  <a:moveTo>
                    <a:pt x="0" y="313"/>
                  </a:moveTo>
                  <a:lnTo>
                    <a:pt x="0" y="313"/>
                  </a:lnTo>
                  <a:lnTo>
                    <a:pt x="0" y="298"/>
                  </a:lnTo>
                  <a:lnTo>
                    <a:pt x="1" y="281"/>
                  </a:lnTo>
                  <a:lnTo>
                    <a:pt x="3" y="266"/>
                  </a:lnTo>
                  <a:lnTo>
                    <a:pt x="6" y="250"/>
                  </a:lnTo>
                  <a:lnTo>
                    <a:pt x="10" y="235"/>
                  </a:lnTo>
                  <a:lnTo>
                    <a:pt x="13" y="221"/>
                  </a:lnTo>
                  <a:lnTo>
                    <a:pt x="19" y="206"/>
                  </a:lnTo>
                  <a:lnTo>
                    <a:pt x="24" y="192"/>
                  </a:lnTo>
                  <a:lnTo>
                    <a:pt x="31" y="178"/>
                  </a:lnTo>
                  <a:lnTo>
                    <a:pt x="37" y="164"/>
                  </a:lnTo>
                  <a:lnTo>
                    <a:pt x="45" y="151"/>
                  </a:lnTo>
                  <a:lnTo>
                    <a:pt x="53" y="138"/>
                  </a:lnTo>
                  <a:lnTo>
                    <a:pt x="62" y="126"/>
                  </a:lnTo>
                  <a:lnTo>
                    <a:pt x="70" y="115"/>
                  </a:lnTo>
                  <a:lnTo>
                    <a:pt x="80" y="103"/>
                  </a:lnTo>
                  <a:lnTo>
                    <a:pt x="91" y="92"/>
                  </a:lnTo>
                  <a:lnTo>
                    <a:pt x="102" y="82"/>
                  </a:lnTo>
                  <a:lnTo>
                    <a:pt x="113" y="72"/>
                  </a:lnTo>
                  <a:lnTo>
                    <a:pt x="126" y="63"/>
                  </a:lnTo>
                  <a:lnTo>
                    <a:pt x="138" y="54"/>
                  </a:lnTo>
                  <a:lnTo>
                    <a:pt x="150" y="46"/>
                  </a:lnTo>
                  <a:lnTo>
                    <a:pt x="163" y="38"/>
                  </a:lnTo>
                  <a:lnTo>
                    <a:pt x="177" y="31"/>
                  </a:lnTo>
                  <a:lnTo>
                    <a:pt x="191" y="25"/>
                  </a:lnTo>
                  <a:lnTo>
                    <a:pt x="205" y="19"/>
                  </a:lnTo>
                  <a:lnTo>
                    <a:pt x="219" y="15"/>
                  </a:lnTo>
                  <a:lnTo>
                    <a:pt x="235" y="10"/>
                  </a:lnTo>
                  <a:lnTo>
                    <a:pt x="249" y="7"/>
                  </a:lnTo>
                  <a:lnTo>
                    <a:pt x="264" y="4"/>
                  </a:lnTo>
                  <a:lnTo>
                    <a:pt x="281" y="3"/>
                  </a:lnTo>
                  <a:lnTo>
                    <a:pt x="296" y="0"/>
                  </a:lnTo>
                  <a:lnTo>
                    <a:pt x="313" y="0"/>
                  </a:lnTo>
                  <a:lnTo>
                    <a:pt x="313" y="0"/>
                  </a:lnTo>
                  <a:lnTo>
                    <a:pt x="328" y="0"/>
                  </a:lnTo>
                  <a:lnTo>
                    <a:pt x="345" y="3"/>
                  </a:lnTo>
                  <a:lnTo>
                    <a:pt x="360" y="4"/>
                  </a:lnTo>
                  <a:lnTo>
                    <a:pt x="376" y="7"/>
                  </a:lnTo>
                  <a:lnTo>
                    <a:pt x="391" y="10"/>
                  </a:lnTo>
                  <a:lnTo>
                    <a:pt x="405" y="15"/>
                  </a:lnTo>
                  <a:lnTo>
                    <a:pt x="420" y="19"/>
                  </a:lnTo>
                  <a:lnTo>
                    <a:pt x="434" y="25"/>
                  </a:lnTo>
                  <a:lnTo>
                    <a:pt x="448" y="31"/>
                  </a:lnTo>
                  <a:lnTo>
                    <a:pt x="461" y="38"/>
                  </a:lnTo>
                  <a:lnTo>
                    <a:pt x="475" y="46"/>
                  </a:lnTo>
                  <a:lnTo>
                    <a:pt x="488" y="54"/>
                  </a:lnTo>
                  <a:lnTo>
                    <a:pt x="500" y="63"/>
                  </a:lnTo>
                  <a:lnTo>
                    <a:pt x="511" y="72"/>
                  </a:lnTo>
                  <a:lnTo>
                    <a:pt x="523" y="82"/>
                  </a:lnTo>
                  <a:lnTo>
                    <a:pt x="534" y="92"/>
                  </a:lnTo>
                  <a:lnTo>
                    <a:pt x="544" y="103"/>
                  </a:lnTo>
                  <a:lnTo>
                    <a:pt x="554" y="115"/>
                  </a:lnTo>
                  <a:lnTo>
                    <a:pt x="563" y="126"/>
                  </a:lnTo>
                  <a:lnTo>
                    <a:pt x="572" y="138"/>
                  </a:lnTo>
                  <a:lnTo>
                    <a:pt x="580" y="151"/>
                  </a:lnTo>
                  <a:lnTo>
                    <a:pt x="588" y="164"/>
                  </a:lnTo>
                  <a:lnTo>
                    <a:pt x="595" y="178"/>
                  </a:lnTo>
                  <a:lnTo>
                    <a:pt x="601" y="192"/>
                  </a:lnTo>
                  <a:lnTo>
                    <a:pt x="607" y="206"/>
                  </a:lnTo>
                  <a:lnTo>
                    <a:pt x="611" y="221"/>
                  </a:lnTo>
                  <a:lnTo>
                    <a:pt x="616" y="235"/>
                  </a:lnTo>
                  <a:lnTo>
                    <a:pt x="619" y="250"/>
                  </a:lnTo>
                  <a:lnTo>
                    <a:pt x="622" y="266"/>
                  </a:lnTo>
                  <a:lnTo>
                    <a:pt x="623" y="281"/>
                  </a:lnTo>
                  <a:lnTo>
                    <a:pt x="624" y="298"/>
                  </a:lnTo>
                  <a:lnTo>
                    <a:pt x="626" y="313"/>
                  </a:lnTo>
                  <a:lnTo>
                    <a:pt x="626" y="313"/>
                  </a:lnTo>
                  <a:lnTo>
                    <a:pt x="624" y="330"/>
                  </a:lnTo>
                  <a:lnTo>
                    <a:pt x="623" y="345"/>
                  </a:lnTo>
                  <a:lnTo>
                    <a:pt x="622" y="360"/>
                  </a:lnTo>
                  <a:lnTo>
                    <a:pt x="619" y="376"/>
                  </a:lnTo>
                  <a:lnTo>
                    <a:pt x="616" y="391"/>
                  </a:lnTo>
                  <a:lnTo>
                    <a:pt x="611" y="407"/>
                  </a:lnTo>
                  <a:lnTo>
                    <a:pt x="607" y="421"/>
                  </a:lnTo>
                  <a:lnTo>
                    <a:pt x="601" y="435"/>
                  </a:lnTo>
                  <a:lnTo>
                    <a:pt x="595" y="449"/>
                  </a:lnTo>
                  <a:lnTo>
                    <a:pt x="588" y="463"/>
                  </a:lnTo>
                  <a:lnTo>
                    <a:pt x="580" y="476"/>
                  </a:lnTo>
                  <a:lnTo>
                    <a:pt x="572" y="488"/>
                  </a:lnTo>
                  <a:lnTo>
                    <a:pt x="563" y="500"/>
                  </a:lnTo>
                  <a:lnTo>
                    <a:pt x="554" y="512"/>
                  </a:lnTo>
                  <a:lnTo>
                    <a:pt x="544" y="523"/>
                  </a:lnTo>
                  <a:lnTo>
                    <a:pt x="534" y="534"/>
                  </a:lnTo>
                  <a:lnTo>
                    <a:pt x="523" y="545"/>
                  </a:lnTo>
                  <a:lnTo>
                    <a:pt x="511" y="554"/>
                  </a:lnTo>
                  <a:lnTo>
                    <a:pt x="500" y="564"/>
                  </a:lnTo>
                  <a:lnTo>
                    <a:pt x="488" y="573"/>
                  </a:lnTo>
                  <a:lnTo>
                    <a:pt x="475" y="581"/>
                  </a:lnTo>
                  <a:lnTo>
                    <a:pt x="461" y="588"/>
                  </a:lnTo>
                  <a:lnTo>
                    <a:pt x="448" y="595"/>
                  </a:lnTo>
                  <a:lnTo>
                    <a:pt x="434" y="602"/>
                  </a:lnTo>
                  <a:lnTo>
                    <a:pt x="420" y="607"/>
                  </a:lnTo>
                  <a:lnTo>
                    <a:pt x="405" y="613"/>
                  </a:lnTo>
                  <a:lnTo>
                    <a:pt x="391" y="616"/>
                  </a:lnTo>
                  <a:lnTo>
                    <a:pt x="376" y="620"/>
                  </a:lnTo>
                  <a:lnTo>
                    <a:pt x="360" y="623"/>
                  </a:lnTo>
                  <a:lnTo>
                    <a:pt x="345" y="625"/>
                  </a:lnTo>
                  <a:lnTo>
                    <a:pt x="328" y="626"/>
                  </a:lnTo>
                  <a:lnTo>
                    <a:pt x="313" y="626"/>
                  </a:lnTo>
                  <a:lnTo>
                    <a:pt x="313" y="626"/>
                  </a:lnTo>
                  <a:lnTo>
                    <a:pt x="296" y="626"/>
                  </a:lnTo>
                  <a:lnTo>
                    <a:pt x="281" y="625"/>
                  </a:lnTo>
                  <a:lnTo>
                    <a:pt x="264" y="623"/>
                  </a:lnTo>
                  <a:lnTo>
                    <a:pt x="249" y="620"/>
                  </a:lnTo>
                  <a:lnTo>
                    <a:pt x="235" y="616"/>
                  </a:lnTo>
                  <a:lnTo>
                    <a:pt x="219" y="613"/>
                  </a:lnTo>
                  <a:lnTo>
                    <a:pt x="205" y="607"/>
                  </a:lnTo>
                  <a:lnTo>
                    <a:pt x="191" y="602"/>
                  </a:lnTo>
                  <a:lnTo>
                    <a:pt x="177" y="595"/>
                  </a:lnTo>
                  <a:lnTo>
                    <a:pt x="163" y="588"/>
                  </a:lnTo>
                  <a:lnTo>
                    <a:pt x="150" y="581"/>
                  </a:lnTo>
                  <a:lnTo>
                    <a:pt x="138" y="573"/>
                  </a:lnTo>
                  <a:lnTo>
                    <a:pt x="126" y="564"/>
                  </a:lnTo>
                  <a:lnTo>
                    <a:pt x="113" y="554"/>
                  </a:lnTo>
                  <a:lnTo>
                    <a:pt x="102" y="545"/>
                  </a:lnTo>
                  <a:lnTo>
                    <a:pt x="91" y="534"/>
                  </a:lnTo>
                  <a:lnTo>
                    <a:pt x="80" y="523"/>
                  </a:lnTo>
                  <a:lnTo>
                    <a:pt x="70" y="512"/>
                  </a:lnTo>
                  <a:lnTo>
                    <a:pt x="62" y="500"/>
                  </a:lnTo>
                  <a:lnTo>
                    <a:pt x="53" y="488"/>
                  </a:lnTo>
                  <a:lnTo>
                    <a:pt x="45" y="476"/>
                  </a:lnTo>
                  <a:lnTo>
                    <a:pt x="37" y="463"/>
                  </a:lnTo>
                  <a:lnTo>
                    <a:pt x="31" y="449"/>
                  </a:lnTo>
                  <a:lnTo>
                    <a:pt x="24" y="435"/>
                  </a:lnTo>
                  <a:lnTo>
                    <a:pt x="19" y="421"/>
                  </a:lnTo>
                  <a:lnTo>
                    <a:pt x="13" y="407"/>
                  </a:lnTo>
                  <a:lnTo>
                    <a:pt x="10" y="391"/>
                  </a:lnTo>
                  <a:lnTo>
                    <a:pt x="6" y="376"/>
                  </a:lnTo>
                  <a:lnTo>
                    <a:pt x="3" y="360"/>
                  </a:lnTo>
                  <a:lnTo>
                    <a:pt x="1" y="345"/>
                  </a:lnTo>
                  <a:lnTo>
                    <a:pt x="0" y="330"/>
                  </a:lnTo>
                  <a:lnTo>
                    <a:pt x="0" y="313"/>
                  </a:lnTo>
                  <a:lnTo>
                    <a:pt x="0" y="313"/>
                  </a:lnTo>
                  <a:close/>
                </a:path>
              </a:pathLst>
            </a:custGeom>
            <a:solidFill>
              <a:schemeClr val="accent6">
                <a:lumMod val="60000"/>
                <a:lumOff val="40000"/>
              </a:schemeClr>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72" name="Freeform 119">
              <a:extLst>
                <a:ext uri="{FF2B5EF4-FFF2-40B4-BE49-F238E27FC236}">
                  <a16:creationId xmlns:a16="http://schemas.microsoft.com/office/drawing/2014/main" id="{922E5915-EE0D-E874-798D-9A7E1B0736FE}"/>
                </a:ext>
              </a:extLst>
            </p:cNvPr>
            <p:cNvSpPr>
              <a:spLocks/>
            </p:cNvSpPr>
            <p:nvPr/>
          </p:nvSpPr>
          <p:spPr bwMode="auto">
            <a:xfrm>
              <a:off x="5345729" y="1616005"/>
              <a:ext cx="182301" cy="127093"/>
            </a:xfrm>
            <a:custGeom>
              <a:avLst/>
              <a:gdLst>
                <a:gd name="T0" fmla="*/ 233 w 317"/>
                <a:gd name="T1" fmla="*/ 21 h 221"/>
                <a:gd name="T2" fmla="*/ 233 w 317"/>
                <a:gd name="T3" fmla="*/ 6 h 221"/>
                <a:gd name="T4" fmla="*/ 233 w 317"/>
                <a:gd name="T5" fmla="*/ 6 h 221"/>
                <a:gd name="T6" fmla="*/ 232 w 317"/>
                <a:gd name="T7" fmla="*/ 3 h 221"/>
                <a:gd name="T8" fmla="*/ 230 w 317"/>
                <a:gd name="T9" fmla="*/ 1 h 221"/>
                <a:gd name="T10" fmla="*/ 228 w 317"/>
                <a:gd name="T11" fmla="*/ 0 h 221"/>
                <a:gd name="T12" fmla="*/ 226 w 317"/>
                <a:gd name="T13" fmla="*/ 0 h 221"/>
                <a:gd name="T14" fmla="*/ 200 w 317"/>
                <a:gd name="T15" fmla="*/ 0 h 221"/>
                <a:gd name="T16" fmla="*/ 200 w 317"/>
                <a:gd name="T17" fmla="*/ 0 h 221"/>
                <a:gd name="T18" fmla="*/ 197 w 317"/>
                <a:gd name="T19" fmla="*/ 0 h 221"/>
                <a:gd name="T20" fmla="*/ 195 w 317"/>
                <a:gd name="T21" fmla="*/ 1 h 221"/>
                <a:gd name="T22" fmla="*/ 193 w 317"/>
                <a:gd name="T23" fmla="*/ 3 h 221"/>
                <a:gd name="T24" fmla="*/ 193 w 317"/>
                <a:gd name="T25" fmla="*/ 6 h 221"/>
                <a:gd name="T26" fmla="*/ 193 w 317"/>
                <a:gd name="T27" fmla="*/ 20 h 221"/>
                <a:gd name="T28" fmla="*/ 124 w 317"/>
                <a:gd name="T29" fmla="*/ 20 h 221"/>
                <a:gd name="T30" fmla="*/ 124 w 317"/>
                <a:gd name="T31" fmla="*/ 6 h 221"/>
                <a:gd name="T32" fmla="*/ 124 w 317"/>
                <a:gd name="T33" fmla="*/ 6 h 221"/>
                <a:gd name="T34" fmla="*/ 124 w 317"/>
                <a:gd name="T35" fmla="*/ 3 h 221"/>
                <a:gd name="T36" fmla="*/ 123 w 317"/>
                <a:gd name="T37" fmla="*/ 1 h 221"/>
                <a:gd name="T38" fmla="*/ 120 w 317"/>
                <a:gd name="T39" fmla="*/ 0 h 221"/>
                <a:gd name="T40" fmla="*/ 118 w 317"/>
                <a:gd name="T41" fmla="*/ 0 h 221"/>
                <a:gd name="T42" fmla="*/ 92 w 317"/>
                <a:gd name="T43" fmla="*/ 0 h 221"/>
                <a:gd name="T44" fmla="*/ 92 w 317"/>
                <a:gd name="T45" fmla="*/ 0 h 221"/>
                <a:gd name="T46" fmla="*/ 88 w 317"/>
                <a:gd name="T47" fmla="*/ 0 h 221"/>
                <a:gd name="T48" fmla="*/ 86 w 317"/>
                <a:gd name="T49" fmla="*/ 1 h 221"/>
                <a:gd name="T50" fmla="*/ 85 w 317"/>
                <a:gd name="T51" fmla="*/ 3 h 221"/>
                <a:gd name="T52" fmla="*/ 85 w 317"/>
                <a:gd name="T53" fmla="*/ 6 h 221"/>
                <a:gd name="T54" fmla="*/ 85 w 317"/>
                <a:gd name="T55" fmla="*/ 21 h 221"/>
                <a:gd name="T56" fmla="*/ 85 w 317"/>
                <a:gd name="T57" fmla="*/ 21 h 221"/>
                <a:gd name="T58" fmla="*/ 77 w 317"/>
                <a:gd name="T59" fmla="*/ 29 h 221"/>
                <a:gd name="T60" fmla="*/ 65 w 317"/>
                <a:gd name="T61" fmla="*/ 43 h 221"/>
                <a:gd name="T62" fmla="*/ 37 w 317"/>
                <a:gd name="T63" fmla="*/ 83 h 221"/>
                <a:gd name="T64" fmla="*/ 11 w 317"/>
                <a:gd name="T65" fmla="*/ 122 h 221"/>
                <a:gd name="T66" fmla="*/ 2 w 317"/>
                <a:gd name="T67" fmla="*/ 135 h 221"/>
                <a:gd name="T68" fmla="*/ 0 w 317"/>
                <a:gd name="T69" fmla="*/ 142 h 221"/>
                <a:gd name="T70" fmla="*/ 0 w 317"/>
                <a:gd name="T71" fmla="*/ 207 h 221"/>
                <a:gd name="T72" fmla="*/ 0 w 317"/>
                <a:gd name="T73" fmla="*/ 207 h 221"/>
                <a:gd name="T74" fmla="*/ 1 w 317"/>
                <a:gd name="T75" fmla="*/ 213 h 221"/>
                <a:gd name="T76" fmla="*/ 4 w 317"/>
                <a:gd name="T77" fmla="*/ 217 h 221"/>
                <a:gd name="T78" fmla="*/ 9 w 317"/>
                <a:gd name="T79" fmla="*/ 220 h 221"/>
                <a:gd name="T80" fmla="*/ 15 w 317"/>
                <a:gd name="T81" fmla="*/ 221 h 221"/>
                <a:gd name="T82" fmla="*/ 246 w 317"/>
                <a:gd name="T83" fmla="*/ 221 h 221"/>
                <a:gd name="T84" fmla="*/ 246 w 317"/>
                <a:gd name="T85" fmla="*/ 221 h 221"/>
                <a:gd name="T86" fmla="*/ 303 w 317"/>
                <a:gd name="T87" fmla="*/ 221 h 221"/>
                <a:gd name="T88" fmla="*/ 303 w 317"/>
                <a:gd name="T89" fmla="*/ 221 h 221"/>
                <a:gd name="T90" fmla="*/ 309 w 317"/>
                <a:gd name="T91" fmla="*/ 220 h 221"/>
                <a:gd name="T92" fmla="*/ 313 w 317"/>
                <a:gd name="T93" fmla="*/ 217 h 221"/>
                <a:gd name="T94" fmla="*/ 316 w 317"/>
                <a:gd name="T95" fmla="*/ 213 h 221"/>
                <a:gd name="T96" fmla="*/ 317 w 317"/>
                <a:gd name="T97" fmla="*/ 207 h 221"/>
                <a:gd name="T98" fmla="*/ 317 w 317"/>
                <a:gd name="T99" fmla="*/ 142 h 221"/>
                <a:gd name="T100" fmla="*/ 317 w 317"/>
                <a:gd name="T101" fmla="*/ 142 h 221"/>
                <a:gd name="T102" fmla="*/ 314 w 317"/>
                <a:gd name="T103" fmla="*/ 135 h 221"/>
                <a:gd name="T104" fmla="*/ 306 w 317"/>
                <a:gd name="T105" fmla="*/ 122 h 221"/>
                <a:gd name="T106" fmla="*/ 280 w 317"/>
                <a:gd name="T107" fmla="*/ 83 h 221"/>
                <a:gd name="T108" fmla="*/ 251 w 317"/>
                <a:gd name="T109" fmla="*/ 43 h 221"/>
                <a:gd name="T110" fmla="*/ 240 w 317"/>
                <a:gd name="T111" fmla="*/ 29 h 221"/>
                <a:gd name="T112" fmla="*/ 233 w 317"/>
                <a:gd name="T113" fmla="*/ 21 h 221"/>
                <a:gd name="T114" fmla="*/ 233 w 317"/>
                <a:gd name="T115" fmla="*/ 21 h 22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Lst>
              <a:rect l="0" t="0" r="r" b="b"/>
              <a:pathLst>
                <a:path w="317" h="221">
                  <a:moveTo>
                    <a:pt x="233" y="21"/>
                  </a:moveTo>
                  <a:lnTo>
                    <a:pt x="233" y="6"/>
                  </a:lnTo>
                  <a:lnTo>
                    <a:pt x="233" y="6"/>
                  </a:lnTo>
                  <a:lnTo>
                    <a:pt x="232" y="3"/>
                  </a:lnTo>
                  <a:lnTo>
                    <a:pt x="230" y="1"/>
                  </a:lnTo>
                  <a:lnTo>
                    <a:pt x="228" y="0"/>
                  </a:lnTo>
                  <a:lnTo>
                    <a:pt x="226" y="0"/>
                  </a:lnTo>
                  <a:lnTo>
                    <a:pt x="200" y="0"/>
                  </a:lnTo>
                  <a:lnTo>
                    <a:pt x="200" y="0"/>
                  </a:lnTo>
                  <a:lnTo>
                    <a:pt x="197" y="0"/>
                  </a:lnTo>
                  <a:lnTo>
                    <a:pt x="195" y="1"/>
                  </a:lnTo>
                  <a:lnTo>
                    <a:pt x="193" y="3"/>
                  </a:lnTo>
                  <a:lnTo>
                    <a:pt x="193" y="6"/>
                  </a:lnTo>
                  <a:lnTo>
                    <a:pt x="193" y="20"/>
                  </a:lnTo>
                  <a:lnTo>
                    <a:pt x="124" y="20"/>
                  </a:lnTo>
                  <a:lnTo>
                    <a:pt x="124" y="6"/>
                  </a:lnTo>
                  <a:lnTo>
                    <a:pt x="124" y="6"/>
                  </a:lnTo>
                  <a:lnTo>
                    <a:pt x="124" y="3"/>
                  </a:lnTo>
                  <a:lnTo>
                    <a:pt x="123" y="1"/>
                  </a:lnTo>
                  <a:lnTo>
                    <a:pt x="120" y="0"/>
                  </a:lnTo>
                  <a:lnTo>
                    <a:pt x="118" y="0"/>
                  </a:lnTo>
                  <a:lnTo>
                    <a:pt x="92" y="0"/>
                  </a:lnTo>
                  <a:lnTo>
                    <a:pt x="92" y="0"/>
                  </a:lnTo>
                  <a:lnTo>
                    <a:pt x="88" y="0"/>
                  </a:lnTo>
                  <a:lnTo>
                    <a:pt x="86" y="1"/>
                  </a:lnTo>
                  <a:lnTo>
                    <a:pt x="85" y="3"/>
                  </a:lnTo>
                  <a:lnTo>
                    <a:pt x="85" y="6"/>
                  </a:lnTo>
                  <a:lnTo>
                    <a:pt x="85" y="21"/>
                  </a:lnTo>
                  <a:lnTo>
                    <a:pt x="85" y="21"/>
                  </a:lnTo>
                  <a:lnTo>
                    <a:pt x="77" y="29"/>
                  </a:lnTo>
                  <a:lnTo>
                    <a:pt x="65" y="43"/>
                  </a:lnTo>
                  <a:lnTo>
                    <a:pt x="37" y="83"/>
                  </a:lnTo>
                  <a:lnTo>
                    <a:pt x="11" y="122"/>
                  </a:lnTo>
                  <a:lnTo>
                    <a:pt x="2" y="135"/>
                  </a:lnTo>
                  <a:lnTo>
                    <a:pt x="0" y="142"/>
                  </a:lnTo>
                  <a:lnTo>
                    <a:pt x="0" y="207"/>
                  </a:lnTo>
                  <a:lnTo>
                    <a:pt x="0" y="207"/>
                  </a:lnTo>
                  <a:lnTo>
                    <a:pt x="1" y="213"/>
                  </a:lnTo>
                  <a:lnTo>
                    <a:pt x="4" y="217"/>
                  </a:lnTo>
                  <a:lnTo>
                    <a:pt x="9" y="220"/>
                  </a:lnTo>
                  <a:lnTo>
                    <a:pt x="15" y="221"/>
                  </a:lnTo>
                  <a:lnTo>
                    <a:pt x="246" y="221"/>
                  </a:lnTo>
                  <a:lnTo>
                    <a:pt x="246" y="221"/>
                  </a:lnTo>
                  <a:lnTo>
                    <a:pt x="303" y="221"/>
                  </a:lnTo>
                  <a:lnTo>
                    <a:pt x="303" y="221"/>
                  </a:lnTo>
                  <a:lnTo>
                    <a:pt x="309" y="220"/>
                  </a:lnTo>
                  <a:lnTo>
                    <a:pt x="313" y="217"/>
                  </a:lnTo>
                  <a:lnTo>
                    <a:pt x="316" y="213"/>
                  </a:lnTo>
                  <a:lnTo>
                    <a:pt x="317" y="207"/>
                  </a:lnTo>
                  <a:lnTo>
                    <a:pt x="317" y="142"/>
                  </a:lnTo>
                  <a:lnTo>
                    <a:pt x="317" y="142"/>
                  </a:lnTo>
                  <a:lnTo>
                    <a:pt x="314" y="135"/>
                  </a:lnTo>
                  <a:lnTo>
                    <a:pt x="306" y="122"/>
                  </a:lnTo>
                  <a:lnTo>
                    <a:pt x="280" y="83"/>
                  </a:lnTo>
                  <a:lnTo>
                    <a:pt x="251" y="43"/>
                  </a:lnTo>
                  <a:lnTo>
                    <a:pt x="240" y="29"/>
                  </a:lnTo>
                  <a:lnTo>
                    <a:pt x="233" y="21"/>
                  </a:lnTo>
                  <a:lnTo>
                    <a:pt x="233" y="21"/>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73" name="Freeform 120">
              <a:extLst>
                <a:ext uri="{FF2B5EF4-FFF2-40B4-BE49-F238E27FC236}">
                  <a16:creationId xmlns:a16="http://schemas.microsoft.com/office/drawing/2014/main" id="{B18F7E7C-BFBA-9BC5-F519-8CD1573D9A2D}"/>
                </a:ext>
              </a:extLst>
            </p:cNvPr>
            <p:cNvSpPr>
              <a:spLocks/>
            </p:cNvSpPr>
            <p:nvPr/>
          </p:nvSpPr>
          <p:spPr bwMode="auto">
            <a:xfrm>
              <a:off x="5345730" y="1725911"/>
              <a:ext cx="182301" cy="47157"/>
            </a:xfrm>
            <a:custGeom>
              <a:avLst/>
              <a:gdLst>
                <a:gd name="T0" fmla="*/ 303 w 317"/>
                <a:gd name="T1" fmla="*/ 9 h 82"/>
                <a:gd name="T2" fmla="*/ 246 w 317"/>
                <a:gd name="T3" fmla="*/ 9 h 82"/>
                <a:gd name="T4" fmla="*/ 246 w 317"/>
                <a:gd name="T5" fmla="*/ 9 h 82"/>
                <a:gd name="T6" fmla="*/ 15 w 317"/>
                <a:gd name="T7" fmla="*/ 9 h 82"/>
                <a:gd name="T8" fmla="*/ 15 w 317"/>
                <a:gd name="T9" fmla="*/ 9 h 82"/>
                <a:gd name="T10" fmla="*/ 10 w 317"/>
                <a:gd name="T11" fmla="*/ 7 h 82"/>
                <a:gd name="T12" fmla="*/ 6 w 317"/>
                <a:gd name="T13" fmla="*/ 6 h 82"/>
                <a:gd name="T14" fmla="*/ 4 w 317"/>
                <a:gd name="T15" fmla="*/ 3 h 82"/>
                <a:gd name="T16" fmla="*/ 1 w 317"/>
                <a:gd name="T17" fmla="*/ 0 h 82"/>
                <a:gd name="T18" fmla="*/ 1 w 317"/>
                <a:gd name="T19" fmla="*/ 0 h 82"/>
                <a:gd name="T20" fmla="*/ 0 w 317"/>
                <a:gd name="T21" fmla="*/ 3 h 82"/>
                <a:gd name="T22" fmla="*/ 0 w 317"/>
                <a:gd name="T23" fmla="*/ 68 h 82"/>
                <a:gd name="T24" fmla="*/ 0 w 317"/>
                <a:gd name="T25" fmla="*/ 68 h 82"/>
                <a:gd name="T26" fmla="*/ 1 w 317"/>
                <a:gd name="T27" fmla="*/ 74 h 82"/>
                <a:gd name="T28" fmla="*/ 4 w 317"/>
                <a:gd name="T29" fmla="*/ 78 h 82"/>
                <a:gd name="T30" fmla="*/ 9 w 317"/>
                <a:gd name="T31" fmla="*/ 81 h 82"/>
                <a:gd name="T32" fmla="*/ 15 w 317"/>
                <a:gd name="T33" fmla="*/ 82 h 82"/>
                <a:gd name="T34" fmla="*/ 246 w 317"/>
                <a:gd name="T35" fmla="*/ 82 h 82"/>
                <a:gd name="T36" fmla="*/ 246 w 317"/>
                <a:gd name="T37" fmla="*/ 82 h 82"/>
                <a:gd name="T38" fmla="*/ 303 w 317"/>
                <a:gd name="T39" fmla="*/ 82 h 82"/>
                <a:gd name="T40" fmla="*/ 303 w 317"/>
                <a:gd name="T41" fmla="*/ 82 h 82"/>
                <a:gd name="T42" fmla="*/ 309 w 317"/>
                <a:gd name="T43" fmla="*/ 81 h 82"/>
                <a:gd name="T44" fmla="*/ 313 w 317"/>
                <a:gd name="T45" fmla="*/ 78 h 82"/>
                <a:gd name="T46" fmla="*/ 316 w 317"/>
                <a:gd name="T47" fmla="*/ 74 h 82"/>
                <a:gd name="T48" fmla="*/ 317 w 317"/>
                <a:gd name="T49" fmla="*/ 68 h 82"/>
                <a:gd name="T50" fmla="*/ 317 w 317"/>
                <a:gd name="T51" fmla="*/ 3 h 82"/>
                <a:gd name="T52" fmla="*/ 317 w 317"/>
                <a:gd name="T53" fmla="*/ 3 h 82"/>
                <a:gd name="T54" fmla="*/ 316 w 317"/>
                <a:gd name="T55" fmla="*/ 0 h 82"/>
                <a:gd name="T56" fmla="*/ 316 w 317"/>
                <a:gd name="T57" fmla="*/ 0 h 82"/>
                <a:gd name="T58" fmla="*/ 314 w 317"/>
                <a:gd name="T59" fmla="*/ 3 h 82"/>
                <a:gd name="T60" fmla="*/ 311 w 317"/>
                <a:gd name="T61" fmla="*/ 6 h 82"/>
                <a:gd name="T62" fmla="*/ 308 w 317"/>
                <a:gd name="T63" fmla="*/ 7 h 82"/>
                <a:gd name="T64" fmla="*/ 303 w 317"/>
                <a:gd name="T65" fmla="*/ 9 h 82"/>
                <a:gd name="T66" fmla="*/ 303 w 317"/>
                <a:gd name="T67" fmla="*/ 9 h 8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17" h="82">
                  <a:moveTo>
                    <a:pt x="303" y="9"/>
                  </a:moveTo>
                  <a:lnTo>
                    <a:pt x="246" y="9"/>
                  </a:lnTo>
                  <a:lnTo>
                    <a:pt x="246" y="9"/>
                  </a:lnTo>
                  <a:lnTo>
                    <a:pt x="15" y="9"/>
                  </a:lnTo>
                  <a:lnTo>
                    <a:pt x="15" y="9"/>
                  </a:lnTo>
                  <a:lnTo>
                    <a:pt x="10" y="7"/>
                  </a:lnTo>
                  <a:lnTo>
                    <a:pt x="6" y="6"/>
                  </a:lnTo>
                  <a:lnTo>
                    <a:pt x="4" y="3"/>
                  </a:lnTo>
                  <a:lnTo>
                    <a:pt x="1" y="0"/>
                  </a:lnTo>
                  <a:lnTo>
                    <a:pt x="1" y="0"/>
                  </a:lnTo>
                  <a:lnTo>
                    <a:pt x="0" y="3"/>
                  </a:lnTo>
                  <a:lnTo>
                    <a:pt x="0" y="68"/>
                  </a:lnTo>
                  <a:lnTo>
                    <a:pt x="0" y="68"/>
                  </a:lnTo>
                  <a:lnTo>
                    <a:pt x="1" y="74"/>
                  </a:lnTo>
                  <a:lnTo>
                    <a:pt x="4" y="78"/>
                  </a:lnTo>
                  <a:lnTo>
                    <a:pt x="9" y="81"/>
                  </a:lnTo>
                  <a:lnTo>
                    <a:pt x="15" y="82"/>
                  </a:lnTo>
                  <a:lnTo>
                    <a:pt x="246" y="82"/>
                  </a:lnTo>
                  <a:lnTo>
                    <a:pt x="246" y="82"/>
                  </a:lnTo>
                  <a:lnTo>
                    <a:pt x="303" y="82"/>
                  </a:lnTo>
                  <a:lnTo>
                    <a:pt x="303" y="82"/>
                  </a:lnTo>
                  <a:lnTo>
                    <a:pt x="309" y="81"/>
                  </a:lnTo>
                  <a:lnTo>
                    <a:pt x="313" y="78"/>
                  </a:lnTo>
                  <a:lnTo>
                    <a:pt x="316" y="74"/>
                  </a:lnTo>
                  <a:lnTo>
                    <a:pt x="317" y="68"/>
                  </a:lnTo>
                  <a:lnTo>
                    <a:pt x="317" y="3"/>
                  </a:lnTo>
                  <a:lnTo>
                    <a:pt x="317" y="3"/>
                  </a:lnTo>
                  <a:lnTo>
                    <a:pt x="316" y="0"/>
                  </a:lnTo>
                  <a:lnTo>
                    <a:pt x="316" y="0"/>
                  </a:lnTo>
                  <a:lnTo>
                    <a:pt x="314" y="3"/>
                  </a:lnTo>
                  <a:lnTo>
                    <a:pt x="311" y="6"/>
                  </a:lnTo>
                  <a:lnTo>
                    <a:pt x="308" y="7"/>
                  </a:lnTo>
                  <a:lnTo>
                    <a:pt x="303" y="9"/>
                  </a:lnTo>
                  <a:lnTo>
                    <a:pt x="303" y="9"/>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74" name="Freeform 121">
              <a:extLst>
                <a:ext uri="{FF2B5EF4-FFF2-40B4-BE49-F238E27FC236}">
                  <a16:creationId xmlns:a16="http://schemas.microsoft.com/office/drawing/2014/main" id="{5B2DCF10-953E-299E-0896-50197A5D9A10}"/>
                </a:ext>
              </a:extLst>
            </p:cNvPr>
            <p:cNvSpPr>
              <a:spLocks/>
            </p:cNvSpPr>
            <p:nvPr/>
          </p:nvSpPr>
          <p:spPr bwMode="auto">
            <a:xfrm>
              <a:off x="5329052" y="1607445"/>
              <a:ext cx="215655" cy="81086"/>
            </a:xfrm>
            <a:custGeom>
              <a:avLst/>
              <a:gdLst>
                <a:gd name="T0" fmla="*/ 374 w 375"/>
                <a:gd name="T1" fmla="*/ 60 h 141"/>
                <a:gd name="T2" fmla="*/ 361 w 375"/>
                <a:gd name="T3" fmla="*/ 48 h 141"/>
                <a:gd name="T4" fmla="*/ 344 w 375"/>
                <a:gd name="T5" fmla="*/ 37 h 141"/>
                <a:gd name="T6" fmla="*/ 302 w 375"/>
                <a:gd name="T7" fmla="*/ 17 h 141"/>
                <a:gd name="T8" fmla="*/ 251 w 375"/>
                <a:gd name="T9" fmla="*/ 4 h 141"/>
                <a:gd name="T10" fmla="*/ 191 w 375"/>
                <a:gd name="T11" fmla="*/ 0 h 141"/>
                <a:gd name="T12" fmla="*/ 175 w 375"/>
                <a:gd name="T13" fmla="*/ 0 h 141"/>
                <a:gd name="T14" fmla="*/ 130 w 375"/>
                <a:gd name="T15" fmla="*/ 4 h 141"/>
                <a:gd name="T16" fmla="*/ 76 w 375"/>
                <a:gd name="T17" fmla="*/ 16 h 141"/>
                <a:gd name="T18" fmla="*/ 31 w 375"/>
                <a:gd name="T19" fmla="*/ 36 h 141"/>
                <a:gd name="T20" fmla="*/ 15 w 375"/>
                <a:gd name="T21" fmla="*/ 48 h 141"/>
                <a:gd name="T22" fmla="*/ 1 w 375"/>
                <a:gd name="T23" fmla="*/ 60 h 141"/>
                <a:gd name="T24" fmla="*/ 0 w 375"/>
                <a:gd name="T25" fmla="*/ 77 h 141"/>
                <a:gd name="T26" fmla="*/ 1 w 375"/>
                <a:gd name="T27" fmla="*/ 91 h 141"/>
                <a:gd name="T28" fmla="*/ 6 w 375"/>
                <a:gd name="T29" fmla="*/ 119 h 141"/>
                <a:gd name="T30" fmla="*/ 11 w 375"/>
                <a:gd name="T31" fmla="*/ 132 h 141"/>
                <a:gd name="T32" fmla="*/ 18 w 375"/>
                <a:gd name="T33" fmla="*/ 139 h 141"/>
                <a:gd name="T34" fmla="*/ 26 w 375"/>
                <a:gd name="T35" fmla="*/ 141 h 141"/>
                <a:gd name="T36" fmla="*/ 55 w 375"/>
                <a:gd name="T37" fmla="*/ 125 h 141"/>
                <a:gd name="T38" fmla="*/ 82 w 375"/>
                <a:gd name="T39" fmla="*/ 110 h 141"/>
                <a:gd name="T40" fmla="*/ 87 w 375"/>
                <a:gd name="T41" fmla="*/ 104 h 141"/>
                <a:gd name="T42" fmla="*/ 89 w 375"/>
                <a:gd name="T43" fmla="*/ 97 h 141"/>
                <a:gd name="T44" fmla="*/ 84 w 375"/>
                <a:gd name="T45" fmla="*/ 73 h 141"/>
                <a:gd name="T46" fmla="*/ 83 w 375"/>
                <a:gd name="T47" fmla="*/ 69 h 141"/>
                <a:gd name="T48" fmla="*/ 88 w 375"/>
                <a:gd name="T49" fmla="*/ 62 h 141"/>
                <a:gd name="T50" fmla="*/ 100 w 375"/>
                <a:gd name="T51" fmla="*/ 55 h 141"/>
                <a:gd name="T52" fmla="*/ 115 w 375"/>
                <a:gd name="T53" fmla="*/ 53 h 141"/>
                <a:gd name="T54" fmla="*/ 188 w 375"/>
                <a:gd name="T55" fmla="*/ 49 h 141"/>
                <a:gd name="T56" fmla="*/ 236 w 375"/>
                <a:gd name="T57" fmla="*/ 52 h 141"/>
                <a:gd name="T58" fmla="*/ 275 w 375"/>
                <a:gd name="T59" fmla="*/ 55 h 141"/>
                <a:gd name="T60" fmla="*/ 283 w 375"/>
                <a:gd name="T61" fmla="*/ 57 h 141"/>
                <a:gd name="T62" fmla="*/ 290 w 375"/>
                <a:gd name="T63" fmla="*/ 67 h 141"/>
                <a:gd name="T64" fmla="*/ 291 w 375"/>
                <a:gd name="T65" fmla="*/ 73 h 141"/>
                <a:gd name="T66" fmla="*/ 286 w 375"/>
                <a:gd name="T67" fmla="*/ 97 h 141"/>
                <a:gd name="T68" fmla="*/ 286 w 375"/>
                <a:gd name="T69" fmla="*/ 100 h 141"/>
                <a:gd name="T70" fmla="*/ 290 w 375"/>
                <a:gd name="T71" fmla="*/ 108 h 141"/>
                <a:gd name="T72" fmla="*/ 293 w 375"/>
                <a:gd name="T73" fmla="*/ 110 h 141"/>
                <a:gd name="T74" fmla="*/ 350 w 375"/>
                <a:gd name="T75" fmla="*/ 141 h 141"/>
                <a:gd name="T76" fmla="*/ 353 w 375"/>
                <a:gd name="T77" fmla="*/ 141 h 141"/>
                <a:gd name="T78" fmla="*/ 361 w 375"/>
                <a:gd name="T79" fmla="*/ 135 h 141"/>
                <a:gd name="T80" fmla="*/ 364 w 375"/>
                <a:gd name="T81" fmla="*/ 132 h 141"/>
                <a:gd name="T82" fmla="*/ 372 w 375"/>
                <a:gd name="T83" fmla="*/ 106 h 141"/>
                <a:gd name="T84" fmla="*/ 375 w 375"/>
                <a:gd name="T85" fmla="*/ 77 h 141"/>
                <a:gd name="T86" fmla="*/ 374 w 375"/>
                <a:gd name="T87" fmla="*/ 60 h 14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375" h="141">
                  <a:moveTo>
                    <a:pt x="374" y="60"/>
                  </a:moveTo>
                  <a:lnTo>
                    <a:pt x="374" y="60"/>
                  </a:lnTo>
                  <a:lnTo>
                    <a:pt x="367" y="55"/>
                  </a:lnTo>
                  <a:lnTo>
                    <a:pt x="361" y="48"/>
                  </a:lnTo>
                  <a:lnTo>
                    <a:pt x="353" y="43"/>
                  </a:lnTo>
                  <a:lnTo>
                    <a:pt x="344" y="37"/>
                  </a:lnTo>
                  <a:lnTo>
                    <a:pt x="324" y="26"/>
                  </a:lnTo>
                  <a:lnTo>
                    <a:pt x="302" y="17"/>
                  </a:lnTo>
                  <a:lnTo>
                    <a:pt x="278" y="10"/>
                  </a:lnTo>
                  <a:lnTo>
                    <a:pt x="251" y="4"/>
                  </a:lnTo>
                  <a:lnTo>
                    <a:pt x="222" y="1"/>
                  </a:lnTo>
                  <a:lnTo>
                    <a:pt x="191" y="0"/>
                  </a:lnTo>
                  <a:lnTo>
                    <a:pt x="191" y="0"/>
                  </a:lnTo>
                  <a:lnTo>
                    <a:pt x="175" y="0"/>
                  </a:lnTo>
                  <a:lnTo>
                    <a:pt x="159" y="1"/>
                  </a:lnTo>
                  <a:lnTo>
                    <a:pt x="130" y="4"/>
                  </a:lnTo>
                  <a:lnTo>
                    <a:pt x="101" y="10"/>
                  </a:lnTo>
                  <a:lnTo>
                    <a:pt x="76" y="16"/>
                  </a:lnTo>
                  <a:lnTo>
                    <a:pt x="52" y="25"/>
                  </a:lnTo>
                  <a:lnTo>
                    <a:pt x="31" y="36"/>
                  </a:lnTo>
                  <a:lnTo>
                    <a:pt x="23" y="42"/>
                  </a:lnTo>
                  <a:lnTo>
                    <a:pt x="15" y="48"/>
                  </a:lnTo>
                  <a:lnTo>
                    <a:pt x="7" y="54"/>
                  </a:lnTo>
                  <a:lnTo>
                    <a:pt x="1" y="60"/>
                  </a:lnTo>
                  <a:lnTo>
                    <a:pt x="1" y="60"/>
                  </a:lnTo>
                  <a:lnTo>
                    <a:pt x="0" y="77"/>
                  </a:lnTo>
                  <a:lnTo>
                    <a:pt x="0" y="77"/>
                  </a:lnTo>
                  <a:lnTo>
                    <a:pt x="1" y="91"/>
                  </a:lnTo>
                  <a:lnTo>
                    <a:pt x="3" y="106"/>
                  </a:lnTo>
                  <a:lnTo>
                    <a:pt x="6" y="119"/>
                  </a:lnTo>
                  <a:lnTo>
                    <a:pt x="11" y="132"/>
                  </a:lnTo>
                  <a:lnTo>
                    <a:pt x="11" y="132"/>
                  </a:lnTo>
                  <a:lnTo>
                    <a:pt x="14" y="135"/>
                  </a:lnTo>
                  <a:lnTo>
                    <a:pt x="18" y="139"/>
                  </a:lnTo>
                  <a:lnTo>
                    <a:pt x="23" y="141"/>
                  </a:lnTo>
                  <a:lnTo>
                    <a:pt x="26" y="141"/>
                  </a:lnTo>
                  <a:lnTo>
                    <a:pt x="26" y="141"/>
                  </a:lnTo>
                  <a:lnTo>
                    <a:pt x="55" y="125"/>
                  </a:lnTo>
                  <a:lnTo>
                    <a:pt x="82" y="110"/>
                  </a:lnTo>
                  <a:lnTo>
                    <a:pt x="82" y="110"/>
                  </a:lnTo>
                  <a:lnTo>
                    <a:pt x="84" y="108"/>
                  </a:lnTo>
                  <a:lnTo>
                    <a:pt x="87" y="104"/>
                  </a:lnTo>
                  <a:lnTo>
                    <a:pt x="89" y="100"/>
                  </a:lnTo>
                  <a:lnTo>
                    <a:pt x="89" y="97"/>
                  </a:lnTo>
                  <a:lnTo>
                    <a:pt x="89" y="97"/>
                  </a:lnTo>
                  <a:lnTo>
                    <a:pt x="84" y="73"/>
                  </a:lnTo>
                  <a:lnTo>
                    <a:pt x="84" y="73"/>
                  </a:lnTo>
                  <a:lnTo>
                    <a:pt x="83" y="69"/>
                  </a:lnTo>
                  <a:lnTo>
                    <a:pt x="84" y="67"/>
                  </a:lnTo>
                  <a:lnTo>
                    <a:pt x="88" y="62"/>
                  </a:lnTo>
                  <a:lnTo>
                    <a:pt x="93" y="57"/>
                  </a:lnTo>
                  <a:lnTo>
                    <a:pt x="100" y="55"/>
                  </a:lnTo>
                  <a:lnTo>
                    <a:pt x="100" y="55"/>
                  </a:lnTo>
                  <a:lnTo>
                    <a:pt x="115" y="53"/>
                  </a:lnTo>
                  <a:lnTo>
                    <a:pt x="138" y="52"/>
                  </a:lnTo>
                  <a:lnTo>
                    <a:pt x="188" y="49"/>
                  </a:lnTo>
                  <a:lnTo>
                    <a:pt x="188" y="49"/>
                  </a:lnTo>
                  <a:lnTo>
                    <a:pt x="236" y="52"/>
                  </a:lnTo>
                  <a:lnTo>
                    <a:pt x="259" y="53"/>
                  </a:lnTo>
                  <a:lnTo>
                    <a:pt x="275" y="55"/>
                  </a:lnTo>
                  <a:lnTo>
                    <a:pt x="275" y="55"/>
                  </a:lnTo>
                  <a:lnTo>
                    <a:pt x="283" y="57"/>
                  </a:lnTo>
                  <a:lnTo>
                    <a:pt x="288" y="62"/>
                  </a:lnTo>
                  <a:lnTo>
                    <a:pt x="290" y="67"/>
                  </a:lnTo>
                  <a:lnTo>
                    <a:pt x="291" y="69"/>
                  </a:lnTo>
                  <a:lnTo>
                    <a:pt x="291" y="73"/>
                  </a:lnTo>
                  <a:lnTo>
                    <a:pt x="291" y="73"/>
                  </a:lnTo>
                  <a:lnTo>
                    <a:pt x="286" y="97"/>
                  </a:lnTo>
                  <a:lnTo>
                    <a:pt x="286" y="97"/>
                  </a:lnTo>
                  <a:lnTo>
                    <a:pt x="286" y="100"/>
                  </a:lnTo>
                  <a:lnTo>
                    <a:pt x="288" y="104"/>
                  </a:lnTo>
                  <a:lnTo>
                    <a:pt x="290" y="108"/>
                  </a:lnTo>
                  <a:lnTo>
                    <a:pt x="293" y="110"/>
                  </a:lnTo>
                  <a:lnTo>
                    <a:pt x="293" y="110"/>
                  </a:lnTo>
                  <a:lnTo>
                    <a:pt x="320" y="125"/>
                  </a:lnTo>
                  <a:lnTo>
                    <a:pt x="350" y="141"/>
                  </a:lnTo>
                  <a:lnTo>
                    <a:pt x="350" y="141"/>
                  </a:lnTo>
                  <a:lnTo>
                    <a:pt x="353" y="141"/>
                  </a:lnTo>
                  <a:lnTo>
                    <a:pt x="358" y="139"/>
                  </a:lnTo>
                  <a:lnTo>
                    <a:pt x="361" y="135"/>
                  </a:lnTo>
                  <a:lnTo>
                    <a:pt x="364" y="132"/>
                  </a:lnTo>
                  <a:lnTo>
                    <a:pt x="364" y="132"/>
                  </a:lnTo>
                  <a:lnTo>
                    <a:pt x="369" y="119"/>
                  </a:lnTo>
                  <a:lnTo>
                    <a:pt x="372" y="106"/>
                  </a:lnTo>
                  <a:lnTo>
                    <a:pt x="374" y="91"/>
                  </a:lnTo>
                  <a:lnTo>
                    <a:pt x="375" y="77"/>
                  </a:lnTo>
                  <a:lnTo>
                    <a:pt x="375" y="77"/>
                  </a:lnTo>
                  <a:lnTo>
                    <a:pt x="374" y="60"/>
                  </a:lnTo>
                  <a:lnTo>
                    <a:pt x="374" y="60"/>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75" name="Freeform 122">
              <a:extLst>
                <a:ext uri="{FF2B5EF4-FFF2-40B4-BE49-F238E27FC236}">
                  <a16:creationId xmlns:a16="http://schemas.microsoft.com/office/drawing/2014/main" id="{0E1C9723-2B43-41EF-4059-DDFD5DDEDB0C}"/>
                </a:ext>
              </a:extLst>
            </p:cNvPr>
            <p:cNvSpPr>
              <a:spLocks/>
            </p:cNvSpPr>
            <p:nvPr/>
          </p:nvSpPr>
          <p:spPr bwMode="auto">
            <a:xfrm>
              <a:off x="5392886" y="1670704"/>
              <a:ext cx="88562" cy="50032"/>
            </a:xfrm>
            <a:custGeom>
              <a:avLst/>
              <a:gdLst>
                <a:gd name="T0" fmla="*/ 154 w 154"/>
                <a:gd name="T1" fmla="*/ 44 h 87"/>
                <a:gd name="T2" fmla="*/ 154 w 154"/>
                <a:gd name="T3" fmla="*/ 44 h 87"/>
                <a:gd name="T4" fmla="*/ 153 w 154"/>
                <a:gd name="T5" fmla="*/ 48 h 87"/>
                <a:gd name="T6" fmla="*/ 152 w 154"/>
                <a:gd name="T7" fmla="*/ 52 h 87"/>
                <a:gd name="T8" fmla="*/ 151 w 154"/>
                <a:gd name="T9" fmla="*/ 56 h 87"/>
                <a:gd name="T10" fmla="*/ 147 w 154"/>
                <a:gd name="T11" fmla="*/ 61 h 87"/>
                <a:gd name="T12" fmla="*/ 141 w 154"/>
                <a:gd name="T13" fmla="*/ 67 h 87"/>
                <a:gd name="T14" fmla="*/ 131 w 154"/>
                <a:gd name="T15" fmla="*/ 74 h 87"/>
                <a:gd name="T16" fmla="*/ 120 w 154"/>
                <a:gd name="T17" fmla="*/ 79 h 87"/>
                <a:gd name="T18" fmla="*/ 107 w 154"/>
                <a:gd name="T19" fmla="*/ 84 h 87"/>
                <a:gd name="T20" fmla="*/ 92 w 154"/>
                <a:gd name="T21" fmla="*/ 86 h 87"/>
                <a:gd name="T22" fmla="*/ 77 w 154"/>
                <a:gd name="T23" fmla="*/ 87 h 87"/>
                <a:gd name="T24" fmla="*/ 77 w 154"/>
                <a:gd name="T25" fmla="*/ 87 h 87"/>
                <a:gd name="T26" fmla="*/ 61 w 154"/>
                <a:gd name="T27" fmla="*/ 86 h 87"/>
                <a:gd name="T28" fmla="*/ 46 w 154"/>
                <a:gd name="T29" fmla="*/ 84 h 87"/>
                <a:gd name="T30" fmla="*/ 33 w 154"/>
                <a:gd name="T31" fmla="*/ 79 h 87"/>
                <a:gd name="T32" fmla="*/ 22 w 154"/>
                <a:gd name="T33" fmla="*/ 74 h 87"/>
                <a:gd name="T34" fmla="*/ 13 w 154"/>
                <a:gd name="T35" fmla="*/ 67 h 87"/>
                <a:gd name="T36" fmla="*/ 5 w 154"/>
                <a:gd name="T37" fmla="*/ 61 h 87"/>
                <a:gd name="T38" fmla="*/ 3 w 154"/>
                <a:gd name="T39" fmla="*/ 56 h 87"/>
                <a:gd name="T40" fmla="*/ 1 w 154"/>
                <a:gd name="T41" fmla="*/ 52 h 87"/>
                <a:gd name="T42" fmla="*/ 0 w 154"/>
                <a:gd name="T43" fmla="*/ 48 h 87"/>
                <a:gd name="T44" fmla="*/ 0 w 154"/>
                <a:gd name="T45" fmla="*/ 44 h 87"/>
                <a:gd name="T46" fmla="*/ 0 w 154"/>
                <a:gd name="T47" fmla="*/ 44 h 87"/>
                <a:gd name="T48" fmla="*/ 0 w 154"/>
                <a:gd name="T49" fmla="*/ 40 h 87"/>
                <a:gd name="T50" fmla="*/ 1 w 154"/>
                <a:gd name="T51" fmla="*/ 35 h 87"/>
                <a:gd name="T52" fmla="*/ 3 w 154"/>
                <a:gd name="T53" fmla="*/ 31 h 87"/>
                <a:gd name="T54" fmla="*/ 5 w 154"/>
                <a:gd name="T55" fmla="*/ 26 h 87"/>
                <a:gd name="T56" fmla="*/ 13 w 154"/>
                <a:gd name="T57" fmla="*/ 20 h 87"/>
                <a:gd name="T58" fmla="*/ 22 w 154"/>
                <a:gd name="T59" fmla="*/ 13 h 87"/>
                <a:gd name="T60" fmla="*/ 33 w 154"/>
                <a:gd name="T61" fmla="*/ 8 h 87"/>
                <a:gd name="T62" fmla="*/ 46 w 154"/>
                <a:gd name="T63" fmla="*/ 4 h 87"/>
                <a:gd name="T64" fmla="*/ 61 w 154"/>
                <a:gd name="T65" fmla="*/ 1 h 87"/>
                <a:gd name="T66" fmla="*/ 77 w 154"/>
                <a:gd name="T67" fmla="*/ 0 h 87"/>
                <a:gd name="T68" fmla="*/ 77 w 154"/>
                <a:gd name="T69" fmla="*/ 0 h 87"/>
                <a:gd name="T70" fmla="*/ 92 w 154"/>
                <a:gd name="T71" fmla="*/ 1 h 87"/>
                <a:gd name="T72" fmla="*/ 107 w 154"/>
                <a:gd name="T73" fmla="*/ 4 h 87"/>
                <a:gd name="T74" fmla="*/ 120 w 154"/>
                <a:gd name="T75" fmla="*/ 8 h 87"/>
                <a:gd name="T76" fmla="*/ 131 w 154"/>
                <a:gd name="T77" fmla="*/ 13 h 87"/>
                <a:gd name="T78" fmla="*/ 141 w 154"/>
                <a:gd name="T79" fmla="*/ 20 h 87"/>
                <a:gd name="T80" fmla="*/ 147 w 154"/>
                <a:gd name="T81" fmla="*/ 26 h 87"/>
                <a:gd name="T82" fmla="*/ 151 w 154"/>
                <a:gd name="T83" fmla="*/ 31 h 87"/>
                <a:gd name="T84" fmla="*/ 152 w 154"/>
                <a:gd name="T85" fmla="*/ 35 h 87"/>
                <a:gd name="T86" fmla="*/ 153 w 154"/>
                <a:gd name="T87" fmla="*/ 40 h 87"/>
                <a:gd name="T88" fmla="*/ 154 w 154"/>
                <a:gd name="T89" fmla="*/ 44 h 87"/>
                <a:gd name="T90" fmla="*/ 154 w 154"/>
                <a:gd name="T91" fmla="*/ 44 h 8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154" h="87">
                  <a:moveTo>
                    <a:pt x="154" y="44"/>
                  </a:moveTo>
                  <a:lnTo>
                    <a:pt x="154" y="44"/>
                  </a:lnTo>
                  <a:lnTo>
                    <a:pt x="153" y="48"/>
                  </a:lnTo>
                  <a:lnTo>
                    <a:pt x="152" y="52"/>
                  </a:lnTo>
                  <a:lnTo>
                    <a:pt x="151" y="56"/>
                  </a:lnTo>
                  <a:lnTo>
                    <a:pt x="147" y="61"/>
                  </a:lnTo>
                  <a:lnTo>
                    <a:pt x="141" y="67"/>
                  </a:lnTo>
                  <a:lnTo>
                    <a:pt x="131" y="74"/>
                  </a:lnTo>
                  <a:lnTo>
                    <a:pt x="120" y="79"/>
                  </a:lnTo>
                  <a:lnTo>
                    <a:pt x="107" y="84"/>
                  </a:lnTo>
                  <a:lnTo>
                    <a:pt x="92" y="86"/>
                  </a:lnTo>
                  <a:lnTo>
                    <a:pt x="77" y="87"/>
                  </a:lnTo>
                  <a:lnTo>
                    <a:pt x="77" y="87"/>
                  </a:lnTo>
                  <a:lnTo>
                    <a:pt x="61" y="86"/>
                  </a:lnTo>
                  <a:lnTo>
                    <a:pt x="46" y="84"/>
                  </a:lnTo>
                  <a:lnTo>
                    <a:pt x="33" y="79"/>
                  </a:lnTo>
                  <a:lnTo>
                    <a:pt x="22" y="74"/>
                  </a:lnTo>
                  <a:lnTo>
                    <a:pt x="13" y="67"/>
                  </a:lnTo>
                  <a:lnTo>
                    <a:pt x="5" y="61"/>
                  </a:lnTo>
                  <a:lnTo>
                    <a:pt x="3" y="56"/>
                  </a:lnTo>
                  <a:lnTo>
                    <a:pt x="1" y="52"/>
                  </a:lnTo>
                  <a:lnTo>
                    <a:pt x="0" y="48"/>
                  </a:lnTo>
                  <a:lnTo>
                    <a:pt x="0" y="44"/>
                  </a:lnTo>
                  <a:lnTo>
                    <a:pt x="0" y="44"/>
                  </a:lnTo>
                  <a:lnTo>
                    <a:pt x="0" y="40"/>
                  </a:lnTo>
                  <a:lnTo>
                    <a:pt x="1" y="35"/>
                  </a:lnTo>
                  <a:lnTo>
                    <a:pt x="3" y="31"/>
                  </a:lnTo>
                  <a:lnTo>
                    <a:pt x="5" y="26"/>
                  </a:lnTo>
                  <a:lnTo>
                    <a:pt x="13" y="20"/>
                  </a:lnTo>
                  <a:lnTo>
                    <a:pt x="22" y="13"/>
                  </a:lnTo>
                  <a:lnTo>
                    <a:pt x="33" y="8"/>
                  </a:lnTo>
                  <a:lnTo>
                    <a:pt x="46" y="4"/>
                  </a:lnTo>
                  <a:lnTo>
                    <a:pt x="61" y="1"/>
                  </a:lnTo>
                  <a:lnTo>
                    <a:pt x="77" y="0"/>
                  </a:lnTo>
                  <a:lnTo>
                    <a:pt x="77" y="0"/>
                  </a:lnTo>
                  <a:lnTo>
                    <a:pt x="92" y="1"/>
                  </a:lnTo>
                  <a:lnTo>
                    <a:pt x="107" y="4"/>
                  </a:lnTo>
                  <a:lnTo>
                    <a:pt x="120" y="8"/>
                  </a:lnTo>
                  <a:lnTo>
                    <a:pt x="131" y="13"/>
                  </a:lnTo>
                  <a:lnTo>
                    <a:pt x="141" y="20"/>
                  </a:lnTo>
                  <a:lnTo>
                    <a:pt x="147" y="26"/>
                  </a:lnTo>
                  <a:lnTo>
                    <a:pt x="151" y="31"/>
                  </a:lnTo>
                  <a:lnTo>
                    <a:pt x="152" y="35"/>
                  </a:lnTo>
                  <a:lnTo>
                    <a:pt x="153" y="40"/>
                  </a:lnTo>
                  <a:lnTo>
                    <a:pt x="154" y="44"/>
                  </a:lnTo>
                  <a:lnTo>
                    <a:pt x="154" y="44"/>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76" name="Freeform 123">
              <a:extLst>
                <a:ext uri="{FF2B5EF4-FFF2-40B4-BE49-F238E27FC236}">
                  <a16:creationId xmlns:a16="http://schemas.microsoft.com/office/drawing/2014/main" id="{854AF964-A80B-A87C-28C9-56CD45CB5299}"/>
                </a:ext>
              </a:extLst>
            </p:cNvPr>
            <p:cNvSpPr>
              <a:spLocks/>
            </p:cNvSpPr>
            <p:nvPr/>
          </p:nvSpPr>
          <p:spPr bwMode="auto">
            <a:xfrm>
              <a:off x="5406112" y="1664887"/>
              <a:ext cx="61534" cy="29329"/>
            </a:xfrm>
            <a:custGeom>
              <a:avLst/>
              <a:gdLst>
                <a:gd name="T0" fmla="*/ 54 w 107"/>
                <a:gd name="T1" fmla="*/ 51 h 51"/>
                <a:gd name="T2" fmla="*/ 54 w 107"/>
                <a:gd name="T3" fmla="*/ 51 h 51"/>
                <a:gd name="T4" fmla="*/ 42 w 107"/>
                <a:gd name="T5" fmla="*/ 50 h 51"/>
                <a:gd name="T6" fmla="*/ 31 w 107"/>
                <a:gd name="T7" fmla="*/ 47 h 51"/>
                <a:gd name="T8" fmla="*/ 22 w 107"/>
                <a:gd name="T9" fmla="*/ 44 h 51"/>
                <a:gd name="T10" fmla="*/ 14 w 107"/>
                <a:gd name="T11" fmla="*/ 41 h 51"/>
                <a:gd name="T12" fmla="*/ 8 w 107"/>
                <a:gd name="T13" fmla="*/ 36 h 51"/>
                <a:gd name="T14" fmla="*/ 3 w 107"/>
                <a:gd name="T15" fmla="*/ 32 h 51"/>
                <a:gd name="T16" fmla="*/ 1 w 107"/>
                <a:gd name="T17" fmla="*/ 28 h 51"/>
                <a:gd name="T18" fmla="*/ 0 w 107"/>
                <a:gd name="T19" fmla="*/ 25 h 51"/>
                <a:gd name="T20" fmla="*/ 0 w 107"/>
                <a:gd name="T21" fmla="*/ 25 h 51"/>
                <a:gd name="T22" fmla="*/ 1 w 107"/>
                <a:gd name="T23" fmla="*/ 22 h 51"/>
                <a:gd name="T24" fmla="*/ 3 w 107"/>
                <a:gd name="T25" fmla="*/ 19 h 51"/>
                <a:gd name="T26" fmla="*/ 8 w 107"/>
                <a:gd name="T27" fmla="*/ 14 h 51"/>
                <a:gd name="T28" fmla="*/ 14 w 107"/>
                <a:gd name="T29" fmla="*/ 10 h 51"/>
                <a:gd name="T30" fmla="*/ 22 w 107"/>
                <a:gd name="T31" fmla="*/ 6 h 51"/>
                <a:gd name="T32" fmla="*/ 31 w 107"/>
                <a:gd name="T33" fmla="*/ 2 h 51"/>
                <a:gd name="T34" fmla="*/ 42 w 107"/>
                <a:gd name="T35" fmla="*/ 0 h 51"/>
                <a:gd name="T36" fmla="*/ 54 w 107"/>
                <a:gd name="T37" fmla="*/ 0 h 51"/>
                <a:gd name="T38" fmla="*/ 54 w 107"/>
                <a:gd name="T39" fmla="*/ 0 h 51"/>
                <a:gd name="T40" fmla="*/ 66 w 107"/>
                <a:gd name="T41" fmla="*/ 0 h 51"/>
                <a:gd name="T42" fmla="*/ 76 w 107"/>
                <a:gd name="T43" fmla="*/ 2 h 51"/>
                <a:gd name="T44" fmla="*/ 86 w 107"/>
                <a:gd name="T45" fmla="*/ 6 h 51"/>
                <a:gd name="T46" fmla="*/ 94 w 107"/>
                <a:gd name="T47" fmla="*/ 10 h 51"/>
                <a:gd name="T48" fmla="*/ 99 w 107"/>
                <a:gd name="T49" fmla="*/ 14 h 51"/>
                <a:gd name="T50" fmla="*/ 103 w 107"/>
                <a:gd name="T51" fmla="*/ 19 h 51"/>
                <a:gd name="T52" fmla="*/ 106 w 107"/>
                <a:gd name="T53" fmla="*/ 22 h 51"/>
                <a:gd name="T54" fmla="*/ 107 w 107"/>
                <a:gd name="T55" fmla="*/ 25 h 51"/>
                <a:gd name="T56" fmla="*/ 107 w 107"/>
                <a:gd name="T57" fmla="*/ 25 h 51"/>
                <a:gd name="T58" fmla="*/ 106 w 107"/>
                <a:gd name="T59" fmla="*/ 28 h 51"/>
                <a:gd name="T60" fmla="*/ 103 w 107"/>
                <a:gd name="T61" fmla="*/ 32 h 51"/>
                <a:gd name="T62" fmla="*/ 99 w 107"/>
                <a:gd name="T63" fmla="*/ 36 h 51"/>
                <a:gd name="T64" fmla="*/ 94 w 107"/>
                <a:gd name="T65" fmla="*/ 41 h 51"/>
                <a:gd name="T66" fmla="*/ 86 w 107"/>
                <a:gd name="T67" fmla="*/ 44 h 51"/>
                <a:gd name="T68" fmla="*/ 76 w 107"/>
                <a:gd name="T69" fmla="*/ 47 h 51"/>
                <a:gd name="T70" fmla="*/ 66 w 107"/>
                <a:gd name="T71" fmla="*/ 50 h 51"/>
                <a:gd name="T72" fmla="*/ 54 w 107"/>
                <a:gd name="T73" fmla="*/ 51 h 51"/>
                <a:gd name="T74" fmla="*/ 54 w 107"/>
                <a:gd name="T75" fmla="*/ 51 h 5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107" h="51">
                  <a:moveTo>
                    <a:pt x="54" y="51"/>
                  </a:moveTo>
                  <a:lnTo>
                    <a:pt x="54" y="51"/>
                  </a:lnTo>
                  <a:lnTo>
                    <a:pt x="42" y="50"/>
                  </a:lnTo>
                  <a:lnTo>
                    <a:pt x="31" y="47"/>
                  </a:lnTo>
                  <a:lnTo>
                    <a:pt x="22" y="44"/>
                  </a:lnTo>
                  <a:lnTo>
                    <a:pt x="14" y="41"/>
                  </a:lnTo>
                  <a:lnTo>
                    <a:pt x="8" y="36"/>
                  </a:lnTo>
                  <a:lnTo>
                    <a:pt x="3" y="32"/>
                  </a:lnTo>
                  <a:lnTo>
                    <a:pt x="1" y="28"/>
                  </a:lnTo>
                  <a:lnTo>
                    <a:pt x="0" y="25"/>
                  </a:lnTo>
                  <a:lnTo>
                    <a:pt x="0" y="25"/>
                  </a:lnTo>
                  <a:lnTo>
                    <a:pt x="1" y="22"/>
                  </a:lnTo>
                  <a:lnTo>
                    <a:pt x="3" y="19"/>
                  </a:lnTo>
                  <a:lnTo>
                    <a:pt x="8" y="14"/>
                  </a:lnTo>
                  <a:lnTo>
                    <a:pt x="14" y="10"/>
                  </a:lnTo>
                  <a:lnTo>
                    <a:pt x="22" y="6"/>
                  </a:lnTo>
                  <a:lnTo>
                    <a:pt x="31" y="2"/>
                  </a:lnTo>
                  <a:lnTo>
                    <a:pt x="42" y="0"/>
                  </a:lnTo>
                  <a:lnTo>
                    <a:pt x="54" y="0"/>
                  </a:lnTo>
                  <a:lnTo>
                    <a:pt x="54" y="0"/>
                  </a:lnTo>
                  <a:lnTo>
                    <a:pt x="66" y="0"/>
                  </a:lnTo>
                  <a:lnTo>
                    <a:pt x="76" y="2"/>
                  </a:lnTo>
                  <a:lnTo>
                    <a:pt x="86" y="6"/>
                  </a:lnTo>
                  <a:lnTo>
                    <a:pt x="94" y="10"/>
                  </a:lnTo>
                  <a:lnTo>
                    <a:pt x="99" y="14"/>
                  </a:lnTo>
                  <a:lnTo>
                    <a:pt x="103" y="19"/>
                  </a:lnTo>
                  <a:lnTo>
                    <a:pt x="106" y="22"/>
                  </a:lnTo>
                  <a:lnTo>
                    <a:pt x="107" y="25"/>
                  </a:lnTo>
                  <a:lnTo>
                    <a:pt x="107" y="25"/>
                  </a:lnTo>
                  <a:lnTo>
                    <a:pt x="106" y="28"/>
                  </a:lnTo>
                  <a:lnTo>
                    <a:pt x="103" y="32"/>
                  </a:lnTo>
                  <a:lnTo>
                    <a:pt x="99" y="36"/>
                  </a:lnTo>
                  <a:lnTo>
                    <a:pt x="94" y="41"/>
                  </a:lnTo>
                  <a:lnTo>
                    <a:pt x="86" y="44"/>
                  </a:lnTo>
                  <a:lnTo>
                    <a:pt x="76" y="47"/>
                  </a:lnTo>
                  <a:lnTo>
                    <a:pt x="66" y="50"/>
                  </a:lnTo>
                  <a:lnTo>
                    <a:pt x="54" y="51"/>
                  </a:lnTo>
                  <a:lnTo>
                    <a:pt x="54" y="51"/>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77" name="Freeform 124">
              <a:extLst>
                <a:ext uri="{FF2B5EF4-FFF2-40B4-BE49-F238E27FC236}">
                  <a16:creationId xmlns:a16="http://schemas.microsoft.com/office/drawing/2014/main" id="{279A7883-CF82-F8C4-D30A-DC1B05E4EB96}"/>
                </a:ext>
              </a:extLst>
            </p:cNvPr>
            <p:cNvSpPr>
              <a:spLocks/>
            </p:cNvSpPr>
            <p:nvPr/>
          </p:nvSpPr>
          <p:spPr bwMode="auto">
            <a:xfrm>
              <a:off x="5333078" y="1656902"/>
              <a:ext cx="47157" cy="31630"/>
            </a:xfrm>
            <a:custGeom>
              <a:avLst/>
              <a:gdLst>
                <a:gd name="T0" fmla="*/ 4 w 82"/>
                <a:gd name="T1" fmla="*/ 46 h 55"/>
                <a:gd name="T2" fmla="*/ 4 w 82"/>
                <a:gd name="T3" fmla="*/ 46 h 55"/>
                <a:gd name="T4" fmla="*/ 7 w 82"/>
                <a:gd name="T5" fmla="*/ 49 h 55"/>
                <a:gd name="T6" fmla="*/ 11 w 82"/>
                <a:gd name="T7" fmla="*/ 53 h 55"/>
                <a:gd name="T8" fmla="*/ 16 w 82"/>
                <a:gd name="T9" fmla="*/ 55 h 55"/>
                <a:gd name="T10" fmla="*/ 19 w 82"/>
                <a:gd name="T11" fmla="*/ 55 h 55"/>
                <a:gd name="T12" fmla="*/ 19 w 82"/>
                <a:gd name="T13" fmla="*/ 55 h 55"/>
                <a:gd name="T14" fmla="*/ 48 w 82"/>
                <a:gd name="T15" fmla="*/ 39 h 55"/>
                <a:gd name="T16" fmla="*/ 75 w 82"/>
                <a:gd name="T17" fmla="*/ 24 h 55"/>
                <a:gd name="T18" fmla="*/ 75 w 82"/>
                <a:gd name="T19" fmla="*/ 24 h 55"/>
                <a:gd name="T20" fmla="*/ 77 w 82"/>
                <a:gd name="T21" fmla="*/ 22 h 55"/>
                <a:gd name="T22" fmla="*/ 80 w 82"/>
                <a:gd name="T23" fmla="*/ 18 h 55"/>
                <a:gd name="T24" fmla="*/ 82 w 82"/>
                <a:gd name="T25" fmla="*/ 14 h 55"/>
                <a:gd name="T26" fmla="*/ 82 w 82"/>
                <a:gd name="T27" fmla="*/ 11 h 55"/>
                <a:gd name="T28" fmla="*/ 82 w 82"/>
                <a:gd name="T29" fmla="*/ 11 h 55"/>
                <a:gd name="T30" fmla="*/ 80 w 82"/>
                <a:gd name="T31" fmla="*/ 0 h 55"/>
                <a:gd name="T32" fmla="*/ 80 w 82"/>
                <a:gd name="T33" fmla="*/ 0 h 55"/>
                <a:gd name="T34" fmla="*/ 59 w 82"/>
                <a:gd name="T35" fmla="*/ 7 h 55"/>
                <a:gd name="T36" fmla="*/ 38 w 82"/>
                <a:gd name="T37" fmla="*/ 15 h 55"/>
                <a:gd name="T38" fmla="*/ 18 w 82"/>
                <a:gd name="T39" fmla="*/ 25 h 55"/>
                <a:gd name="T40" fmla="*/ 0 w 82"/>
                <a:gd name="T41" fmla="*/ 35 h 55"/>
                <a:gd name="T42" fmla="*/ 0 w 82"/>
                <a:gd name="T43" fmla="*/ 35 h 55"/>
                <a:gd name="T44" fmla="*/ 4 w 82"/>
                <a:gd name="T45" fmla="*/ 46 h 55"/>
                <a:gd name="T46" fmla="*/ 4 w 82"/>
                <a:gd name="T47" fmla="*/ 46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2" h="55">
                  <a:moveTo>
                    <a:pt x="4" y="46"/>
                  </a:moveTo>
                  <a:lnTo>
                    <a:pt x="4" y="46"/>
                  </a:lnTo>
                  <a:lnTo>
                    <a:pt x="7" y="49"/>
                  </a:lnTo>
                  <a:lnTo>
                    <a:pt x="11" y="53"/>
                  </a:lnTo>
                  <a:lnTo>
                    <a:pt x="16" y="55"/>
                  </a:lnTo>
                  <a:lnTo>
                    <a:pt x="19" y="55"/>
                  </a:lnTo>
                  <a:lnTo>
                    <a:pt x="19" y="55"/>
                  </a:lnTo>
                  <a:lnTo>
                    <a:pt x="48" y="39"/>
                  </a:lnTo>
                  <a:lnTo>
                    <a:pt x="75" y="24"/>
                  </a:lnTo>
                  <a:lnTo>
                    <a:pt x="75" y="24"/>
                  </a:lnTo>
                  <a:lnTo>
                    <a:pt x="77" y="22"/>
                  </a:lnTo>
                  <a:lnTo>
                    <a:pt x="80" y="18"/>
                  </a:lnTo>
                  <a:lnTo>
                    <a:pt x="82" y="14"/>
                  </a:lnTo>
                  <a:lnTo>
                    <a:pt x="82" y="11"/>
                  </a:lnTo>
                  <a:lnTo>
                    <a:pt x="82" y="11"/>
                  </a:lnTo>
                  <a:lnTo>
                    <a:pt x="80" y="0"/>
                  </a:lnTo>
                  <a:lnTo>
                    <a:pt x="80" y="0"/>
                  </a:lnTo>
                  <a:lnTo>
                    <a:pt x="59" y="7"/>
                  </a:lnTo>
                  <a:lnTo>
                    <a:pt x="38" y="15"/>
                  </a:lnTo>
                  <a:lnTo>
                    <a:pt x="18" y="25"/>
                  </a:lnTo>
                  <a:lnTo>
                    <a:pt x="0" y="35"/>
                  </a:lnTo>
                  <a:lnTo>
                    <a:pt x="0" y="35"/>
                  </a:lnTo>
                  <a:lnTo>
                    <a:pt x="4" y="46"/>
                  </a:lnTo>
                  <a:lnTo>
                    <a:pt x="4" y="46"/>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78" name="Freeform 125">
              <a:extLst>
                <a:ext uri="{FF2B5EF4-FFF2-40B4-BE49-F238E27FC236}">
                  <a16:creationId xmlns:a16="http://schemas.microsoft.com/office/drawing/2014/main" id="{E47FD022-C618-5AB1-A7B8-8FF61A570752}"/>
                </a:ext>
              </a:extLst>
            </p:cNvPr>
            <p:cNvSpPr>
              <a:spLocks/>
            </p:cNvSpPr>
            <p:nvPr/>
          </p:nvSpPr>
          <p:spPr bwMode="auto">
            <a:xfrm>
              <a:off x="5493525" y="1656902"/>
              <a:ext cx="47732" cy="31630"/>
            </a:xfrm>
            <a:custGeom>
              <a:avLst/>
              <a:gdLst>
                <a:gd name="T0" fmla="*/ 2 w 83"/>
                <a:gd name="T1" fmla="*/ 0 h 55"/>
                <a:gd name="T2" fmla="*/ 2 w 83"/>
                <a:gd name="T3" fmla="*/ 0 h 55"/>
                <a:gd name="T4" fmla="*/ 0 w 83"/>
                <a:gd name="T5" fmla="*/ 11 h 55"/>
                <a:gd name="T6" fmla="*/ 0 w 83"/>
                <a:gd name="T7" fmla="*/ 11 h 55"/>
                <a:gd name="T8" fmla="*/ 0 w 83"/>
                <a:gd name="T9" fmla="*/ 14 h 55"/>
                <a:gd name="T10" fmla="*/ 2 w 83"/>
                <a:gd name="T11" fmla="*/ 18 h 55"/>
                <a:gd name="T12" fmla="*/ 4 w 83"/>
                <a:gd name="T13" fmla="*/ 22 h 55"/>
                <a:gd name="T14" fmla="*/ 7 w 83"/>
                <a:gd name="T15" fmla="*/ 24 h 55"/>
                <a:gd name="T16" fmla="*/ 7 w 83"/>
                <a:gd name="T17" fmla="*/ 24 h 55"/>
                <a:gd name="T18" fmla="*/ 34 w 83"/>
                <a:gd name="T19" fmla="*/ 39 h 55"/>
                <a:gd name="T20" fmla="*/ 64 w 83"/>
                <a:gd name="T21" fmla="*/ 55 h 55"/>
                <a:gd name="T22" fmla="*/ 64 w 83"/>
                <a:gd name="T23" fmla="*/ 55 h 55"/>
                <a:gd name="T24" fmla="*/ 67 w 83"/>
                <a:gd name="T25" fmla="*/ 55 h 55"/>
                <a:gd name="T26" fmla="*/ 72 w 83"/>
                <a:gd name="T27" fmla="*/ 53 h 55"/>
                <a:gd name="T28" fmla="*/ 75 w 83"/>
                <a:gd name="T29" fmla="*/ 49 h 55"/>
                <a:gd name="T30" fmla="*/ 78 w 83"/>
                <a:gd name="T31" fmla="*/ 46 h 55"/>
                <a:gd name="T32" fmla="*/ 78 w 83"/>
                <a:gd name="T33" fmla="*/ 46 h 55"/>
                <a:gd name="T34" fmla="*/ 83 w 83"/>
                <a:gd name="T35" fmla="*/ 35 h 55"/>
                <a:gd name="T36" fmla="*/ 83 w 83"/>
                <a:gd name="T37" fmla="*/ 35 h 55"/>
                <a:gd name="T38" fmla="*/ 64 w 83"/>
                <a:gd name="T39" fmla="*/ 25 h 55"/>
                <a:gd name="T40" fmla="*/ 45 w 83"/>
                <a:gd name="T41" fmla="*/ 15 h 55"/>
                <a:gd name="T42" fmla="*/ 24 w 83"/>
                <a:gd name="T43" fmla="*/ 7 h 55"/>
                <a:gd name="T44" fmla="*/ 2 w 83"/>
                <a:gd name="T45" fmla="*/ 0 h 55"/>
                <a:gd name="T46" fmla="*/ 2 w 83"/>
                <a:gd name="T47" fmla="*/ 0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83" h="55">
                  <a:moveTo>
                    <a:pt x="2" y="0"/>
                  </a:moveTo>
                  <a:lnTo>
                    <a:pt x="2" y="0"/>
                  </a:lnTo>
                  <a:lnTo>
                    <a:pt x="0" y="11"/>
                  </a:lnTo>
                  <a:lnTo>
                    <a:pt x="0" y="11"/>
                  </a:lnTo>
                  <a:lnTo>
                    <a:pt x="0" y="14"/>
                  </a:lnTo>
                  <a:lnTo>
                    <a:pt x="2" y="18"/>
                  </a:lnTo>
                  <a:lnTo>
                    <a:pt x="4" y="22"/>
                  </a:lnTo>
                  <a:lnTo>
                    <a:pt x="7" y="24"/>
                  </a:lnTo>
                  <a:lnTo>
                    <a:pt x="7" y="24"/>
                  </a:lnTo>
                  <a:lnTo>
                    <a:pt x="34" y="39"/>
                  </a:lnTo>
                  <a:lnTo>
                    <a:pt x="64" y="55"/>
                  </a:lnTo>
                  <a:lnTo>
                    <a:pt x="64" y="55"/>
                  </a:lnTo>
                  <a:lnTo>
                    <a:pt x="67" y="55"/>
                  </a:lnTo>
                  <a:lnTo>
                    <a:pt x="72" y="53"/>
                  </a:lnTo>
                  <a:lnTo>
                    <a:pt x="75" y="49"/>
                  </a:lnTo>
                  <a:lnTo>
                    <a:pt x="78" y="46"/>
                  </a:lnTo>
                  <a:lnTo>
                    <a:pt x="78" y="46"/>
                  </a:lnTo>
                  <a:lnTo>
                    <a:pt x="83" y="35"/>
                  </a:lnTo>
                  <a:lnTo>
                    <a:pt x="83" y="35"/>
                  </a:lnTo>
                  <a:lnTo>
                    <a:pt x="64" y="25"/>
                  </a:lnTo>
                  <a:lnTo>
                    <a:pt x="45" y="15"/>
                  </a:lnTo>
                  <a:lnTo>
                    <a:pt x="24" y="7"/>
                  </a:lnTo>
                  <a:lnTo>
                    <a:pt x="2" y="0"/>
                  </a:lnTo>
                  <a:lnTo>
                    <a:pt x="2" y="0"/>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grpSp>
      <p:grpSp>
        <p:nvGrpSpPr>
          <p:cNvPr id="79" name="Group 424">
            <a:extLst>
              <a:ext uri="{FF2B5EF4-FFF2-40B4-BE49-F238E27FC236}">
                <a16:creationId xmlns:a16="http://schemas.microsoft.com/office/drawing/2014/main" id="{5E4BE159-2286-1F49-8A60-7A602BB579DE}"/>
              </a:ext>
            </a:extLst>
          </p:cNvPr>
          <p:cNvGrpSpPr/>
          <p:nvPr/>
        </p:nvGrpSpPr>
        <p:grpSpPr>
          <a:xfrm>
            <a:off x="3538343" y="1719109"/>
            <a:ext cx="360000" cy="360000"/>
            <a:chOff x="4579938" y="4308475"/>
            <a:chExt cx="1112838" cy="1112838"/>
          </a:xfrm>
          <a:effectLst>
            <a:outerShdw blurRad="50800" dist="38100" dir="2700000" algn="tl" rotWithShape="0">
              <a:prstClr val="black">
                <a:alpha val="40000"/>
              </a:prstClr>
            </a:outerShdw>
          </a:effectLst>
        </p:grpSpPr>
        <p:sp>
          <p:nvSpPr>
            <p:cNvPr id="80" name="Freeform 23">
              <a:extLst>
                <a:ext uri="{FF2B5EF4-FFF2-40B4-BE49-F238E27FC236}">
                  <a16:creationId xmlns:a16="http://schemas.microsoft.com/office/drawing/2014/main" id="{427CE1C4-6B9A-32D7-546B-951372BECC8D}"/>
                </a:ext>
              </a:extLst>
            </p:cNvPr>
            <p:cNvSpPr>
              <a:spLocks/>
            </p:cNvSpPr>
            <p:nvPr/>
          </p:nvSpPr>
          <p:spPr bwMode="auto">
            <a:xfrm>
              <a:off x="4579938" y="4308475"/>
              <a:ext cx="1112838" cy="1112838"/>
            </a:xfrm>
            <a:custGeom>
              <a:avLst/>
              <a:gdLst>
                <a:gd name="T0" fmla="*/ 332 w 701"/>
                <a:gd name="T1" fmla="*/ 701 h 701"/>
                <a:gd name="T2" fmla="*/ 280 w 701"/>
                <a:gd name="T3" fmla="*/ 694 h 701"/>
                <a:gd name="T4" fmla="*/ 230 w 701"/>
                <a:gd name="T5" fmla="*/ 680 h 701"/>
                <a:gd name="T6" fmla="*/ 184 w 701"/>
                <a:gd name="T7" fmla="*/ 659 h 701"/>
                <a:gd name="T8" fmla="*/ 141 w 701"/>
                <a:gd name="T9" fmla="*/ 631 h 701"/>
                <a:gd name="T10" fmla="*/ 103 w 701"/>
                <a:gd name="T11" fmla="*/ 598 h 701"/>
                <a:gd name="T12" fmla="*/ 69 w 701"/>
                <a:gd name="T13" fmla="*/ 560 h 701"/>
                <a:gd name="T14" fmla="*/ 42 w 701"/>
                <a:gd name="T15" fmla="*/ 518 h 701"/>
                <a:gd name="T16" fmla="*/ 21 w 701"/>
                <a:gd name="T17" fmla="*/ 471 h 701"/>
                <a:gd name="T18" fmla="*/ 8 w 701"/>
                <a:gd name="T19" fmla="*/ 421 h 701"/>
                <a:gd name="T20" fmla="*/ 0 w 701"/>
                <a:gd name="T21" fmla="*/ 369 h 701"/>
                <a:gd name="T22" fmla="*/ 0 w 701"/>
                <a:gd name="T23" fmla="*/ 333 h 701"/>
                <a:gd name="T24" fmla="*/ 8 w 701"/>
                <a:gd name="T25" fmla="*/ 280 h 701"/>
                <a:gd name="T26" fmla="*/ 21 w 701"/>
                <a:gd name="T27" fmla="*/ 231 h 701"/>
                <a:gd name="T28" fmla="*/ 42 w 701"/>
                <a:gd name="T29" fmla="*/ 184 h 701"/>
                <a:gd name="T30" fmla="*/ 69 w 701"/>
                <a:gd name="T31" fmla="*/ 141 h 701"/>
                <a:gd name="T32" fmla="*/ 103 w 701"/>
                <a:gd name="T33" fmla="*/ 102 h 701"/>
                <a:gd name="T34" fmla="*/ 141 w 701"/>
                <a:gd name="T35" fmla="*/ 70 h 701"/>
                <a:gd name="T36" fmla="*/ 184 w 701"/>
                <a:gd name="T37" fmla="*/ 42 h 701"/>
                <a:gd name="T38" fmla="*/ 230 w 701"/>
                <a:gd name="T39" fmla="*/ 21 h 701"/>
                <a:gd name="T40" fmla="*/ 280 w 701"/>
                <a:gd name="T41" fmla="*/ 7 h 701"/>
                <a:gd name="T42" fmla="*/ 332 w 701"/>
                <a:gd name="T43" fmla="*/ 0 h 701"/>
                <a:gd name="T44" fmla="*/ 369 w 701"/>
                <a:gd name="T45" fmla="*/ 0 h 701"/>
                <a:gd name="T46" fmla="*/ 421 w 701"/>
                <a:gd name="T47" fmla="*/ 7 h 701"/>
                <a:gd name="T48" fmla="*/ 472 w 701"/>
                <a:gd name="T49" fmla="*/ 21 h 701"/>
                <a:gd name="T50" fmla="*/ 517 w 701"/>
                <a:gd name="T51" fmla="*/ 42 h 701"/>
                <a:gd name="T52" fmla="*/ 560 w 701"/>
                <a:gd name="T53" fmla="*/ 70 h 701"/>
                <a:gd name="T54" fmla="*/ 599 w 701"/>
                <a:gd name="T55" fmla="*/ 102 h 701"/>
                <a:gd name="T56" fmla="*/ 632 w 701"/>
                <a:gd name="T57" fmla="*/ 141 h 701"/>
                <a:gd name="T58" fmla="*/ 659 w 701"/>
                <a:gd name="T59" fmla="*/ 184 h 701"/>
                <a:gd name="T60" fmla="*/ 680 w 701"/>
                <a:gd name="T61" fmla="*/ 231 h 701"/>
                <a:gd name="T62" fmla="*/ 694 w 701"/>
                <a:gd name="T63" fmla="*/ 280 h 701"/>
                <a:gd name="T64" fmla="*/ 701 w 701"/>
                <a:gd name="T65" fmla="*/ 333 h 701"/>
                <a:gd name="T66" fmla="*/ 701 w 701"/>
                <a:gd name="T67" fmla="*/ 369 h 701"/>
                <a:gd name="T68" fmla="*/ 694 w 701"/>
                <a:gd name="T69" fmla="*/ 421 h 701"/>
                <a:gd name="T70" fmla="*/ 680 w 701"/>
                <a:gd name="T71" fmla="*/ 471 h 701"/>
                <a:gd name="T72" fmla="*/ 659 w 701"/>
                <a:gd name="T73" fmla="*/ 518 h 701"/>
                <a:gd name="T74" fmla="*/ 632 w 701"/>
                <a:gd name="T75" fmla="*/ 560 h 701"/>
                <a:gd name="T76" fmla="*/ 599 w 701"/>
                <a:gd name="T77" fmla="*/ 598 h 701"/>
                <a:gd name="T78" fmla="*/ 560 w 701"/>
                <a:gd name="T79" fmla="*/ 631 h 701"/>
                <a:gd name="T80" fmla="*/ 517 w 701"/>
                <a:gd name="T81" fmla="*/ 659 h 701"/>
                <a:gd name="T82" fmla="*/ 472 w 701"/>
                <a:gd name="T83" fmla="*/ 680 h 701"/>
                <a:gd name="T84" fmla="*/ 421 w 701"/>
                <a:gd name="T85" fmla="*/ 694 h 701"/>
                <a:gd name="T86" fmla="*/ 369 w 701"/>
                <a:gd name="T87" fmla="*/ 701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1">
                  <a:moveTo>
                    <a:pt x="351" y="701"/>
                  </a:moveTo>
                  <a:lnTo>
                    <a:pt x="351" y="701"/>
                  </a:lnTo>
                  <a:lnTo>
                    <a:pt x="332" y="701"/>
                  </a:lnTo>
                  <a:lnTo>
                    <a:pt x="315" y="699"/>
                  </a:lnTo>
                  <a:lnTo>
                    <a:pt x="298" y="697"/>
                  </a:lnTo>
                  <a:lnTo>
                    <a:pt x="280" y="694"/>
                  </a:lnTo>
                  <a:lnTo>
                    <a:pt x="263" y="689"/>
                  </a:lnTo>
                  <a:lnTo>
                    <a:pt x="247" y="686"/>
                  </a:lnTo>
                  <a:lnTo>
                    <a:pt x="230" y="680"/>
                  </a:lnTo>
                  <a:lnTo>
                    <a:pt x="214" y="673"/>
                  </a:lnTo>
                  <a:lnTo>
                    <a:pt x="199" y="666"/>
                  </a:lnTo>
                  <a:lnTo>
                    <a:pt x="184" y="659"/>
                  </a:lnTo>
                  <a:lnTo>
                    <a:pt x="169" y="650"/>
                  </a:lnTo>
                  <a:lnTo>
                    <a:pt x="155" y="641"/>
                  </a:lnTo>
                  <a:lnTo>
                    <a:pt x="141" y="631"/>
                  </a:lnTo>
                  <a:lnTo>
                    <a:pt x="127" y="620"/>
                  </a:lnTo>
                  <a:lnTo>
                    <a:pt x="115" y="611"/>
                  </a:lnTo>
                  <a:lnTo>
                    <a:pt x="103" y="598"/>
                  </a:lnTo>
                  <a:lnTo>
                    <a:pt x="92" y="586"/>
                  </a:lnTo>
                  <a:lnTo>
                    <a:pt x="81" y="573"/>
                  </a:lnTo>
                  <a:lnTo>
                    <a:pt x="69" y="560"/>
                  </a:lnTo>
                  <a:lnTo>
                    <a:pt x="60" y="546"/>
                  </a:lnTo>
                  <a:lnTo>
                    <a:pt x="51" y="533"/>
                  </a:lnTo>
                  <a:lnTo>
                    <a:pt x="42" y="518"/>
                  </a:lnTo>
                  <a:lnTo>
                    <a:pt x="35" y="502"/>
                  </a:lnTo>
                  <a:lnTo>
                    <a:pt x="28" y="487"/>
                  </a:lnTo>
                  <a:lnTo>
                    <a:pt x="21" y="471"/>
                  </a:lnTo>
                  <a:lnTo>
                    <a:pt x="16" y="455"/>
                  </a:lnTo>
                  <a:lnTo>
                    <a:pt x="11" y="438"/>
                  </a:lnTo>
                  <a:lnTo>
                    <a:pt x="8" y="421"/>
                  </a:lnTo>
                  <a:lnTo>
                    <a:pt x="4" y="403"/>
                  </a:lnTo>
                  <a:lnTo>
                    <a:pt x="2" y="386"/>
                  </a:lnTo>
                  <a:lnTo>
                    <a:pt x="0" y="369"/>
                  </a:lnTo>
                  <a:lnTo>
                    <a:pt x="0" y="350"/>
                  </a:lnTo>
                  <a:lnTo>
                    <a:pt x="0" y="350"/>
                  </a:lnTo>
                  <a:lnTo>
                    <a:pt x="0" y="333"/>
                  </a:lnTo>
                  <a:lnTo>
                    <a:pt x="2" y="314"/>
                  </a:lnTo>
                  <a:lnTo>
                    <a:pt x="4" y="297"/>
                  </a:lnTo>
                  <a:lnTo>
                    <a:pt x="8" y="280"/>
                  </a:lnTo>
                  <a:lnTo>
                    <a:pt x="11" y="263"/>
                  </a:lnTo>
                  <a:lnTo>
                    <a:pt x="16" y="247"/>
                  </a:lnTo>
                  <a:lnTo>
                    <a:pt x="21" y="231"/>
                  </a:lnTo>
                  <a:lnTo>
                    <a:pt x="28" y="215"/>
                  </a:lnTo>
                  <a:lnTo>
                    <a:pt x="35" y="198"/>
                  </a:lnTo>
                  <a:lnTo>
                    <a:pt x="42" y="184"/>
                  </a:lnTo>
                  <a:lnTo>
                    <a:pt x="51" y="169"/>
                  </a:lnTo>
                  <a:lnTo>
                    <a:pt x="60" y="154"/>
                  </a:lnTo>
                  <a:lnTo>
                    <a:pt x="69" y="141"/>
                  </a:lnTo>
                  <a:lnTo>
                    <a:pt x="81" y="127"/>
                  </a:lnTo>
                  <a:lnTo>
                    <a:pt x="92" y="115"/>
                  </a:lnTo>
                  <a:lnTo>
                    <a:pt x="103" y="102"/>
                  </a:lnTo>
                  <a:lnTo>
                    <a:pt x="115" y="91"/>
                  </a:lnTo>
                  <a:lnTo>
                    <a:pt x="127" y="80"/>
                  </a:lnTo>
                  <a:lnTo>
                    <a:pt x="141" y="70"/>
                  </a:lnTo>
                  <a:lnTo>
                    <a:pt x="155" y="60"/>
                  </a:lnTo>
                  <a:lnTo>
                    <a:pt x="169" y="50"/>
                  </a:lnTo>
                  <a:lnTo>
                    <a:pt x="184" y="42"/>
                  </a:lnTo>
                  <a:lnTo>
                    <a:pt x="199" y="34"/>
                  </a:lnTo>
                  <a:lnTo>
                    <a:pt x="214" y="27"/>
                  </a:lnTo>
                  <a:lnTo>
                    <a:pt x="230" y="21"/>
                  </a:lnTo>
                  <a:lnTo>
                    <a:pt x="247" y="16"/>
                  </a:lnTo>
                  <a:lnTo>
                    <a:pt x="263" y="11"/>
                  </a:lnTo>
                  <a:lnTo>
                    <a:pt x="280" y="7"/>
                  </a:lnTo>
                  <a:lnTo>
                    <a:pt x="298" y="4"/>
                  </a:lnTo>
                  <a:lnTo>
                    <a:pt x="315" y="2"/>
                  </a:lnTo>
                  <a:lnTo>
                    <a:pt x="332" y="0"/>
                  </a:lnTo>
                  <a:lnTo>
                    <a:pt x="351" y="0"/>
                  </a:lnTo>
                  <a:lnTo>
                    <a:pt x="351" y="0"/>
                  </a:lnTo>
                  <a:lnTo>
                    <a:pt x="369" y="0"/>
                  </a:lnTo>
                  <a:lnTo>
                    <a:pt x="386" y="2"/>
                  </a:lnTo>
                  <a:lnTo>
                    <a:pt x="404" y="4"/>
                  </a:lnTo>
                  <a:lnTo>
                    <a:pt x="421" y="7"/>
                  </a:lnTo>
                  <a:lnTo>
                    <a:pt x="438" y="11"/>
                  </a:lnTo>
                  <a:lnTo>
                    <a:pt x="456" y="16"/>
                  </a:lnTo>
                  <a:lnTo>
                    <a:pt x="472" y="21"/>
                  </a:lnTo>
                  <a:lnTo>
                    <a:pt x="488" y="27"/>
                  </a:lnTo>
                  <a:lnTo>
                    <a:pt x="502" y="34"/>
                  </a:lnTo>
                  <a:lnTo>
                    <a:pt x="517" y="42"/>
                  </a:lnTo>
                  <a:lnTo>
                    <a:pt x="532" y="50"/>
                  </a:lnTo>
                  <a:lnTo>
                    <a:pt x="547" y="60"/>
                  </a:lnTo>
                  <a:lnTo>
                    <a:pt x="560" y="70"/>
                  </a:lnTo>
                  <a:lnTo>
                    <a:pt x="574" y="80"/>
                  </a:lnTo>
                  <a:lnTo>
                    <a:pt x="586" y="91"/>
                  </a:lnTo>
                  <a:lnTo>
                    <a:pt x="599" y="102"/>
                  </a:lnTo>
                  <a:lnTo>
                    <a:pt x="610" y="115"/>
                  </a:lnTo>
                  <a:lnTo>
                    <a:pt x="621" y="127"/>
                  </a:lnTo>
                  <a:lnTo>
                    <a:pt x="632" y="141"/>
                  </a:lnTo>
                  <a:lnTo>
                    <a:pt x="642" y="154"/>
                  </a:lnTo>
                  <a:lnTo>
                    <a:pt x="650" y="169"/>
                  </a:lnTo>
                  <a:lnTo>
                    <a:pt x="659" y="184"/>
                  </a:lnTo>
                  <a:lnTo>
                    <a:pt x="666" y="198"/>
                  </a:lnTo>
                  <a:lnTo>
                    <a:pt x="674" y="215"/>
                  </a:lnTo>
                  <a:lnTo>
                    <a:pt x="680" y="231"/>
                  </a:lnTo>
                  <a:lnTo>
                    <a:pt x="685" y="247"/>
                  </a:lnTo>
                  <a:lnTo>
                    <a:pt x="690" y="263"/>
                  </a:lnTo>
                  <a:lnTo>
                    <a:pt x="694" y="280"/>
                  </a:lnTo>
                  <a:lnTo>
                    <a:pt x="697" y="297"/>
                  </a:lnTo>
                  <a:lnTo>
                    <a:pt x="700" y="314"/>
                  </a:lnTo>
                  <a:lnTo>
                    <a:pt x="701" y="333"/>
                  </a:lnTo>
                  <a:lnTo>
                    <a:pt x="701" y="350"/>
                  </a:lnTo>
                  <a:lnTo>
                    <a:pt x="701" y="350"/>
                  </a:lnTo>
                  <a:lnTo>
                    <a:pt x="701" y="369"/>
                  </a:lnTo>
                  <a:lnTo>
                    <a:pt x="700" y="386"/>
                  </a:lnTo>
                  <a:lnTo>
                    <a:pt x="697" y="403"/>
                  </a:lnTo>
                  <a:lnTo>
                    <a:pt x="694" y="421"/>
                  </a:lnTo>
                  <a:lnTo>
                    <a:pt x="690" y="438"/>
                  </a:lnTo>
                  <a:lnTo>
                    <a:pt x="685" y="455"/>
                  </a:lnTo>
                  <a:lnTo>
                    <a:pt x="680" y="471"/>
                  </a:lnTo>
                  <a:lnTo>
                    <a:pt x="674" y="487"/>
                  </a:lnTo>
                  <a:lnTo>
                    <a:pt x="666" y="502"/>
                  </a:lnTo>
                  <a:lnTo>
                    <a:pt x="659" y="518"/>
                  </a:lnTo>
                  <a:lnTo>
                    <a:pt x="650" y="533"/>
                  </a:lnTo>
                  <a:lnTo>
                    <a:pt x="642" y="546"/>
                  </a:lnTo>
                  <a:lnTo>
                    <a:pt x="632" y="560"/>
                  </a:lnTo>
                  <a:lnTo>
                    <a:pt x="621" y="573"/>
                  </a:lnTo>
                  <a:lnTo>
                    <a:pt x="610" y="586"/>
                  </a:lnTo>
                  <a:lnTo>
                    <a:pt x="599" y="598"/>
                  </a:lnTo>
                  <a:lnTo>
                    <a:pt x="586" y="611"/>
                  </a:lnTo>
                  <a:lnTo>
                    <a:pt x="574" y="620"/>
                  </a:lnTo>
                  <a:lnTo>
                    <a:pt x="560" y="631"/>
                  </a:lnTo>
                  <a:lnTo>
                    <a:pt x="547" y="641"/>
                  </a:lnTo>
                  <a:lnTo>
                    <a:pt x="532" y="650"/>
                  </a:lnTo>
                  <a:lnTo>
                    <a:pt x="517" y="659"/>
                  </a:lnTo>
                  <a:lnTo>
                    <a:pt x="502" y="666"/>
                  </a:lnTo>
                  <a:lnTo>
                    <a:pt x="488" y="673"/>
                  </a:lnTo>
                  <a:lnTo>
                    <a:pt x="472" y="680"/>
                  </a:lnTo>
                  <a:lnTo>
                    <a:pt x="456" y="686"/>
                  </a:lnTo>
                  <a:lnTo>
                    <a:pt x="438" y="689"/>
                  </a:lnTo>
                  <a:lnTo>
                    <a:pt x="421" y="694"/>
                  </a:lnTo>
                  <a:lnTo>
                    <a:pt x="404" y="697"/>
                  </a:lnTo>
                  <a:lnTo>
                    <a:pt x="386" y="699"/>
                  </a:lnTo>
                  <a:lnTo>
                    <a:pt x="369" y="701"/>
                  </a:lnTo>
                  <a:lnTo>
                    <a:pt x="351" y="701"/>
                  </a:lnTo>
                  <a:lnTo>
                    <a:pt x="351" y="701"/>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82" name="Freeform 325">
              <a:extLst>
                <a:ext uri="{FF2B5EF4-FFF2-40B4-BE49-F238E27FC236}">
                  <a16:creationId xmlns:a16="http://schemas.microsoft.com/office/drawing/2014/main" id="{3DCC4087-97C4-758C-8960-37681D4AD14D}"/>
                </a:ext>
              </a:extLst>
            </p:cNvPr>
            <p:cNvSpPr>
              <a:spLocks/>
            </p:cNvSpPr>
            <p:nvPr/>
          </p:nvSpPr>
          <p:spPr bwMode="auto">
            <a:xfrm>
              <a:off x="4918077" y="4566446"/>
              <a:ext cx="436563" cy="596898"/>
            </a:xfrm>
            <a:custGeom>
              <a:avLst/>
              <a:gdLst>
                <a:gd name="T0" fmla="*/ 0 w 275"/>
                <a:gd name="T1" fmla="*/ 376 h 376"/>
                <a:gd name="T2" fmla="*/ 0 w 275"/>
                <a:gd name="T3" fmla="*/ 174 h 376"/>
                <a:gd name="T4" fmla="*/ 0 w 275"/>
                <a:gd name="T5" fmla="*/ 73 h 376"/>
                <a:gd name="T6" fmla="*/ 71 w 275"/>
                <a:gd name="T7" fmla="*/ 0 h 376"/>
                <a:gd name="T8" fmla="*/ 275 w 275"/>
                <a:gd name="T9" fmla="*/ 0 h 376"/>
                <a:gd name="T10" fmla="*/ 275 w 275"/>
                <a:gd name="T11" fmla="*/ 75 h 376"/>
                <a:gd name="T12" fmla="*/ 275 w 275"/>
                <a:gd name="T13" fmla="*/ 174 h 376"/>
                <a:gd name="T14" fmla="*/ 275 w 275"/>
                <a:gd name="T15" fmla="*/ 376 h 376"/>
                <a:gd name="T16" fmla="*/ 0 w 275"/>
                <a:gd name="T17" fmla="*/ 37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 h="376">
                  <a:moveTo>
                    <a:pt x="0" y="376"/>
                  </a:moveTo>
                  <a:lnTo>
                    <a:pt x="0" y="174"/>
                  </a:lnTo>
                  <a:lnTo>
                    <a:pt x="0" y="73"/>
                  </a:lnTo>
                  <a:lnTo>
                    <a:pt x="71" y="0"/>
                  </a:lnTo>
                  <a:lnTo>
                    <a:pt x="275" y="0"/>
                  </a:lnTo>
                  <a:lnTo>
                    <a:pt x="275" y="75"/>
                  </a:lnTo>
                  <a:lnTo>
                    <a:pt x="275" y="174"/>
                  </a:lnTo>
                  <a:lnTo>
                    <a:pt x="275" y="376"/>
                  </a:lnTo>
                  <a:lnTo>
                    <a:pt x="0" y="3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83" name="Freeform 326">
              <a:extLst>
                <a:ext uri="{FF2B5EF4-FFF2-40B4-BE49-F238E27FC236}">
                  <a16:creationId xmlns:a16="http://schemas.microsoft.com/office/drawing/2014/main" id="{A6F1775C-A4E5-27C3-E82A-DF107CB85C1C}"/>
                </a:ext>
              </a:extLst>
            </p:cNvPr>
            <p:cNvSpPr>
              <a:spLocks/>
            </p:cNvSpPr>
            <p:nvPr/>
          </p:nvSpPr>
          <p:spPr bwMode="auto">
            <a:xfrm>
              <a:off x="4878388" y="4570413"/>
              <a:ext cx="112713" cy="115888"/>
            </a:xfrm>
            <a:custGeom>
              <a:avLst/>
              <a:gdLst>
                <a:gd name="T0" fmla="*/ 71 w 71"/>
                <a:gd name="T1" fmla="*/ 73 h 73"/>
                <a:gd name="T2" fmla="*/ 0 w 71"/>
                <a:gd name="T3" fmla="*/ 73 h 73"/>
                <a:gd name="T4" fmla="*/ 71 w 71"/>
                <a:gd name="T5" fmla="*/ 0 h 73"/>
                <a:gd name="T6" fmla="*/ 71 w 71"/>
                <a:gd name="T7" fmla="*/ 73 h 73"/>
              </a:gdLst>
              <a:ahLst/>
              <a:cxnLst>
                <a:cxn ang="0">
                  <a:pos x="T0" y="T1"/>
                </a:cxn>
                <a:cxn ang="0">
                  <a:pos x="T2" y="T3"/>
                </a:cxn>
                <a:cxn ang="0">
                  <a:pos x="T4" y="T5"/>
                </a:cxn>
                <a:cxn ang="0">
                  <a:pos x="T6" y="T7"/>
                </a:cxn>
              </a:cxnLst>
              <a:rect l="0" t="0" r="r" b="b"/>
              <a:pathLst>
                <a:path w="71" h="73">
                  <a:moveTo>
                    <a:pt x="71" y="73"/>
                  </a:moveTo>
                  <a:lnTo>
                    <a:pt x="0" y="73"/>
                  </a:lnTo>
                  <a:lnTo>
                    <a:pt x="71" y="0"/>
                  </a:lnTo>
                  <a:lnTo>
                    <a:pt x="71" y="73"/>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84" name="Freeform 327">
              <a:extLst>
                <a:ext uri="{FF2B5EF4-FFF2-40B4-BE49-F238E27FC236}">
                  <a16:creationId xmlns:a16="http://schemas.microsoft.com/office/drawing/2014/main" id="{A490EC03-7F3E-CA0D-ED80-24FE729794F4}"/>
                </a:ext>
              </a:extLst>
            </p:cNvPr>
            <p:cNvSpPr>
              <a:spLocks/>
            </p:cNvSpPr>
            <p:nvPr/>
          </p:nvSpPr>
          <p:spPr bwMode="auto">
            <a:xfrm>
              <a:off x="4878388" y="4686300"/>
              <a:ext cx="112713" cy="115888"/>
            </a:xfrm>
            <a:custGeom>
              <a:avLst/>
              <a:gdLst>
                <a:gd name="T0" fmla="*/ 0 w 71"/>
                <a:gd name="T1" fmla="*/ 0 h 73"/>
                <a:gd name="T2" fmla="*/ 71 w 71"/>
                <a:gd name="T3" fmla="*/ 0 h 73"/>
                <a:gd name="T4" fmla="*/ 0 w 71"/>
                <a:gd name="T5" fmla="*/ 73 h 73"/>
                <a:gd name="T6" fmla="*/ 0 w 71"/>
                <a:gd name="T7" fmla="*/ 0 h 73"/>
              </a:gdLst>
              <a:ahLst/>
              <a:cxnLst>
                <a:cxn ang="0">
                  <a:pos x="T0" y="T1"/>
                </a:cxn>
                <a:cxn ang="0">
                  <a:pos x="T2" y="T3"/>
                </a:cxn>
                <a:cxn ang="0">
                  <a:pos x="T4" y="T5"/>
                </a:cxn>
                <a:cxn ang="0">
                  <a:pos x="T6" y="T7"/>
                </a:cxn>
              </a:cxnLst>
              <a:rect l="0" t="0" r="r" b="b"/>
              <a:pathLst>
                <a:path w="71" h="73">
                  <a:moveTo>
                    <a:pt x="0" y="0"/>
                  </a:moveTo>
                  <a:lnTo>
                    <a:pt x="71" y="0"/>
                  </a:lnTo>
                  <a:lnTo>
                    <a:pt x="0" y="73"/>
                  </a:lnTo>
                  <a:lnTo>
                    <a:pt x="0" y="0"/>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85" name="Freeform 328">
              <a:extLst>
                <a:ext uri="{FF2B5EF4-FFF2-40B4-BE49-F238E27FC236}">
                  <a16:creationId xmlns:a16="http://schemas.microsoft.com/office/drawing/2014/main" id="{144AFA53-56FC-A8B5-8CD9-2D51F4B5653F}"/>
                </a:ext>
              </a:extLst>
            </p:cNvPr>
            <p:cNvSpPr>
              <a:spLocks/>
            </p:cNvSpPr>
            <p:nvPr/>
          </p:nvSpPr>
          <p:spPr bwMode="auto">
            <a:xfrm>
              <a:off x="5011738" y="4929188"/>
              <a:ext cx="179388" cy="182563"/>
            </a:xfrm>
            <a:custGeom>
              <a:avLst/>
              <a:gdLst>
                <a:gd name="T0" fmla="*/ 18 w 113"/>
                <a:gd name="T1" fmla="*/ 43 h 115"/>
                <a:gd name="T2" fmla="*/ 18 w 113"/>
                <a:gd name="T3" fmla="*/ 43 h 115"/>
                <a:gd name="T4" fmla="*/ 21 w 113"/>
                <a:gd name="T5" fmla="*/ 49 h 115"/>
                <a:gd name="T6" fmla="*/ 22 w 113"/>
                <a:gd name="T7" fmla="*/ 55 h 115"/>
                <a:gd name="T8" fmla="*/ 21 w 113"/>
                <a:gd name="T9" fmla="*/ 63 h 115"/>
                <a:gd name="T10" fmla="*/ 19 w 113"/>
                <a:gd name="T11" fmla="*/ 71 h 115"/>
                <a:gd name="T12" fmla="*/ 16 w 113"/>
                <a:gd name="T13" fmla="*/ 80 h 115"/>
                <a:gd name="T14" fmla="*/ 12 w 113"/>
                <a:gd name="T15" fmla="*/ 89 h 115"/>
                <a:gd name="T16" fmla="*/ 6 w 113"/>
                <a:gd name="T17" fmla="*/ 97 h 115"/>
                <a:gd name="T18" fmla="*/ 0 w 113"/>
                <a:gd name="T19" fmla="*/ 106 h 115"/>
                <a:gd name="T20" fmla="*/ 2 w 113"/>
                <a:gd name="T21" fmla="*/ 108 h 115"/>
                <a:gd name="T22" fmla="*/ 2 w 113"/>
                <a:gd name="T23" fmla="*/ 108 h 115"/>
                <a:gd name="T24" fmla="*/ 48 w 113"/>
                <a:gd name="T25" fmla="*/ 63 h 115"/>
                <a:gd name="T26" fmla="*/ 48 w 113"/>
                <a:gd name="T27" fmla="*/ 63 h 115"/>
                <a:gd name="T28" fmla="*/ 47 w 113"/>
                <a:gd name="T29" fmla="*/ 59 h 115"/>
                <a:gd name="T30" fmla="*/ 49 w 113"/>
                <a:gd name="T31" fmla="*/ 55 h 115"/>
                <a:gd name="T32" fmla="*/ 49 w 113"/>
                <a:gd name="T33" fmla="*/ 55 h 115"/>
                <a:gd name="T34" fmla="*/ 50 w 113"/>
                <a:gd name="T35" fmla="*/ 54 h 115"/>
                <a:gd name="T36" fmla="*/ 53 w 113"/>
                <a:gd name="T37" fmla="*/ 54 h 115"/>
                <a:gd name="T38" fmla="*/ 55 w 113"/>
                <a:gd name="T39" fmla="*/ 54 h 115"/>
                <a:gd name="T40" fmla="*/ 58 w 113"/>
                <a:gd name="T41" fmla="*/ 55 h 115"/>
                <a:gd name="T42" fmla="*/ 58 w 113"/>
                <a:gd name="T43" fmla="*/ 55 h 115"/>
                <a:gd name="T44" fmla="*/ 59 w 113"/>
                <a:gd name="T45" fmla="*/ 58 h 115"/>
                <a:gd name="T46" fmla="*/ 59 w 113"/>
                <a:gd name="T47" fmla="*/ 60 h 115"/>
                <a:gd name="T48" fmla="*/ 59 w 113"/>
                <a:gd name="T49" fmla="*/ 63 h 115"/>
                <a:gd name="T50" fmla="*/ 58 w 113"/>
                <a:gd name="T51" fmla="*/ 64 h 115"/>
                <a:gd name="T52" fmla="*/ 58 w 113"/>
                <a:gd name="T53" fmla="*/ 64 h 115"/>
                <a:gd name="T54" fmla="*/ 54 w 113"/>
                <a:gd name="T55" fmla="*/ 67 h 115"/>
                <a:gd name="T56" fmla="*/ 50 w 113"/>
                <a:gd name="T57" fmla="*/ 65 h 115"/>
                <a:gd name="T58" fmla="*/ 5 w 113"/>
                <a:gd name="T59" fmla="*/ 111 h 115"/>
                <a:gd name="T60" fmla="*/ 5 w 113"/>
                <a:gd name="T61" fmla="*/ 111 h 115"/>
                <a:gd name="T62" fmla="*/ 7 w 113"/>
                <a:gd name="T63" fmla="*/ 115 h 115"/>
                <a:gd name="T64" fmla="*/ 7 w 113"/>
                <a:gd name="T65" fmla="*/ 115 h 115"/>
                <a:gd name="T66" fmla="*/ 16 w 113"/>
                <a:gd name="T67" fmla="*/ 107 h 115"/>
                <a:gd name="T68" fmla="*/ 24 w 113"/>
                <a:gd name="T69" fmla="*/ 102 h 115"/>
                <a:gd name="T70" fmla="*/ 33 w 113"/>
                <a:gd name="T71" fmla="*/ 97 h 115"/>
                <a:gd name="T72" fmla="*/ 42 w 113"/>
                <a:gd name="T73" fmla="*/ 94 h 115"/>
                <a:gd name="T74" fmla="*/ 50 w 113"/>
                <a:gd name="T75" fmla="*/ 92 h 115"/>
                <a:gd name="T76" fmla="*/ 58 w 113"/>
                <a:gd name="T77" fmla="*/ 91 h 115"/>
                <a:gd name="T78" fmla="*/ 65 w 113"/>
                <a:gd name="T79" fmla="*/ 92 h 115"/>
                <a:gd name="T80" fmla="*/ 71 w 113"/>
                <a:gd name="T81" fmla="*/ 95 h 115"/>
                <a:gd name="T82" fmla="*/ 71 w 113"/>
                <a:gd name="T83" fmla="*/ 95 h 115"/>
                <a:gd name="T84" fmla="*/ 80 w 113"/>
                <a:gd name="T85" fmla="*/ 81 h 115"/>
                <a:gd name="T86" fmla="*/ 90 w 113"/>
                <a:gd name="T87" fmla="*/ 67 h 115"/>
                <a:gd name="T88" fmla="*/ 90 w 113"/>
                <a:gd name="T89" fmla="*/ 67 h 115"/>
                <a:gd name="T90" fmla="*/ 102 w 113"/>
                <a:gd name="T91" fmla="*/ 54 h 115"/>
                <a:gd name="T92" fmla="*/ 113 w 113"/>
                <a:gd name="T93" fmla="*/ 43 h 115"/>
                <a:gd name="T94" fmla="*/ 113 w 113"/>
                <a:gd name="T95" fmla="*/ 43 h 115"/>
                <a:gd name="T96" fmla="*/ 102 w 113"/>
                <a:gd name="T97" fmla="*/ 34 h 115"/>
                <a:gd name="T98" fmla="*/ 90 w 113"/>
                <a:gd name="T99" fmla="*/ 23 h 115"/>
                <a:gd name="T100" fmla="*/ 90 w 113"/>
                <a:gd name="T101" fmla="*/ 23 h 115"/>
                <a:gd name="T102" fmla="*/ 80 w 113"/>
                <a:gd name="T103" fmla="*/ 12 h 115"/>
                <a:gd name="T104" fmla="*/ 70 w 113"/>
                <a:gd name="T105" fmla="*/ 0 h 115"/>
                <a:gd name="T106" fmla="*/ 70 w 113"/>
                <a:gd name="T107" fmla="*/ 0 h 115"/>
                <a:gd name="T108" fmla="*/ 59 w 113"/>
                <a:gd name="T109" fmla="*/ 12 h 115"/>
                <a:gd name="T110" fmla="*/ 47 w 113"/>
                <a:gd name="T111" fmla="*/ 23 h 115"/>
                <a:gd name="T112" fmla="*/ 47 w 113"/>
                <a:gd name="T113" fmla="*/ 23 h 115"/>
                <a:gd name="T114" fmla="*/ 33 w 113"/>
                <a:gd name="T115" fmla="*/ 33 h 115"/>
                <a:gd name="T116" fmla="*/ 18 w 113"/>
                <a:gd name="T117" fmla="*/ 43 h 115"/>
                <a:gd name="T118" fmla="*/ 18 w 113"/>
                <a:gd name="T119" fmla="*/ 4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115">
                  <a:moveTo>
                    <a:pt x="18" y="43"/>
                  </a:moveTo>
                  <a:lnTo>
                    <a:pt x="18" y="43"/>
                  </a:lnTo>
                  <a:lnTo>
                    <a:pt x="21" y="49"/>
                  </a:lnTo>
                  <a:lnTo>
                    <a:pt x="22" y="55"/>
                  </a:lnTo>
                  <a:lnTo>
                    <a:pt x="21" y="63"/>
                  </a:lnTo>
                  <a:lnTo>
                    <a:pt x="19" y="71"/>
                  </a:lnTo>
                  <a:lnTo>
                    <a:pt x="16" y="80"/>
                  </a:lnTo>
                  <a:lnTo>
                    <a:pt x="12" y="89"/>
                  </a:lnTo>
                  <a:lnTo>
                    <a:pt x="6" y="97"/>
                  </a:lnTo>
                  <a:lnTo>
                    <a:pt x="0" y="106"/>
                  </a:lnTo>
                  <a:lnTo>
                    <a:pt x="2" y="108"/>
                  </a:lnTo>
                  <a:lnTo>
                    <a:pt x="2" y="108"/>
                  </a:lnTo>
                  <a:lnTo>
                    <a:pt x="48" y="63"/>
                  </a:lnTo>
                  <a:lnTo>
                    <a:pt x="48" y="63"/>
                  </a:lnTo>
                  <a:lnTo>
                    <a:pt x="47" y="59"/>
                  </a:lnTo>
                  <a:lnTo>
                    <a:pt x="49" y="55"/>
                  </a:lnTo>
                  <a:lnTo>
                    <a:pt x="49" y="55"/>
                  </a:lnTo>
                  <a:lnTo>
                    <a:pt x="50" y="54"/>
                  </a:lnTo>
                  <a:lnTo>
                    <a:pt x="53" y="54"/>
                  </a:lnTo>
                  <a:lnTo>
                    <a:pt x="55" y="54"/>
                  </a:lnTo>
                  <a:lnTo>
                    <a:pt x="58" y="55"/>
                  </a:lnTo>
                  <a:lnTo>
                    <a:pt x="58" y="55"/>
                  </a:lnTo>
                  <a:lnTo>
                    <a:pt x="59" y="58"/>
                  </a:lnTo>
                  <a:lnTo>
                    <a:pt x="59" y="60"/>
                  </a:lnTo>
                  <a:lnTo>
                    <a:pt x="59" y="63"/>
                  </a:lnTo>
                  <a:lnTo>
                    <a:pt x="58" y="64"/>
                  </a:lnTo>
                  <a:lnTo>
                    <a:pt x="58" y="64"/>
                  </a:lnTo>
                  <a:lnTo>
                    <a:pt x="54" y="67"/>
                  </a:lnTo>
                  <a:lnTo>
                    <a:pt x="50" y="65"/>
                  </a:lnTo>
                  <a:lnTo>
                    <a:pt x="5" y="111"/>
                  </a:lnTo>
                  <a:lnTo>
                    <a:pt x="5" y="111"/>
                  </a:lnTo>
                  <a:lnTo>
                    <a:pt x="7" y="115"/>
                  </a:lnTo>
                  <a:lnTo>
                    <a:pt x="7" y="115"/>
                  </a:lnTo>
                  <a:lnTo>
                    <a:pt x="16" y="107"/>
                  </a:lnTo>
                  <a:lnTo>
                    <a:pt x="24" y="102"/>
                  </a:lnTo>
                  <a:lnTo>
                    <a:pt x="33" y="97"/>
                  </a:lnTo>
                  <a:lnTo>
                    <a:pt x="42" y="94"/>
                  </a:lnTo>
                  <a:lnTo>
                    <a:pt x="50" y="92"/>
                  </a:lnTo>
                  <a:lnTo>
                    <a:pt x="58" y="91"/>
                  </a:lnTo>
                  <a:lnTo>
                    <a:pt x="65" y="92"/>
                  </a:lnTo>
                  <a:lnTo>
                    <a:pt x="71" y="95"/>
                  </a:lnTo>
                  <a:lnTo>
                    <a:pt x="71" y="95"/>
                  </a:lnTo>
                  <a:lnTo>
                    <a:pt x="80" y="81"/>
                  </a:lnTo>
                  <a:lnTo>
                    <a:pt x="90" y="67"/>
                  </a:lnTo>
                  <a:lnTo>
                    <a:pt x="90" y="67"/>
                  </a:lnTo>
                  <a:lnTo>
                    <a:pt x="102" y="54"/>
                  </a:lnTo>
                  <a:lnTo>
                    <a:pt x="113" y="43"/>
                  </a:lnTo>
                  <a:lnTo>
                    <a:pt x="113" y="43"/>
                  </a:lnTo>
                  <a:lnTo>
                    <a:pt x="102" y="34"/>
                  </a:lnTo>
                  <a:lnTo>
                    <a:pt x="90" y="23"/>
                  </a:lnTo>
                  <a:lnTo>
                    <a:pt x="90" y="23"/>
                  </a:lnTo>
                  <a:lnTo>
                    <a:pt x="80" y="12"/>
                  </a:lnTo>
                  <a:lnTo>
                    <a:pt x="70" y="0"/>
                  </a:lnTo>
                  <a:lnTo>
                    <a:pt x="70" y="0"/>
                  </a:lnTo>
                  <a:lnTo>
                    <a:pt x="59" y="12"/>
                  </a:lnTo>
                  <a:lnTo>
                    <a:pt x="47" y="23"/>
                  </a:lnTo>
                  <a:lnTo>
                    <a:pt x="47" y="23"/>
                  </a:lnTo>
                  <a:lnTo>
                    <a:pt x="33" y="33"/>
                  </a:lnTo>
                  <a:lnTo>
                    <a:pt x="18" y="43"/>
                  </a:lnTo>
                  <a:lnTo>
                    <a:pt x="18" y="43"/>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86" name="Freeform 329">
              <a:extLst>
                <a:ext uri="{FF2B5EF4-FFF2-40B4-BE49-F238E27FC236}">
                  <a16:creationId xmlns:a16="http://schemas.microsoft.com/office/drawing/2014/main" id="{19BC2C40-D6A5-064F-C48B-BD518C1EF261}"/>
                </a:ext>
              </a:extLst>
            </p:cNvPr>
            <p:cNvSpPr>
              <a:spLocks/>
            </p:cNvSpPr>
            <p:nvPr/>
          </p:nvSpPr>
          <p:spPr bwMode="auto">
            <a:xfrm>
              <a:off x="5124450" y="4735513"/>
              <a:ext cx="260350" cy="261938"/>
            </a:xfrm>
            <a:custGeom>
              <a:avLst/>
              <a:gdLst>
                <a:gd name="T0" fmla="*/ 156 w 164"/>
                <a:gd name="T1" fmla="*/ 45 h 165"/>
                <a:gd name="T2" fmla="*/ 156 w 164"/>
                <a:gd name="T3" fmla="*/ 45 h 165"/>
                <a:gd name="T4" fmla="*/ 159 w 164"/>
                <a:gd name="T5" fmla="*/ 41 h 165"/>
                <a:gd name="T6" fmla="*/ 162 w 164"/>
                <a:gd name="T7" fmla="*/ 36 h 165"/>
                <a:gd name="T8" fmla="*/ 164 w 164"/>
                <a:gd name="T9" fmla="*/ 31 h 165"/>
                <a:gd name="T10" fmla="*/ 164 w 164"/>
                <a:gd name="T11" fmla="*/ 24 h 165"/>
                <a:gd name="T12" fmla="*/ 164 w 164"/>
                <a:gd name="T13" fmla="*/ 20 h 165"/>
                <a:gd name="T14" fmla="*/ 162 w 164"/>
                <a:gd name="T15" fmla="*/ 16 h 165"/>
                <a:gd name="T16" fmla="*/ 159 w 164"/>
                <a:gd name="T17" fmla="*/ 11 h 165"/>
                <a:gd name="T18" fmla="*/ 157 w 164"/>
                <a:gd name="T19" fmla="*/ 7 h 165"/>
                <a:gd name="T20" fmla="*/ 153 w 164"/>
                <a:gd name="T21" fmla="*/ 5 h 165"/>
                <a:gd name="T22" fmla="*/ 148 w 164"/>
                <a:gd name="T23" fmla="*/ 2 h 165"/>
                <a:gd name="T24" fmla="*/ 145 w 164"/>
                <a:gd name="T25" fmla="*/ 1 h 165"/>
                <a:gd name="T26" fmla="*/ 140 w 164"/>
                <a:gd name="T27" fmla="*/ 0 h 165"/>
                <a:gd name="T28" fmla="*/ 135 w 164"/>
                <a:gd name="T29" fmla="*/ 0 h 165"/>
                <a:gd name="T30" fmla="*/ 129 w 164"/>
                <a:gd name="T31" fmla="*/ 2 h 165"/>
                <a:gd name="T32" fmla="*/ 124 w 164"/>
                <a:gd name="T33" fmla="*/ 5 h 165"/>
                <a:gd name="T34" fmla="*/ 119 w 164"/>
                <a:gd name="T35" fmla="*/ 8 h 165"/>
                <a:gd name="T36" fmla="*/ 119 w 164"/>
                <a:gd name="T37" fmla="*/ 8 h 165"/>
                <a:gd name="T38" fmla="*/ 0 w 164"/>
                <a:gd name="T39" fmla="*/ 123 h 165"/>
                <a:gd name="T40" fmla="*/ 0 w 164"/>
                <a:gd name="T41" fmla="*/ 123 h 165"/>
                <a:gd name="T42" fmla="*/ 42 w 164"/>
                <a:gd name="T43" fmla="*/ 165 h 165"/>
                <a:gd name="T44" fmla="*/ 42 w 164"/>
                <a:gd name="T45" fmla="*/ 165 h 165"/>
                <a:gd name="T46" fmla="*/ 156 w 164"/>
                <a:gd name="T47" fmla="*/ 45 h 165"/>
                <a:gd name="T48" fmla="*/ 156 w 164"/>
                <a:gd name="T49" fmla="*/ 4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4" h="165">
                  <a:moveTo>
                    <a:pt x="156" y="45"/>
                  </a:moveTo>
                  <a:lnTo>
                    <a:pt x="156" y="45"/>
                  </a:lnTo>
                  <a:lnTo>
                    <a:pt x="159" y="41"/>
                  </a:lnTo>
                  <a:lnTo>
                    <a:pt x="162" y="36"/>
                  </a:lnTo>
                  <a:lnTo>
                    <a:pt x="164" y="31"/>
                  </a:lnTo>
                  <a:lnTo>
                    <a:pt x="164" y="24"/>
                  </a:lnTo>
                  <a:lnTo>
                    <a:pt x="164" y="20"/>
                  </a:lnTo>
                  <a:lnTo>
                    <a:pt x="162" y="16"/>
                  </a:lnTo>
                  <a:lnTo>
                    <a:pt x="159" y="11"/>
                  </a:lnTo>
                  <a:lnTo>
                    <a:pt x="157" y="7"/>
                  </a:lnTo>
                  <a:lnTo>
                    <a:pt x="153" y="5"/>
                  </a:lnTo>
                  <a:lnTo>
                    <a:pt x="148" y="2"/>
                  </a:lnTo>
                  <a:lnTo>
                    <a:pt x="145" y="1"/>
                  </a:lnTo>
                  <a:lnTo>
                    <a:pt x="140" y="0"/>
                  </a:lnTo>
                  <a:lnTo>
                    <a:pt x="135" y="0"/>
                  </a:lnTo>
                  <a:lnTo>
                    <a:pt x="129" y="2"/>
                  </a:lnTo>
                  <a:lnTo>
                    <a:pt x="124" y="5"/>
                  </a:lnTo>
                  <a:lnTo>
                    <a:pt x="119" y="8"/>
                  </a:lnTo>
                  <a:lnTo>
                    <a:pt x="119" y="8"/>
                  </a:lnTo>
                  <a:lnTo>
                    <a:pt x="0" y="123"/>
                  </a:lnTo>
                  <a:lnTo>
                    <a:pt x="0" y="123"/>
                  </a:lnTo>
                  <a:lnTo>
                    <a:pt x="42" y="165"/>
                  </a:lnTo>
                  <a:lnTo>
                    <a:pt x="42" y="165"/>
                  </a:lnTo>
                  <a:lnTo>
                    <a:pt x="156" y="45"/>
                  </a:lnTo>
                  <a:lnTo>
                    <a:pt x="156" y="45"/>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87" name="Freeform 330">
              <a:extLst>
                <a:ext uri="{FF2B5EF4-FFF2-40B4-BE49-F238E27FC236}">
                  <a16:creationId xmlns:a16="http://schemas.microsoft.com/office/drawing/2014/main" id="{F06D22B5-F21E-7A47-80E2-171BFB673437}"/>
                </a:ext>
              </a:extLst>
            </p:cNvPr>
            <p:cNvSpPr>
              <a:spLocks/>
            </p:cNvSpPr>
            <p:nvPr/>
          </p:nvSpPr>
          <p:spPr bwMode="auto">
            <a:xfrm>
              <a:off x="5113338" y="4929188"/>
              <a:ext cx="77788" cy="77788"/>
            </a:xfrm>
            <a:custGeom>
              <a:avLst/>
              <a:gdLst>
                <a:gd name="T0" fmla="*/ 49 w 49"/>
                <a:gd name="T1" fmla="*/ 43 h 49"/>
                <a:gd name="T2" fmla="*/ 6 w 49"/>
                <a:gd name="T3" fmla="*/ 0 h 49"/>
                <a:gd name="T4" fmla="*/ 0 w 49"/>
                <a:gd name="T5" fmla="*/ 6 h 49"/>
                <a:gd name="T6" fmla="*/ 43 w 49"/>
                <a:gd name="T7" fmla="*/ 49 h 49"/>
                <a:gd name="T8" fmla="*/ 49 w 49"/>
                <a:gd name="T9" fmla="*/ 43 h 49"/>
              </a:gdLst>
              <a:ahLst/>
              <a:cxnLst>
                <a:cxn ang="0">
                  <a:pos x="T0" y="T1"/>
                </a:cxn>
                <a:cxn ang="0">
                  <a:pos x="T2" y="T3"/>
                </a:cxn>
                <a:cxn ang="0">
                  <a:pos x="T4" y="T5"/>
                </a:cxn>
                <a:cxn ang="0">
                  <a:pos x="T6" y="T7"/>
                </a:cxn>
                <a:cxn ang="0">
                  <a:pos x="T8" y="T9"/>
                </a:cxn>
              </a:cxnLst>
              <a:rect l="0" t="0" r="r" b="b"/>
              <a:pathLst>
                <a:path w="49" h="49">
                  <a:moveTo>
                    <a:pt x="49" y="43"/>
                  </a:moveTo>
                  <a:lnTo>
                    <a:pt x="6" y="0"/>
                  </a:lnTo>
                  <a:lnTo>
                    <a:pt x="0" y="6"/>
                  </a:lnTo>
                  <a:lnTo>
                    <a:pt x="43" y="49"/>
                  </a:lnTo>
                  <a:lnTo>
                    <a:pt x="49" y="43"/>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88" name="Freeform 331">
              <a:extLst>
                <a:ext uri="{FF2B5EF4-FFF2-40B4-BE49-F238E27FC236}">
                  <a16:creationId xmlns:a16="http://schemas.microsoft.com/office/drawing/2014/main" id="{E1A74CCE-DF13-EECD-C3F2-0C12A58A8B0B}"/>
                </a:ext>
              </a:extLst>
            </p:cNvPr>
            <p:cNvSpPr>
              <a:spLocks/>
            </p:cNvSpPr>
            <p:nvPr/>
          </p:nvSpPr>
          <p:spPr bwMode="auto">
            <a:xfrm>
              <a:off x="5214938" y="4660900"/>
              <a:ext cx="246063" cy="246063"/>
            </a:xfrm>
            <a:custGeom>
              <a:avLst/>
              <a:gdLst>
                <a:gd name="T0" fmla="*/ 52 w 155"/>
                <a:gd name="T1" fmla="*/ 155 h 155"/>
                <a:gd name="T2" fmla="*/ 148 w 155"/>
                <a:gd name="T3" fmla="*/ 59 h 155"/>
                <a:gd name="T4" fmla="*/ 148 w 155"/>
                <a:gd name="T5" fmla="*/ 59 h 155"/>
                <a:gd name="T6" fmla="*/ 150 w 155"/>
                <a:gd name="T7" fmla="*/ 55 h 155"/>
                <a:gd name="T8" fmla="*/ 153 w 155"/>
                <a:gd name="T9" fmla="*/ 50 h 155"/>
                <a:gd name="T10" fmla="*/ 154 w 155"/>
                <a:gd name="T11" fmla="*/ 46 h 155"/>
                <a:gd name="T12" fmla="*/ 155 w 155"/>
                <a:gd name="T13" fmla="*/ 41 h 155"/>
                <a:gd name="T14" fmla="*/ 154 w 155"/>
                <a:gd name="T15" fmla="*/ 36 h 155"/>
                <a:gd name="T16" fmla="*/ 153 w 155"/>
                <a:gd name="T17" fmla="*/ 31 h 155"/>
                <a:gd name="T18" fmla="*/ 150 w 155"/>
                <a:gd name="T19" fmla="*/ 26 h 155"/>
                <a:gd name="T20" fmla="*/ 147 w 155"/>
                <a:gd name="T21" fmla="*/ 21 h 155"/>
                <a:gd name="T22" fmla="*/ 133 w 155"/>
                <a:gd name="T23" fmla="*/ 9 h 155"/>
                <a:gd name="T24" fmla="*/ 133 w 155"/>
                <a:gd name="T25" fmla="*/ 9 h 155"/>
                <a:gd name="T26" fmla="*/ 130 w 155"/>
                <a:gd name="T27" fmla="*/ 5 h 155"/>
                <a:gd name="T28" fmla="*/ 125 w 155"/>
                <a:gd name="T29" fmla="*/ 2 h 155"/>
                <a:gd name="T30" fmla="*/ 120 w 155"/>
                <a:gd name="T31" fmla="*/ 1 h 155"/>
                <a:gd name="T32" fmla="*/ 115 w 155"/>
                <a:gd name="T33" fmla="*/ 0 h 155"/>
                <a:gd name="T34" fmla="*/ 110 w 155"/>
                <a:gd name="T35" fmla="*/ 1 h 155"/>
                <a:gd name="T36" fmla="*/ 105 w 155"/>
                <a:gd name="T37" fmla="*/ 2 h 155"/>
                <a:gd name="T38" fmla="*/ 100 w 155"/>
                <a:gd name="T39" fmla="*/ 5 h 155"/>
                <a:gd name="T40" fmla="*/ 96 w 155"/>
                <a:gd name="T41" fmla="*/ 7 h 155"/>
                <a:gd name="T42" fmla="*/ 0 w 155"/>
                <a:gd name="T43" fmla="*/ 104 h 155"/>
                <a:gd name="T44" fmla="*/ 52 w 155"/>
                <a:gd name="T45"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5" h="155">
                  <a:moveTo>
                    <a:pt x="52" y="155"/>
                  </a:moveTo>
                  <a:lnTo>
                    <a:pt x="148" y="59"/>
                  </a:lnTo>
                  <a:lnTo>
                    <a:pt x="148" y="59"/>
                  </a:lnTo>
                  <a:lnTo>
                    <a:pt x="150" y="55"/>
                  </a:lnTo>
                  <a:lnTo>
                    <a:pt x="153" y="50"/>
                  </a:lnTo>
                  <a:lnTo>
                    <a:pt x="154" y="46"/>
                  </a:lnTo>
                  <a:lnTo>
                    <a:pt x="155" y="41"/>
                  </a:lnTo>
                  <a:lnTo>
                    <a:pt x="154" y="36"/>
                  </a:lnTo>
                  <a:lnTo>
                    <a:pt x="153" y="31"/>
                  </a:lnTo>
                  <a:lnTo>
                    <a:pt x="150" y="26"/>
                  </a:lnTo>
                  <a:lnTo>
                    <a:pt x="147" y="21"/>
                  </a:lnTo>
                  <a:lnTo>
                    <a:pt x="133" y="9"/>
                  </a:lnTo>
                  <a:lnTo>
                    <a:pt x="133" y="9"/>
                  </a:lnTo>
                  <a:lnTo>
                    <a:pt x="130" y="5"/>
                  </a:lnTo>
                  <a:lnTo>
                    <a:pt x="125" y="2"/>
                  </a:lnTo>
                  <a:lnTo>
                    <a:pt x="120" y="1"/>
                  </a:lnTo>
                  <a:lnTo>
                    <a:pt x="115" y="0"/>
                  </a:lnTo>
                  <a:lnTo>
                    <a:pt x="110" y="1"/>
                  </a:lnTo>
                  <a:lnTo>
                    <a:pt x="105" y="2"/>
                  </a:lnTo>
                  <a:lnTo>
                    <a:pt x="100" y="5"/>
                  </a:lnTo>
                  <a:lnTo>
                    <a:pt x="96" y="7"/>
                  </a:lnTo>
                  <a:lnTo>
                    <a:pt x="0" y="104"/>
                  </a:lnTo>
                  <a:lnTo>
                    <a:pt x="52" y="155"/>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89" name="Freeform 332">
              <a:extLst>
                <a:ext uri="{FF2B5EF4-FFF2-40B4-BE49-F238E27FC236}">
                  <a16:creationId xmlns:a16="http://schemas.microsoft.com/office/drawing/2014/main" id="{4D69F0AC-EC10-DFF7-FD8A-B5F5606D4DF3}"/>
                </a:ext>
              </a:extLst>
            </p:cNvPr>
            <p:cNvSpPr>
              <a:spLocks/>
            </p:cNvSpPr>
            <p:nvPr/>
          </p:nvSpPr>
          <p:spPr bwMode="auto">
            <a:xfrm>
              <a:off x="5214938" y="4668838"/>
              <a:ext cx="236538" cy="117475"/>
            </a:xfrm>
            <a:custGeom>
              <a:avLst/>
              <a:gdLst>
                <a:gd name="T0" fmla="*/ 148 w 149"/>
                <a:gd name="T1" fmla="*/ 59 h 74"/>
                <a:gd name="T2" fmla="*/ 96 w 149"/>
                <a:gd name="T3" fmla="*/ 7 h 74"/>
                <a:gd name="T4" fmla="*/ 96 w 149"/>
                <a:gd name="T5" fmla="*/ 7 h 74"/>
                <a:gd name="T6" fmla="*/ 93 w 149"/>
                <a:gd name="T7" fmla="*/ 5 h 74"/>
                <a:gd name="T8" fmla="*/ 89 w 149"/>
                <a:gd name="T9" fmla="*/ 2 h 74"/>
                <a:gd name="T10" fmla="*/ 84 w 149"/>
                <a:gd name="T11" fmla="*/ 1 h 74"/>
                <a:gd name="T12" fmla="*/ 80 w 149"/>
                <a:gd name="T13" fmla="*/ 0 h 74"/>
                <a:gd name="T14" fmla="*/ 75 w 149"/>
                <a:gd name="T15" fmla="*/ 0 h 74"/>
                <a:gd name="T16" fmla="*/ 72 w 149"/>
                <a:gd name="T17" fmla="*/ 1 h 74"/>
                <a:gd name="T18" fmla="*/ 68 w 149"/>
                <a:gd name="T19" fmla="*/ 2 h 74"/>
                <a:gd name="T20" fmla="*/ 64 w 149"/>
                <a:gd name="T21" fmla="*/ 6 h 74"/>
                <a:gd name="T22" fmla="*/ 9 w 149"/>
                <a:gd name="T23" fmla="*/ 60 h 74"/>
                <a:gd name="T24" fmla="*/ 9 w 149"/>
                <a:gd name="T25" fmla="*/ 60 h 74"/>
                <a:gd name="T26" fmla="*/ 0 w 149"/>
                <a:gd name="T27" fmla="*/ 70 h 74"/>
                <a:gd name="T28" fmla="*/ 0 w 149"/>
                <a:gd name="T29" fmla="*/ 70 h 74"/>
                <a:gd name="T30" fmla="*/ 6 w 149"/>
                <a:gd name="T31" fmla="*/ 73 h 74"/>
                <a:gd name="T32" fmla="*/ 12 w 149"/>
                <a:gd name="T33" fmla="*/ 74 h 74"/>
                <a:gd name="T34" fmla="*/ 19 w 149"/>
                <a:gd name="T35" fmla="*/ 73 h 74"/>
                <a:gd name="T36" fmla="*/ 22 w 149"/>
                <a:gd name="T37" fmla="*/ 70 h 74"/>
                <a:gd name="T38" fmla="*/ 22 w 149"/>
                <a:gd name="T39" fmla="*/ 70 h 74"/>
                <a:gd name="T40" fmla="*/ 25 w 149"/>
                <a:gd name="T41" fmla="*/ 65 h 74"/>
                <a:gd name="T42" fmla="*/ 25 w 149"/>
                <a:gd name="T43" fmla="*/ 62 h 74"/>
                <a:gd name="T44" fmla="*/ 73 w 149"/>
                <a:gd name="T45" fmla="*/ 13 h 74"/>
                <a:gd name="T46" fmla="*/ 73 w 149"/>
                <a:gd name="T47" fmla="*/ 13 h 74"/>
                <a:gd name="T48" fmla="*/ 76 w 149"/>
                <a:gd name="T49" fmla="*/ 11 h 74"/>
                <a:gd name="T50" fmla="*/ 80 w 149"/>
                <a:gd name="T51" fmla="*/ 11 h 74"/>
                <a:gd name="T52" fmla="*/ 85 w 149"/>
                <a:gd name="T53" fmla="*/ 11 h 74"/>
                <a:gd name="T54" fmla="*/ 90 w 149"/>
                <a:gd name="T55" fmla="*/ 15 h 74"/>
                <a:gd name="T56" fmla="*/ 141 w 149"/>
                <a:gd name="T57" fmla="*/ 66 h 74"/>
                <a:gd name="T58" fmla="*/ 141 w 149"/>
                <a:gd name="T59" fmla="*/ 66 h 74"/>
                <a:gd name="T60" fmla="*/ 143 w 149"/>
                <a:gd name="T61" fmla="*/ 68 h 74"/>
                <a:gd name="T62" fmla="*/ 144 w 149"/>
                <a:gd name="T63" fmla="*/ 68 h 74"/>
                <a:gd name="T64" fmla="*/ 147 w 149"/>
                <a:gd name="T65" fmla="*/ 68 h 74"/>
                <a:gd name="T66" fmla="*/ 148 w 149"/>
                <a:gd name="T67" fmla="*/ 66 h 74"/>
                <a:gd name="T68" fmla="*/ 148 w 149"/>
                <a:gd name="T69" fmla="*/ 66 h 74"/>
                <a:gd name="T70" fmla="*/ 149 w 149"/>
                <a:gd name="T71" fmla="*/ 65 h 74"/>
                <a:gd name="T72" fmla="*/ 149 w 149"/>
                <a:gd name="T73" fmla="*/ 63 h 74"/>
                <a:gd name="T74" fmla="*/ 149 w 149"/>
                <a:gd name="T75" fmla="*/ 60 h 74"/>
                <a:gd name="T76" fmla="*/ 148 w 149"/>
                <a:gd name="T77" fmla="*/ 59 h 74"/>
                <a:gd name="T78" fmla="*/ 148 w 149"/>
                <a:gd name="T79" fmla="*/ 5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 h="74">
                  <a:moveTo>
                    <a:pt x="148" y="59"/>
                  </a:moveTo>
                  <a:lnTo>
                    <a:pt x="96" y="7"/>
                  </a:lnTo>
                  <a:lnTo>
                    <a:pt x="96" y="7"/>
                  </a:lnTo>
                  <a:lnTo>
                    <a:pt x="93" y="5"/>
                  </a:lnTo>
                  <a:lnTo>
                    <a:pt x="89" y="2"/>
                  </a:lnTo>
                  <a:lnTo>
                    <a:pt x="84" y="1"/>
                  </a:lnTo>
                  <a:lnTo>
                    <a:pt x="80" y="0"/>
                  </a:lnTo>
                  <a:lnTo>
                    <a:pt x="75" y="0"/>
                  </a:lnTo>
                  <a:lnTo>
                    <a:pt x="72" y="1"/>
                  </a:lnTo>
                  <a:lnTo>
                    <a:pt x="68" y="2"/>
                  </a:lnTo>
                  <a:lnTo>
                    <a:pt x="64" y="6"/>
                  </a:lnTo>
                  <a:lnTo>
                    <a:pt x="9" y="60"/>
                  </a:lnTo>
                  <a:lnTo>
                    <a:pt x="9" y="60"/>
                  </a:lnTo>
                  <a:lnTo>
                    <a:pt x="0" y="70"/>
                  </a:lnTo>
                  <a:lnTo>
                    <a:pt x="0" y="70"/>
                  </a:lnTo>
                  <a:lnTo>
                    <a:pt x="6" y="73"/>
                  </a:lnTo>
                  <a:lnTo>
                    <a:pt x="12" y="74"/>
                  </a:lnTo>
                  <a:lnTo>
                    <a:pt x="19" y="73"/>
                  </a:lnTo>
                  <a:lnTo>
                    <a:pt x="22" y="70"/>
                  </a:lnTo>
                  <a:lnTo>
                    <a:pt x="22" y="70"/>
                  </a:lnTo>
                  <a:lnTo>
                    <a:pt x="25" y="65"/>
                  </a:lnTo>
                  <a:lnTo>
                    <a:pt x="25" y="62"/>
                  </a:lnTo>
                  <a:lnTo>
                    <a:pt x="73" y="13"/>
                  </a:lnTo>
                  <a:lnTo>
                    <a:pt x="73" y="13"/>
                  </a:lnTo>
                  <a:lnTo>
                    <a:pt x="76" y="11"/>
                  </a:lnTo>
                  <a:lnTo>
                    <a:pt x="80" y="11"/>
                  </a:lnTo>
                  <a:lnTo>
                    <a:pt x="85" y="11"/>
                  </a:lnTo>
                  <a:lnTo>
                    <a:pt x="90" y="15"/>
                  </a:lnTo>
                  <a:lnTo>
                    <a:pt x="141" y="66"/>
                  </a:lnTo>
                  <a:lnTo>
                    <a:pt x="141" y="66"/>
                  </a:lnTo>
                  <a:lnTo>
                    <a:pt x="143" y="68"/>
                  </a:lnTo>
                  <a:lnTo>
                    <a:pt x="144" y="68"/>
                  </a:lnTo>
                  <a:lnTo>
                    <a:pt x="147" y="68"/>
                  </a:lnTo>
                  <a:lnTo>
                    <a:pt x="148" y="66"/>
                  </a:lnTo>
                  <a:lnTo>
                    <a:pt x="148" y="66"/>
                  </a:lnTo>
                  <a:lnTo>
                    <a:pt x="149" y="65"/>
                  </a:lnTo>
                  <a:lnTo>
                    <a:pt x="149" y="63"/>
                  </a:lnTo>
                  <a:lnTo>
                    <a:pt x="149" y="60"/>
                  </a:lnTo>
                  <a:lnTo>
                    <a:pt x="148" y="59"/>
                  </a:lnTo>
                  <a:lnTo>
                    <a:pt x="148" y="59"/>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grpSp>
      <p:grpSp>
        <p:nvGrpSpPr>
          <p:cNvPr id="90" name="Group 416">
            <a:extLst>
              <a:ext uri="{FF2B5EF4-FFF2-40B4-BE49-F238E27FC236}">
                <a16:creationId xmlns:a16="http://schemas.microsoft.com/office/drawing/2014/main" id="{8FA264B6-D193-7711-CAE4-BB59901024B2}"/>
              </a:ext>
            </a:extLst>
          </p:cNvPr>
          <p:cNvGrpSpPr/>
          <p:nvPr/>
        </p:nvGrpSpPr>
        <p:grpSpPr>
          <a:xfrm>
            <a:off x="10974892" y="1760870"/>
            <a:ext cx="360000" cy="360000"/>
            <a:chOff x="273050" y="5805357"/>
            <a:chExt cx="1112838" cy="1114425"/>
          </a:xfrm>
          <a:effectLst>
            <a:outerShdw blurRad="50800" dist="38100" dir="2700000" algn="tl" rotWithShape="0">
              <a:prstClr val="black">
                <a:alpha val="40000"/>
              </a:prstClr>
            </a:outerShdw>
          </a:effectLst>
        </p:grpSpPr>
        <p:sp>
          <p:nvSpPr>
            <p:cNvPr id="91" name="Freeform 25">
              <a:extLst>
                <a:ext uri="{FF2B5EF4-FFF2-40B4-BE49-F238E27FC236}">
                  <a16:creationId xmlns:a16="http://schemas.microsoft.com/office/drawing/2014/main" id="{C539E02E-4FDE-9C34-AFA5-B5ADDD827515}"/>
                </a:ext>
              </a:extLst>
            </p:cNvPr>
            <p:cNvSpPr>
              <a:spLocks/>
            </p:cNvSpPr>
            <p:nvPr/>
          </p:nvSpPr>
          <p:spPr bwMode="auto">
            <a:xfrm>
              <a:off x="273050" y="5805357"/>
              <a:ext cx="1112838" cy="1114425"/>
            </a:xfrm>
            <a:custGeom>
              <a:avLst/>
              <a:gdLst>
                <a:gd name="T0" fmla="*/ 333 w 701"/>
                <a:gd name="T1" fmla="*/ 701 h 702"/>
                <a:gd name="T2" fmla="*/ 280 w 701"/>
                <a:gd name="T3" fmla="*/ 695 h 702"/>
                <a:gd name="T4" fmla="*/ 231 w 701"/>
                <a:gd name="T5" fmla="*/ 680 h 702"/>
                <a:gd name="T6" fmla="*/ 184 w 701"/>
                <a:gd name="T7" fmla="*/ 659 h 702"/>
                <a:gd name="T8" fmla="*/ 141 w 701"/>
                <a:gd name="T9" fmla="*/ 632 h 702"/>
                <a:gd name="T10" fmla="*/ 102 w 701"/>
                <a:gd name="T11" fmla="*/ 598 h 702"/>
                <a:gd name="T12" fmla="*/ 70 w 701"/>
                <a:gd name="T13" fmla="*/ 560 h 702"/>
                <a:gd name="T14" fmla="*/ 43 w 701"/>
                <a:gd name="T15" fmla="*/ 518 h 702"/>
                <a:gd name="T16" fmla="*/ 21 w 701"/>
                <a:gd name="T17" fmla="*/ 471 h 702"/>
                <a:gd name="T18" fmla="*/ 7 w 701"/>
                <a:gd name="T19" fmla="*/ 422 h 702"/>
                <a:gd name="T20" fmla="*/ 1 w 701"/>
                <a:gd name="T21" fmla="*/ 369 h 702"/>
                <a:gd name="T22" fmla="*/ 1 w 701"/>
                <a:gd name="T23" fmla="*/ 333 h 702"/>
                <a:gd name="T24" fmla="*/ 7 w 701"/>
                <a:gd name="T25" fmla="*/ 280 h 702"/>
                <a:gd name="T26" fmla="*/ 21 w 701"/>
                <a:gd name="T27" fmla="*/ 231 h 702"/>
                <a:gd name="T28" fmla="*/ 43 w 701"/>
                <a:gd name="T29" fmla="*/ 184 h 702"/>
                <a:gd name="T30" fmla="*/ 70 w 701"/>
                <a:gd name="T31" fmla="*/ 141 h 702"/>
                <a:gd name="T32" fmla="*/ 102 w 701"/>
                <a:gd name="T33" fmla="*/ 104 h 702"/>
                <a:gd name="T34" fmla="*/ 141 w 701"/>
                <a:gd name="T35" fmla="*/ 70 h 702"/>
                <a:gd name="T36" fmla="*/ 184 w 701"/>
                <a:gd name="T37" fmla="*/ 43 h 702"/>
                <a:gd name="T38" fmla="*/ 231 w 701"/>
                <a:gd name="T39" fmla="*/ 22 h 702"/>
                <a:gd name="T40" fmla="*/ 280 w 701"/>
                <a:gd name="T41" fmla="*/ 7 h 702"/>
                <a:gd name="T42" fmla="*/ 333 w 701"/>
                <a:gd name="T43" fmla="*/ 1 h 702"/>
                <a:gd name="T44" fmla="*/ 369 w 701"/>
                <a:gd name="T45" fmla="*/ 1 h 702"/>
                <a:gd name="T46" fmla="*/ 422 w 701"/>
                <a:gd name="T47" fmla="*/ 7 h 702"/>
                <a:gd name="T48" fmla="*/ 471 w 701"/>
                <a:gd name="T49" fmla="*/ 22 h 702"/>
                <a:gd name="T50" fmla="*/ 518 w 701"/>
                <a:gd name="T51" fmla="*/ 43 h 702"/>
                <a:gd name="T52" fmla="*/ 560 w 701"/>
                <a:gd name="T53" fmla="*/ 70 h 702"/>
                <a:gd name="T54" fmla="*/ 598 w 701"/>
                <a:gd name="T55" fmla="*/ 104 h 702"/>
                <a:gd name="T56" fmla="*/ 631 w 701"/>
                <a:gd name="T57" fmla="*/ 141 h 702"/>
                <a:gd name="T58" fmla="*/ 659 w 701"/>
                <a:gd name="T59" fmla="*/ 184 h 702"/>
                <a:gd name="T60" fmla="*/ 680 w 701"/>
                <a:gd name="T61" fmla="*/ 231 h 702"/>
                <a:gd name="T62" fmla="*/ 694 w 701"/>
                <a:gd name="T63" fmla="*/ 280 h 702"/>
                <a:gd name="T64" fmla="*/ 701 w 701"/>
                <a:gd name="T65" fmla="*/ 333 h 702"/>
                <a:gd name="T66" fmla="*/ 701 w 701"/>
                <a:gd name="T67" fmla="*/ 369 h 702"/>
                <a:gd name="T68" fmla="*/ 694 w 701"/>
                <a:gd name="T69" fmla="*/ 422 h 702"/>
                <a:gd name="T70" fmla="*/ 680 w 701"/>
                <a:gd name="T71" fmla="*/ 471 h 702"/>
                <a:gd name="T72" fmla="*/ 659 w 701"/>
                <a:gd name="T73" fmla="*/ 518 h 702"/>
                <a:gd name="T74" fmla="*/ 631 w 701"/>
                <a:gd name="T75" fmla="*/ 560 h 702"/>
                <a:gd name="T76" fmla="*/ 598 w 701"/>
                <a:gd name="T77" fmla="*/ 598 h 702"/>
                <a:gd name="T78" fmla="*/ 560 w 701"/>
                <a:gd name="T79" fmla="*/ 632 h 702"/>
                <a:gd name="T80" fmla="*/ 518 w 701"/>
                <a:gd name="T81" fmla="*/ 659 h 702"/>
                <a:gd name="T82" fmla="*/ 471 w 701"/>
                <a:gd name="T83" fmla="*/ 680 h 702"/>
                <a:gd name="T84" fmla="*/ 422 w 701"/>
                <a:gd name="T85" fmla="*/ 695 h 702"/>
                <a:gd name="T86" fmla="*/ 369 w 701"/>
                <a:gd name="T8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0" y="702"/>
                  </a:moveTo>
                  <a:lnTo>
                    <a:pt x="350" y="702"/>
                  </a:lnTo>
                  <a:lnTo>
                    <a:pt x="333" y="701"/>
                  </a:lnTo>
                  <a:lnTo>
                    <a:pt x="315" y="700"/>
                  </a:lnTo>
                  <a:lnTo>
                    <a:pt x="297" y="697"/>
                  </a:lnTo>
                  <a:lnTo>
                    <a:pt x="280" y="695"/>
                  </a:lnTo>
                  <a:lnTo>
                    <a:pt x="263" y="691"/>
                  </a:lnTo>
                  <a:lnTo>
                    <a:pt x="247" y="686"/>
                  </a:lnTo>
                  <a:lnTo>
                    <a:pt x="231" y="680"/>
                  </a:lnTo>
                  <a:lnTo>
                    <a:pt x="215" y="674"/>
                  </a:lnTo>
                  <a:lnTo>
                    <a:pt x="199" y="667"/>
                  </a:lnTo>
                  <a:lnTo>
                    <a:pt x="184" y="659"/>
                  </a:lnTo>
                  <a:lnTo>
                    <a:pt x="169" y="650"/>
                  </a:lnTo>
                  <a:lnTo>
                    <a:pt x="155" y="642"/>
                  </a:lnTo>
                  <a:lnTo>
                    <a:pt x="141" y="632"/>
                  </a:lnTo>
                  <a:lnTo>
                    <a:pt x="128" y="622"/>
                  </a:lnTo>
                  <a:lnTo>
                    <a:pt x="115" y="611"/>
                  </a:lnTo>
                  <a:lnTo>
                    <a:pt x="102" y="598"/>
                  </a:lnTo>
                  <a:lnTo>
                    <a:pt x="91" y="586"/>
                  </a:lnTo>
                  <a:lnTo>
                    <a:pt x="80" y="574"/>
                  </a:lnTo>
                  <a:lnTo>
                    <a:pt x="70" y="560"/>
                  </a:lnTo>
                  <a:lnTo>
                    <a:pt x="60" y="547"/>
                  </a:lnTo>
                  <a:lnTo>
                    <a:pt x="51" y="533"/>
                  </a:lnTo>
                  <a:lnTo>
                    <a:pt x="43" y="518"/>
                  </a:lnTo>
                  <a:lnTo>
                    <a:pt x="35" y="503"/>
                  </a:lnTo>
                  <a:lnTo>
                    <a:pt x="28" y="487"/>
                  </a:lnTo>
                  <a:lnTo>
                    <a:pt x="21" y="471"/>
                  </a:lnTo>
                  <a:lnTo>
                    <a:pt x="16" y="455"/>
                  </a:lnTo>
                  <a:lnTo>
                    <a:pt x="11" y="438"/>
                  </a:lnTo>
                  <a:lnTo>
                    <a:pt x="7" y="422"/>
                  </a:lnTo>
                  <a:lnTo>
                    <a:pt x="5" y="405"/>
                  </a:lnTo>
                  <a:lnTo>
                    <a:pt x="2" y="386"/>
                  </a:lnTo>
                  <a:lnTo>
                    <a:pt x="1" y="369"/>
                  </a:lnTo>
                  <a:lnTo>
                    <a:pt x="0" y="350"/>
                  </a:lnTo>
                  <a:lnTo>
                    <a:pt x="0" y="350"/>
                  </a:lnTo>
                  <a:lnTo>
                    <a:pt x="1" y="333"/>
                  </a:lnTo>
                  <a:lnTo>
                    <a:pt x="2" y="315"/>
                  </a:lnTo>
                  <a:lnTo>
                    <a:pt x="5" y="297"/>
                  </a:lnTo>
                  <a:lnTo>
                    <a:pt x="7" y="280"/>
                  </a:lnTo>
                  <a:lnTo>
                    <a:pt x="11" y="263"/>
                  </a:lnTo>
                  <a:lnTo>
                    <a:pt x="16" y="247"/>
                  </a:lnTo>
                  <a:lnTo>
                    <a:pt x="21" y="231"/>
                  </a:lnTo>
                  <a:lnTo>
                    <a:pt x="28" y="215"/>
                  </a:lnTo>
                  <a:lnTo>
                    <a:pt x="35" y="199"/>
                  </a:lnTo>
                  <a:lnTo>
                    <a:pt x="43" y="184"/>
                  </a:lnTo>
                  <a:lnTo>
                    <a:pt x="51" y="169"/>
                  </a:lnTo>
                  <a:lnTo>
                    <a:pt x="60" y="156"/>
                  </a:lnTo>
                  <a:lnTo>
                    <a:pt x="70" y="141"/>
                  </a:lnTo>
                  <a:lnTo>
                    <a:pt x="80" y="128"/>
                  </a:lnTo>
                  <a:lnTo>
                    <a:pt x="91" y="115"/>
                  </a:lnTo>
                  <a:lnTo>
                    <a:pt x="102" y="104"/>
                  </a:lnTo>
                  <a:lnTo>
                    <a:pt x="115" y="91"/>
                  </a:lnTo>
                  <a:lnTo>
                    <a:pt x="128" y="80"/>
                  </a:lnTo>
                  <a:lnTo>
                    <a:pt x="141" y="70"/>
                  </a:lnTo>
                  <a:lnTo>
                    <a:pt x="155" y="61"/>
                  </a:lnTo>
                  <a:lnTo>
                    <a:pt x="169" y="51"/>
                  </a:lnTo>
                  <a:lnTo>
                    <a:pt x="184" y="43"/>
                  </a:lnTo>
                  <a:lnTo>
                    <a:pt x="199" y="35"/>
                  </a:lnTo>
                  <a:lnTo>
                    <a:pt x="215" y="28"/>
                  </a:lnTo>
                  <a:lnTo>
                    <a:pt x="231" y="22"/>
                  </a:lnTo>
                  <a:lnTo>
                    <a:pt x="247" y="16"/>
                  </a:lnTo>
                  <a:lnTo>
                    <a:pt x="263" y="11"/>
                  </a:lnTo>
                  <a:lnTo>
                    <a:pt x="280" y="7"/>
                  </a:lnTo>
                  <a:lnTo>
                    <a:pt x="297" y="5"/>
                  </a:lnTo>
                  <a:lnTo>
                    <a:pt x="315" y="3"/>
                  </a:lnTo>
                  <a:lnTo>
                    <a:pt x="333" y="1"/>
                  </a:lnTo>
                  <a:lnTo>
                    <a:pt x="350" y="0"/>
                  </a:lnTo>
                  <a:lnTo>
                    <a:pt x="350" y="0"/>
                  </a:lnTo>
                  <a:lnTo>
                    <a:pt x="369" y="1"/>
                  </a:lnTo>
                  <a:lnTo>
                    <a:pt x="386" y="3"/>
                  </a:lnTo>
                  <a:lnTo>
                    <a:pt x="405" y="5"/>
                  </a:lnTo>
                  <a:lnTo>
                    <a:pt x="422" y="7"/>
                  </a:lnTo>
                  <a:lnTo>
                    <a:pt x="438" y="11"/>
                  </a:lnTo>
                  <a:lnTo>
                    <a:pt x="455" y="16"/>
                  </a:lnTo>
                  <a:lnTo>
                    <a:pt x="471" y="22"/>
                  </a:lnTo>
                  <a:lnTo>
                    <a:pt x="487" y="28"/>
                  </a:lnTo>
                  <a:lnTo>
                    <a:pt x="503" y="35"/>
                  </a:lnTo>
                  <a:lnTo>
                    <a:pt x="518" y="43"/>
                  </a:lnTo>
                  <a:lnTo>
                    <a:pt x="533" y="51"/>
                  </a:lnTo>
                  <a:lnTo>
                    <a:pt x="546" y="61"/>
                  </a:lnTo>
                  <a:lnTo>
                    <a:pt x="560" y="70"/>
                  </a:lnTo>
                  <a:lnTo>
                    <a:pt x="574" y="80"/>
                  </a:lnTo>
                  <a:lnTo>
                    <a:pt x="586" y="91"/>
                  </a:lnTo>
                  <a:lnTo>
                    <a:pt x="598" y="104"/>
                  </a:lnTo>
                  <a:lnTo>
                    <a:pt x="611" y="115"/>
                  </a:lnTo>
                  <a:lnTo>
                    <a:pt x="622" y="128"/>
                  </a:lnTo>
                  <a:lnTo>
                    <a:pt x="631" y="141"/>
                  </a:lnTo>
                  <a:lnTo>
                    <a:pt x="641" y="156"/>
                  </a:lnTo>
                  <a:lnTo>
                    <a:pt x="650" y="169"/>
                  </a:lnTo>
                  <a:lnTo>
                    <a:pt x="659" y="184"/>
                  </a:lnTo>
                  <a:lnTo>
                    <a:pt x="666" y="199"/>
                  </a:lnTo>
                  <a:lnTo>
                    <a:pt x="673" y="215"/>
                  </a:lnTo>
                  <a:lnTo>
                    <a:pt x="680" y="231"/>
                  </a:lnTo>
                  <a:lnTo>
                    <a:pt x="686" y="247"/>
                  </a:lnTo>
                  <a:lnTo>
                    <a:pt x="691" y="263"/>
                  </a:lnTo>
                  <a:lnTo>
                    <a:pt x="694" y="280"/>
                  </a:lnTo>
                  <a:lnTo>
                    <a:pt x="697" y="297"/>
                  </a:lnTo>
                  <a:lnTo>
                    <a:pt x="699" y="315"/>
                  </a:lnTo>
                  <a:lnTo>
                    <a:pt x="701" y="333"/>
                  </a:lnTo>
                  <a:lnTo>
                    <a:pt x="701" y="350"/>
                  </a:lnTo>
                  <a:lnTo>
                    <a:pt x="701" y="350"/>
                  </a:lnTo>
                  <a:lnTo>
                    <a:pt x="701" y="369"/>
                  </a:lnTo>
                  <a:lnTo>
                    <a:pt x="699" y="386"/>
                  </a:lnTo>
                  <a:lnTo>
                    <a:pt x="697" y="405"/>
                  </a:lnTo>
                  <a:lnTo>
                    <a:pt x="694" y="422"/>
                  </a:lnTo>
                  <a:lnTo>
                    <a:pt x="691" y="438"/>
                  </a:lnTo>
                  <a:lnTo>
                    <a:pt x="686" y="455"/>
                  </a:lnTo>
                  <a:lnTo>
                    <a:pt x="680" y="471"/>
                  </a:lnTo>
                  <a:lnTo>
                    <a:pt x="673" y="487"/>
                  </a:lnTo>
                  <a:lnTo>
                    <a:pt x="666" y="503"/>
                  </a:lnTo>
                  <a:lnTo>
                    <a:pt x="659" y="518"/>
                  </a:lnTo>
                  <a:lnTo>
                    <a:pt x="650" y="533"/>
                  </a:lnTo>
                  <a:lnTo>
                    <a:pt x="641" y="547"/>
                  </a:lnTo>
                  <a:lnTo>
                    <a:pt x="631" y="560"/>
                  </a:lnTo>
                  <a:lnTo>
                    <a:pt x="622" y="574"/>
                  </a:lnTo>
                  <a:lnTo>
                    <a:pt x="611" y="586"/>
                  </a:lnTo>
                  <a:lnTo>
                    <a:pt x="598" y="598"/>
                  </a:lnTo>
                  <a:lnTo>
                    <a:pt x="586" y="611"/>
                  </a:lnTo>
                  <a:lnTo>
                    <a:pt x="574" y="622"/>
                  </a:lnTo>
                  <a:lnTo>
                    <a:pt x="560" y="632"/>
                  </a:lnTo>
                  <a:lnTo>
                    <a:pt x="546" y="642"/>
                  </a:lnTo>
                  <a:lnTo>
                    <a:pt x="533" y="650"/>
                  </a:lnTo>
                  <a:lnTo>
                    <a:pt x="518" y="659"/>
                  </a:lnTo>
                  <a:lnTo>
                    <a:pt x="503" y="667"/>
                  </a:lnTo>
                  <a:lnTo>
                    <a:pt x="487" y="674"/>
                  </a:lnTo>
                  <a:lnTo>
                    <a:pt x="471" y="680"/>
                  </a:lnTo>
                  <a:lnTo>
                    <a:pt x="455" y="686"/>
                  </a:lnTo>
                  <a:lnTo>
                    <a:pt x="438" y="691"/>
                  </a:lnTo>
                  <a:lnTo>
                    <a:pt x="422" y="695"/>
                  </a:lnTo>
                  <a:lnTo>
                    <a:pt x="405" y="697"/>
                  </a:lnTo>
                  <a:lnTo>
                    <a:pt x="386" y="700"/>
                  </a:lnTo>
                  <a:lnTo>
                    <a:pt x="369" y="701"/>
                  </a:lnTo>
                  <a:lnTo>
                    <a:pt x="350" y="702"/>
                  </a:lnTo>
                  <a:lnTo>
                    <a:pt x="350" y="702"/>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92" name="Freeform 252">
              <a:extLst>
                <a:ext uri="{FF2B5EF4-FFF2-40B4-BE49-F238E27FC236}">
                  <a16:creationId xmlns:a16="http://schemas.microsoft.com/office/drawing/2014/main" id="{E18EA863-87D4-E1C0-AC82-B5A5D006EAAB}"/>
                </a:ext>
              </a:extLst>
            </p:cNvPr>
            <p:cNvSpPr>
              <a:spLocks/>
            </p:cNvSpPr>
            <p:nvPr/>
          </p:nvSpPr>
          <p:spPr bwMode="auto">
            <a:xfrm>
              <a:off x="522288" y="6062663"/>
              <a:ext cx="520700" cy="436563"/>
            </a:xfrm>
            <a:custGeom>
              <a:avLst/>
              <a:gdLst>
                <a:gd name="T0" fmla="*/ 14 w 328"/>
                <a:gd name="T1" fmla="*/ 275 h 275"/>
                <a:gd name="T2" fmla="*/ 14 w 328"/>
                <a:gd name="T3" fmla="*/ 275 h 275"/>
                <a:gd name="T4" fmla="*/ 8 w 328"/>
                <a:gd name="T5" fmla="*/ 274 h 275"/>
                <a:gd name="T6" fmla="*/ 5 w 328"/>
                <a:gd name="T7" fmla="*/ 272 h 275"/>
                <a:gd name="T8" fmla="*/ 1 w 328"/>
                <a:gd name="T9" fmla="*/ 267 h 275"/>
                <a:gd name="T10" fmla="*/ 0 w 328"/>
                <a:gd name="T11" fmla="*/ 262 h 275"/>
                <a:gd name="T12" fmla="*/ 0 w 328"/>
                <a:gd name="T13" fmla="*/ 14 h 275"/>
                <a:gd name="T14" fmla="*/ 0 w 328"/>
                <a:gd name="T15" fmla="*/ 14 h 275"/>
                <a:gd name="T16" fmla="*/ 1 w 328"/>
                <a:gd name="T17" fmla="*/ 9 h 275"/>
                <a:gd name="T18" fmla="*/ 5 w 328"/>
                <a:gd name="T19" fmla="*/ 4 h 275"/>
                <a:gd name="T20" fmla="*/ 8 w 328"/>
                <a:gd name="T21" fmla="*/ 1 h 275"/>
                <a:gd name="T22" fmla="*/ 14 w 328"/>
                <a:gd name="T23" fmla="*/ 0 h 275"/>
                <a:gd name="T24" fmla="*/ 313 w 328"/>
                <a:gd name="T25" fmla="*/ 0 h 275"/>
                <a:gd name="T26" fmla="*/ 313 w 328"/>
                <a:gd name="T27" fmla="*/ 0 h 275"/>
                <a:gd name="T28" fmla="*/ 319 w 328"/>
                <a:gd name="T29" fmla="*/ 1 h 275"/>
                <a:gd name="T30" fmla="*/ 323 w 328"/>
                <a:gd name="T31" fmla="*/ 4 h 275"/>
                <a:gd name="T32" fmla="*/ 326 w 328"/>
                <a:gd name="T33" fmla="*/ 9 h 275"/>
                <a:gd name="T34" fmla="*/ 328 w 328"/>
                <a:gd name="T35" fmla="*/ 14 h 275"/>
                <a:gd name="T36" fmla="*/ 328 w 328"/>
                <a:gd name="T37" fmla="*/ 262 h 275"/>
                <a:gd name="T38" fmla="*/ 328 w 328"/>
                <a:gd name="T39" fmla="*/ 262 h 275"/>
                <a:gd name="T40" fmla="*/ 326 w 328"/>
                <a:gd name="T41" fmla="*/ 267 h 275"/>
                <a:gd name="T42" fmla="*/ 323 w 328"/>
                <a:gd name="T43" fmla="*/ 272 h 275"/>
                <a:gd name="T44" fmla="*/ 319 w 328"/>
                <a:gd name="T45" fmla="*/ 274 h 275"/>
                <a:gd name="T46" fmla="*/ 313 w 328"/>
                <a:gd name="T47" fmla="*/ 275 h 275"/>
                <a:gd name="T48" fmla="*/ 14 w 328"/>
                <a:gd name="T49" fmla="*/ 275 h 2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8" h="275">
                  <a:moveTo>
                    <a:pt x="14" y="275"/>
                  </a:moveTo>
                  <a:lnTo>
                    <a:pt x="14" y="275"/>
                  </a:lnTo>
                  <a:lnTo>
                    <a:pt x="8" y="274"/>
                  </a:lnTo>
                  <a:lnTo>
                    <a:pt x="5" y="272"/>
                  </a:lnTo>
                  <a:lnTo>
                    <a:pt x="1" y="267"/>
                  </a:lnTo>
                  <a:lnTo>
                    <a:pt x="0" y="262"/>
                  </a:lnTo>
                  <a:lnTo>
                    <a:pt x="0" y="14"/>
                  </a:lnTo>
                  <a:lnTo>
                    <a:pt x="0" y="14"/>
                  </a:lnTo>
                  <a:lnTo>
                    <a:pt x="1" y="9"/>
                  </a:lnTo>
                  <a:lnTo>
                    <a:pt x="5" y="4"/>
                  </a:lnTo>
                  <a:lnTo>
                    <a:pt x="8" y="1"/>
                  </a:lnTo>
                  <a:lnTo>
                    <a:pt x="14" y="0"/>
                  </a:lnTo>
                  <a:lnTo>
                    <a:pt x="313" y="0"/>
                  </a:lnTo>
                  <a:lnTo>
                    <a:pt x="313" y="0"/>
                  </a:lnTo>
                  <a:lnTo>
                    <a:pt x="319" y="1"/>
                  </a:lnTo>
                  <a:lnTo>
                    <a:pt x="323" y="4"/>
                  </a:lnTo>
                  <a:lnTo>
                    <a:pt x="326" y="9"/>
                  </a:lnTo>
                  <a:lnTo>
                    <a:pt x="328" y="14"/>
                  </a:lnTo>
                  <a:lnTo>
                    <a:pt x="328" y="262"/>
                  </a:lnTo>
                  <a:lnTo>
                    <a:pt x="328" y="262"/>
                  </a:lnTo>
                  <a:lnTo>
                    <a:pt x="326" y="267"/>
                  </a:lnTo>
                  <a:lnTo>
                    <a:pt x="323" y="272"/>
                  </a:lnTo>
                  <a:lnTo>
                    <a:pt x="319" y="274"/>
                  </a:lnTo>
                  <a:lnTo>
                    <a:pt x="313" y="275"/>
                  </a:lnTo>
                  <a:lnTo>
                    <a:pt x="14" y="275"/>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93" name="Freeform 253">
              <a:extLst>
                <a:ext uri="{FF2B5EF4-FFF2-40B4-BE49-F238E27FC236}">
                  <a16:creationId xmlns:a16="http://schemas.microsoft.com/office/drawing/2014/main" id="{5B3DC324-C1D4-0A2C-CB4D-83B426A94BD5}"/>
                </a:ext>
              </a:extLst>
            </p:cNvPr>
            <p:cNvSpPr>
              <a:spLocks noEditPoints="1"/>
            </p:cNvSpPr>
            <p:nvPr/>
          </p:nvSpPr>
          <p:spPr bwMode="auto">
            <a:xfrm>
              <a:off x="519113" y="6059488"/>
              <a:ext cx="525463" cy="444500"/>
            </a:xfrm>
            <a:custGeom>
              <a:avLst/>
              <a:gdLst>
                <a:gd name="T0" fmla="*/ 315 w 331"/>
                <a:gd name="T1" fmla="*/ 3 h 280"/>
                <a:gd name="T2" fmla="*/ 315 w 331"/>
                <a:gd name="T3" fmla="*/ 3 h 280"/>
                <a:gd name="T4" fmla="*/ 320 w 331"/>
                <a:gd name="T5" fmla="*/ 5 h 280"/>
                <a:gd name="T6" fmla="*/ 324 w 331"/>
                <a:gd name="T7" fmla="*/ 7 h 280"/>
                <a:gd name="T8" fmla="*/ 327 w 331"/>
                <a:gd name="T9" fmla="*/ 11 h 280"/>
                <a:gd name="T10" fmla="*/ 327 w 331"/>
                <a:gd name="T11" fmla="*/ 16 h 280"/>
                <a:gd name="T12" fmla="*/ 327 w 331"/>
                <a:gd name="T13" fmla="*/ 264 h 280"/>
                <a:gd name="T14" fmla="*/ 327 w 331"/>
                <a:gd name="T15" fmla="*/ 264 h 280"/>
                <a:gd name="T16" fmla="*/ 327 w 331"/>
                <a:gd name="T17" fmla="*/ 269 h 280"/>
                <a:gd name="T18" fmla="*/ 324 w 331"/>
                <a:gd name="T19" fmla="*/ 272 h 280"/>
                <a:gd name="T20" fmla="*/ 320 w 331"/>
                <a:gd name="T21" fmla="*/ 275 h 280"/>
                <a:gd name="T22" fmla="*/ 315 w 331"/>
                <a:gd name="T23" fmla="*/ 276 h 280"/>
                <a:gd name="T24" fmla="*/ 16 w 331"/>
                <a:gd name="T25" fmla="*/ 276 h 280"/>
                <a:gd name="T26" fmla="*/ 16 w 331"/>
                <a:gd name="T27" fmla="*/ 276 h 280"/>
                <a:gd name="T28" fmla="*/ 12 w 331"/>
                <a:gd name="T29" fmla="*/ 275 h 280"/>
                <a:gd name="T30" fmla="*/ 8 w 331"/>
                <a:gd name="T31" fmla="*/ 272 h 280"/>
                <a:gd name="T32" fmla="*/ 5 w 331"/>
                <a:gd name="T33" fmla="*/ 269 h 280"/>
                <a:gd name="T34" fmla="*/ 4 w 331"/>
                <a:gd name="T35" fmla="*/ 264 h 280"/>
                <a:gd name="T36" fmla="*/ 4 w 331"/>
                <a:gd name="T37" fmla="*/ 16 h 280"/>
                <a:gd name="T38" fmla="*/ 4 w 331"/>
                <a:gd name="T39" fmla="*/ 16 h 280"/>
                <a:gd name="T40" fmla="*/ 5 w 331"/>
                <a:gd name="T41" fmla="*/ 11 h 280"/>
                <a:gd name="T42" fmla="*/ 8 w 331"/>
                <a:gd name="T43" fmla="*/ 7 h 280"/>
                <a:gd name="T44" fmla="*/ 12 w 331"/>
                <a:gd name="T45" fmla="*/ 5 h 280"/>
                <a:gd name="T46" fmla="*/ 16 w 331"/>
                <a:gd name="T47" fmla="*/ 3 h 280"/>
                <a:gd name="T48" fmla="*/ 315 w 331"/>
                <a:gd name="T49" fmla="*/ 3 h 280"/>
                <a:gd name="T50" fmla="*/ 315 w 331"/>
                <a:gd name="T51" fmla="*/ 0 h 280"/>
                <a:gd name="T52" fmla="*/ 16 w 331"/>
                <a:gd name="T53" fmla="*/ 0 h 280"/>
                <a:gd name="T54" fmla="*/ 16 w 331"/>
                <a:gd name="T55" fmla="*/ 0 h 280"/>
                <a:gd name="T56" fmla="*/ 10 w 331"/>
                <a:gd name="T57" fmla="*/ 1 h 280"/>
                <a:gd name="T58" fmla="*/ 5 w 331"/>
                <a:gd name="T59" fmla="*/ 5 h 280"/>
                <a:gd name="T60" fmla="*/ 2 w 331"/>
                <a:gd name="T61" fmla="*/ 10 h 280"/>
                <a:gd name="T62" fmla="*/ 0 w 331"/>
                <a:gd name="T63" fmla="*/ 16 h 280"/>
                <a:gd name="T64" fmla="*/ 0 w 331"/>
                <a:gd name="T65" fmla="*/ 264 h 280"/>
                <a:gd name="T66" fmla="*/ 0 w 331"/>
                <a:gd name="T67" fmla="*/ 264 h 280"/>
                <a:gd name="T68" fmla="*/ 2 w 331"/>
                <a:gd name="T69" fmla="*/ 270 h 280"/>
                <a:gd name="T70" fmla="*/ 5 w 331"/>
                <a:gd name="T71" fmla="*/ 275 h 280"/>
                <a:gd name="T72" fmla="*/ 10 w 331"/>
                <a:gd name="T73" fmla="*/ 278 h 280"/>
                <a:gd name="T74" fmla="*/ 16 w 331"/>
                <a:gd name="T75" fmla="*/ 280 h 280"/>
                <a:gd name="T76" fmla="*/ 315 w 331"/>
                <a:gd name="T77" fmla="*/ 280 h 280"/>
                <a:gd name="T78" fmla="*/ 315 w 331"/>
                <a:gd name="T79" fmla="*/ 280 h 280"/>
                <a:gd name="T80" fmla="*/ 321 w 331"/>
                <a:gd name="T81" fmla="*/ 278 h 280"/>
                <a:gd name="T82" fmla="*/ 326 w 331"/>
                <a:gd name="T83" fmla="*/ 275 h 280"/>
                <a:gd name="T84" fmla="*/ 330 w 331"/>
                <a:gd name="T85" fmla="*/ 270 h 280"/>
                <a:gd name="T86" fmla="*/ 331 w 331"/>
                <a:gd name="T87" fmla="*/ 264 h 280"/>
                <a:gd name="T88" fmla="*/ 331 w 331"/>
                <a:gd name="T89" fmla="*/ 16 h 280"/>
                <a:gd name="T90" fmla="*/ 331 w 331"/>
                <a:gd name="T91" fmla="*/ 16 h 280"/>
                <a:gd name="T92" fmla="*/ 330 w 331"/>
                <a:gd name="T93" fmla="*/ 10 h 280"/>
                <a:gd name="T94" fmla="*/ 326 w 331"/>
                <a:gd name="T95" fmla="*/ 5 h 280"/>
                <a:gd name="T96" fmla="*/ 321 w 331"/>
                <a:gd name="T97" fmla="*/ 1 h 280"/>
                <a:gd name="T98" fmla="*/ 315 w 331"/>
                <a:gd name="T99" fmla="*/ 0 h 280"/>
                <a:gd name="T100" fmla="*/ 315 w 331"/>
                <a:gd name="T101"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Lst>
              <a:rect l="0" t="0" r="r" b="b"/>
              <a:pathLst>
                <a:path w="331" h="280">
                  <a:moveTo>
                    <a:pt x="315" y="3"/>
                  </a:moveTo>
                  <a:lnTo>
                    <a:pt x="315" y="3"/>
                  </a:lnTo>
                  <a:lnTo>
                    <a:pt x="320" y="5"/>
                  </a:lnTo>
                  <a:lnTo>
                    <a:pt x="324" y="7"/>
                  </a:lnTo>
                  <a:lnTo>
                    <a:pt x="327" y="11"/>
                  </a:lnTo>
                  <a:lnTo>
                    <a:pt x="327" y="16"/>
                  </a:lnTo>
                  <a:lnTo>
                    <a:pt x="327" y="264"/>
                  </a:lnTo>
                  <a:lnTo>
                    <a:pt x="327" y="264"/>
                  </a:lnTo>
                  <a:lnTo>
                    <a:pt x="327" y="269"/>
                  </a:lnTo>
                  <a:lnTo>
                    <a:pt x="324" y="272"/>
                  </a:lnTo>
                  <a:lnTo>
                    <a:pt x="320" y="275"/>
                  </a:lnTo>
                  <a:lnTo>
                    <a:pt x="315" y="276"/>
                  </a:lnTo>
                  <a:lnTo>
                    <a:pt x="16" y="276"/>
                  </a:lnTo>
                  <a:lnTo>
                    <a:pt x="16" y="276"/>
                  </a:lnTo>
                  <a:lnTo>
                    <a:pt x="12" y="275"/>
                  </a:lnTo>
                  <a:lnTo>
                    <a:pt x="8" y="272"/>
                  </a:lnTo>
                  <a:lnTo>
                    <a:pt x="5" y="269"/>
                  </a:lnTo>
                  <a:lnTo>
                    <a:pt x="4" y="264"/>
                  </a:lnTo>
                  <a:lnTo>
                    <a:pt x="4" y="16"/>
                  </a:lnTo>
                  <a:lnTo>
                    <a:pt x="4" y="16"/>
                  </a:lnTo>
                  <a:lnTo>
                    <a:pt x="5" y="11"/>
                  </a:lnTo>
                  <a:lnTo>
                    <a:pt x="8" y="7"/>
                  </a:lnTo>
                  <a:lnTo>
                    <a:pt x="12" y="5"/>
                  </a:lnTo>
                  <a:lnTo>
                    <a:pt x="16" y="3"/>
                  </a:lnTo>
                  <a:lnTo>
                    <a:pt x="315" y="3"/>
                  </a:lnTo>
                  <a:close/>
                  <a:moveTo>
                    <a:pt x="315" y="0"/>
                  </a:moveTo>
                  <a:lnTo>
                    <a:pt x="16" y="0"/>
                  </a:lnTo>
                  <a:lnTo>
                    <a:pt x="16" y="0"/>
                  </a:lnTo>
                  <a:lnTo>
                    <a:pt x="10" y="1"/>
                  </a:lnTo>
                  <a:lnTo>
                    <a:pt x="5" y="5"/>
                  </a:lnTo>
                  <a:lnTo>
                    <a:pt x="2" y="10"/>
                  </a:lnTo>
                  <a:lnTo>
                    <a:pt x="0" y="16"/>
                  </a:lnTo>
                  <a:lnTo>
                    <a:pt x="0" y="264"/>
                  </a:lnTo>
                  <a:lnTo>
                    <a:pt x="0" y="264"/>
                  </a:lnTo>
                  <a:lnTo>
                    <a:pt x="2" y="270"/>
                  </a:lnTo>
                  <a:lnTo>
                    <a:pt x="5" y="275"/>
                  </a:lnTo>
                  <a:lnTo>
                    <a:pt x="10" y="278"/>
                  </a:lnTo>
                  <a:lnTo>
                    <a:pt x="16" y="280"/>
                  </a:lnTo>
                  <a:lnTo>
                    <a:pt x="315" y="280"/>
                  </a:lnTo>
                  <a:lnTo>
                    <a:pt x="315" y="280"/>
                  </a:lnTo>
                  <a:lnTo>
                    <a:pt x="321" y="278"/>
                  </a:lnTo>
                  <a:lnTo>
                    <a:pt x="326" y="275"/>
                  </a:lnTo>
                  <a:lnTo>
                    <a:pt x="330" y="270"/>
                  </a:lnTo>
                  <a:lnTo>
                    <a:pt x="331" y="264"/>
                  </a:lnTo>
                  <a:lnTo>
                    <a:pt x="331" y="16"/>
                  </a:lnTo>
                  <a:lnTo>
                    <a:pt x="331" y="16"/>
                  </a:lnTo>
                  <a:lnTo>
                    <a:pt x="330" y="10"/>
                  </a:lnTo>
                  <a:lnTo>
                    <a:pt x="326" y="5"/>
                  </a:lnTo>
                  <a:lnTo>
                    <a:pt x="321" y="1"/>
                  </a:lnTo>
                  <a:lnTo>
                    <a:pt x="315" y="0"/>
                  </a:lnTo>
                  <a:lnTo>
                    <a:pt x="315"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94" name="Freeform 254">
              <a:extLst>
                <a:ext uri="{FF2B5EF4-FFF2-40B4-BE49-F238E27FC236}">
                  <a16:creationId xmlns:a16="http://schemas.microsoft.com/office/drawing/2014/main" id="{7F20DABF-A8AC-DDC5-12ED-1BEB4FABEDDE}"/>
                </a:ext>
              </a:extLst>
            </p:cNvPr>
            <p:cNvSpPr>
              <a:spLocks/>
            </p:cNvSpPr>
            <p:nvPr/>
          </p:nvSpPr>
          <p:spPr bwMode="auto">
            <a:xfrm>
              <a:off x="525463" y="6064250"/>
              <a:ext cx="512763" cy="433388"/>
            </a:xfrm>
            <a:custGeom>
              <a:avLst/>
              <a:gdLst>
                <a:gd name="T0" fmla="*/ 311 w 323"/>
                <a:gd name="T1" fmla="*/ 0 h 273"/>
                <a:gd name="T2" fmla="*/ 311 w 323"/>
                <a:gd name="T3" fmla="*/ 0 h 273"/>
                <a:gd name="T4" fmla="*/ 316 w 323"/>
                <a:gd name="T5" fmla="*/ 2 h 273"/>
                <a:gd name="T6" fmla="*/ 320 w 323"/>
                <a:gd name="T7" fmla="*/ 4 h 273"/>
                <a:gd name="T8" fmla="*/ 323 w 323"/>
                <a:gd name="T9" fmla="*/ 8 h 273"/>
                <a:gd name="T10" fmla="*/ 323 w 323"/>
                <a:gd name="T11" fmla="*/ 13 h 273"/>
                <a:gd name="T12" fmla="*/ 323 w 323"/>
                <a:gd name="T13" fmla="*/ 261 h 273"/>
                <a:gd name="T14" fmla="*/ 323 w 323"/>
                <a:gd name="T15" fmla="*/ 261 h 273"/>
                <a:gd name="T16" fmla="*/ 323 w 323"/>
                <a:gd name="T17" fmla="*/ 266 h 273"/>
                <a:gd name="T18" fmla="*/ 320 w 323"/>
                <a:gd name="T19" fmla="*/ 269 h 273"/>
                <a:gd name="T20" fmla="*/ 316 w 323"/>
                <a:gd name="T21" fmla="*/ 272 h 273"/>
                <a:gd name="T22" fmla="*/ 311 w 323"/>
                <a:gd name="T23" fmla="*/ 273 h 273"/>
                <a:gd name="T24" fmla="*/ 12 w 323"/>
                <a:gd name="T25" fmla="*/ 273 h 273"/>
                <a:gd name="T26" fmla="*/ 12 w 323"/>
                <a:gd name="T27" fmla="*/ 273 h 273"/>
                <a:gd name="T28" fmla="*/ 8 w 323"/>
                <a:gd name="T29" fmla="*/ 272 h 273"/>
                <a:gd name="T30" fmla="*/ 4 w 323"/>
                <a:gd name="T31" fmla="*/ 269 h 273"/>
                <a:gd name="T32" fmla="*/ 1 w 323"/>
                <a:gd name="T33" fmla="*/ 266 h 273"/>
                <a:gd name="T34" fmla="*/ 0 w 323"/>
                <a:gd name="T35" fmla="*/ 261 h 273"/>
                <a:gd name="T36" fmla="*/ 0 w 323"/>
                <a:gd name="T37" fmla="*/ 13 h 273"/>
                <a:gd name="T38" fmla="*/ 0 w 323"/>
                <a:gd name="T39" fmla="*/ 13 h 273"/>
                <a:gd name="T40" fmla="*/ 1 w 323"/>
                <a:gd name="T41" fmla="*/ 8 h 273"/>
                <a:gd name="T42" fmla="*/ 4 w 323"/>
                <a:gd name="T43" fmla="*/ 4 h 273"/>
                <a:gd name="T44" fmla="*/ 8 w 323"/>
                <a:gd name="T45" fmla="*/ 2 h 273"/>
                <a:gd name="T46" fmla="*/ 12 w 323"/>
                <a:gd name="T47" fmla="*/ 0 h 273"/>
                <a:gd name="T48" fmla="*/ 311 w 323"/>
                <a:gd name="T49" fmla="*/ 0 h 27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323" h="273">
                  <a:moveTo>
                    <a:pt x="311" y="0"/>
                  </a:moveTo>
                  <a:lnTo>
                    <a:pt x="311" y="0"/>
                  </a:lnTo>
                  <a:lnTo>
                    <a:pt x="316" y="2"/>
                  </a:lnTo>
                  <a:lnTo>
                    <a:pt x="320" y="4"/>
                  </a:lnTo>
                  <a:lnTo>
                    <a:pt x="323" y="8"/>
                  </a:lnTo>
                  <a:lnTo>
                    <a:pt x="323" y="13"/>
                  </a:lnTo>
                  <a:lnTo>
                    <a:pt x="323" y="261"/>
                  </a:lnTo>
                  <a:lnTo>
                    <a:pt x="323" y="261"/>
                  </a:lnTo>
                  <a:lnTo>
                    <a:pt x="323" y="266"/>
                  </a:lnTo>
                  <a:lnTo>
                    <a:pt x="320" y="269"/>
                  </a:lnTo>
                  <a:lnTo>
                    <a:pt x="316" y="272"/>
                  </a:lnTo>
                  <a:lnTo>
                    <a:pt x="311" y="273"/>
                  </a:lnTo>
                  <a:lnTo>
                    <a:pt x="12" y="273"/>
                  </a:lnTo>
                  <a:lnTo>
                    <a:pt x="12" y="273"/>
                  </a:lnTo>
                  <a:lnTo>
                    <a:pt x="8" y="272"/>
                  </a:lnTo>
                  <a:lnTo>
                    <a:pt x="4" y="269"/>
                  </a:lnTo>
                  <a:lnTo>
                    <a:pt x="1" y="266"/>
                  </a:lnTo>
                  <a:lnTo>
                    <a:pt x="0" y="261"/>
                  </a:lnTo>
                  <a:lnTo>
                    <a:pt x="0" y="13"/>
                  </a:lnTo>
                  <a:lnTo>
                    <a:pt x="0" y="13"/>
                  </a:lnTo>
                  <a:lnTo>
                    <a:pt x="1" y="8"/>
                  </a:lnTo>
                  <a:lnTo>
                    <a:pt x="4" y="4"/>
                  </a:lnTo>
                  <a:lnTo>
                    <a:pt x="8" y="2"/>
                  </a:lnTo>
                  <a:lnTo>
                    <a:pt x="12" y="0"/>
                  </a:lnTo>
                  <a:lnTo>
                    <a:pt x="311"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95" name="Freeform 255">
              <a:extLst>
                <a:ext uri="{FF2B5EF4-FFF2-40B4-BE49-F238E27FC236}">
                  <a16:creationId xmlns:a16="http://schemas.microsoft.com/office/drawing/2014/main" id="{7B2386CF-9547-CA79-3A5F-07EBF5D0CF4D}"/>
                </a:ext>
              </a:extLst>
            </p:cNvPr>
            <p:cNvSpPr>
              <a:spLocks/>
            </p:cNvSpPr>
            <p:nvPr/>
          </p:nvSpPr>
          <p:spPr bwMode="auto">
            <a:xfrm>
              <a:off x="519113" y="6059488"/>
              <a:ext cx="525463" cy="444500"/>
            </a:xfrm>
            <a:custGeom>
              <a:avLst/>
              <a:gdLst>
                <a:gd name="T0" fmla="*/ 315 w 331"/>
                <a:gd name="T1" fmla="*/ 0 h 280"/>
                <a:gd name="T2" fmla="*/ 16 w 331"/>
                <a:gd name="T3" fmla="*/ 0 h 280"/>
                <a:gd name="T4" fmla="*/ 16 w 331"/>
                <a:gd name="T5" fmla="*/ 0 h 280"/>
                <a:gd name="T6" fmla="*/ 10 w 331"/>
                <a:gd name="T7" fmla="*/ 1 h 280"/>
                <a:gd name="T8" fmla="*/ 5 w 331"/>
                <a:gd name="T9" fmla="*/ 5 h 280"/>
                <a:gd name="T10" fmla="*/ 2 w 331"/>
                <a:gd name="T11" fmla="*/ 10 h 280"/>
                <a:gd name="T12" fmla="*/ 0 w 331"/>
                <a:gd name="T13" fmla="*/ 16 h 280"/>
                <a:gd name="T14" fmla="*/ 0 w 331"/>
                <a:gd name="T15" fmla="*/ 264 h 280"/>
                <a:gd name="T16" fmla="*/ 0 w 331"/>
                <a:gd name="T17" fmla="*/ 264 h 280"/>
                <a:gd name="T18" fmla="*/ 2 w 331"/>
                <a:gd name="T19" fmla="*/ 270 h 280"/>
                <a:gd name="T20" fmla="*/ 5 w 331"/>
                <a:gd name="T21" fmla="*/ 275 h 280"/>
                <a:gd name="T22" fmla="*/ 10 w 331"/>
                <a:gd name="T23" fmla="*/ 278 h 280"/>
                <a:gd name="T24" fmla="*/ 16 w 331"/>
                <a:gd name="T25" fmla="*/ 280 h 280"/>
                <a:gd name="T26" fmla="*/ 315 w 331"/>
                <a:gd name="T27" fmla="*/ 280 h 280"/>
                <a:gd name="T28" fmla="*/ 315 w 331"/>
                <a:gd name="T29" fmla="*/ 280 h 280"/>
                <a:gd name="T30" fmla="*/ 321 w 331"/>
                <a:gd name="T31" fmla="*/ 278 h 280"/>
                <a:gd name="T32" fmla="*/ 326 w 331"/>
                <a:gd name="T33" fmla="*/ 275 h 280"/>
                <a:gd name="T34" fmla="*/ 330 w 331"/>
                <a:gd name="T35" fmla="*/ 270 h 280"/>
                <a:gd name="T36" fmla="*/ 331 w 331"/>
                <a:gd name="T37" fmla="*/ 264 h 280"/>
                <a:gd name="T38" fmla="*/ 331 w 331"/>
                <a:gd name="T39" fmla="*/ 16 h 280"/>
                <a:gd name="T40" fmla="*/ 331 w 331"/>
                <a:gd name="T41" fmla="*/ 16 h 280"/>
                <a:gd name="T42" fmla="*/ 330 w 331"/>
                <a:gd name="T43" fmla="*/ 10 h 280"/>
                <a:gd name="T44" fmla="*/ 326 w 331"/>
                <a:gd name="T45" fmla="*/ 5 h 280"/>
                <a:gd name="T46" fmla="*/ 321 w 331"/>
                <a:gd name="T47" fmla="*/ 1 h 280"/>
                <a:gd name="T48" fmla="*/ 315 w 331"/>
                <a:gd name="T49" fmla="*/ 0 h 280"/>
                <a:gd name="T50" fmla="*/ 315 w 331"/>
                <a:gd name="T51" fmla="*/ 0 h 28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Lst>
              <a:rect l="0" t="0" r="r" b="b"/>
              <a:pathLst>
                <a:path w="331" h="280">
                  <a:moveTo>
                    <a:pt x="315" y="0"/>
                  </a:moveTo>
                  <a:lnTo>
                    <a:pt x="16" y="0"/>
                  </a:lnTo>
                  <a:lnTo>
                    <a:pt x="16" y="0"/>
                  </a:lnTo>
                  <a:lnTo>
                    <a:pt x="10" y="1"/>
                  </a:lnTo>
                  <a:lnTo>
                    <a:pt x="5" y="5"/>
                  </a:lnTo>
                  <a:lnTo>
                    <a:pt x="2" y="10"/>
                  </a:lnTo>
                  <a:lnTo>
                    <a:pt x="0" y="16"/>
                  </a:lnTo>
                  <a:lnTo>
                    <a:pt x="0" y="264"/>
                  </a:lnTo>
                  <a:lnTo>
                    <a:pt x="0" y="264"/>
                  </a:lnTo>
                  <a:lnTo>
                    <a:pt x="2" y="270"/>
                  </a:lnTo>
                  <a:lnTo>
                    <a:pt x="5" y="275"/>
                  </a:lnTo>
                  <a:lnTo>
                    <a:pt x="10" y="278"/>
                  </a:lnTo>
                  <a:lnTo>
                    <a:pt x="16" y="280"/>
                  </a:lnTo>
                  <a:lnTo>
                    <a:pt x="315" y="280"/>
                  </a:lnTo>
                  <a:lnTo>
                    <a:pt x="315" y="280"/>
                  </a:lnTo>
                  <a:lnTo>
                    <a:pt x="321" y="278"/>
                  </a:lnTo>
                  <a:lnTo>
                    <a:pt x="326" y="275"/>
                  </a:lnTo>
                  <a:lnTo>
                    <a:pt x="330" y="270"/>
                  </a:lnTo>
                  <a:lnTo>
                    <a:pt x="331" y="264"/>
                  </a:lnTo>
                  <a:lnTo>
                    <a:pt x="331" y="16"/>
                  </a:lnTo>
                  <a:lnTo>
                    <a:pt x="331" y="16"/>
                  </a:lnTo>
                  <a:lnTo>
                    <a:pt x="330" y="10"/>
                  </a:lnTo>
                  <a:lnTo>
                    <a:pt x="326" y="5"/>
                  </a:lnTo>
                  <a:lnTo>
                    <a:pt x="321" y="1"/>
                  </a:lnTo>
                  <a:lnTo>
                    <a:pt x="315" y="0"/>
                  </a:lnTo>
                  <a:lnTo>
                    <a:pt x="315" y="0"/>
                  </a:lnTo>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96" name="Freeform 256">
              <a:extLst>
                <a:ext uri="{FF2B5EF4-FFF2-40B4-BE49-F238E27FC236}">
                  <a16:creationId xmlns:a16="http://schemas.microsoft.com/office/drawing/2014/main" id="{0C5C6131-235B-F75D-9FC8-5AEEE4C2F806}"/>
                </a:ext>
              </a:extLst>
            </p:cNvPr>
            <p:cNvSpPr>
              <a:spLocks/>
            </p:cNvSpPr>
            <p:nvPr/>
          </p:nvSpPr>
          <p:spPr bwMode="auto">
            <a:xfrm>
              <a:off x="519113" y="6059488"/>
              <a:ext cx="525463" cy="71438"/>
            </a:xfrm>
            <a:custGeom>
              <a:avLst/>
              <a:gdLst>
                <a:gd name="T0" fmla="*/ 315 w 331"/>
                <a:gd name="T1" fmla="*/ 0 h 45"/>
                <a:gd name="T2" fmla="*/ 16 w 331"/>
                <a:gd name="T3" fmla="*/ 0 h 45"/>
                <a:gd name="T4" fmla="*/ 16 w 331"/>
                <a:gd name="T5" fmla="*/ 0 h 45"/>
                <a:gd name="T6" fmla="*/ 10 w 331"/>
                <a:gd name="T7" fmla="*/ 1 h 45"/>
                <a:gd name="T8" fmla="*/ 5 w 331"/>
                <a:gd name="T9" fmla="*/ 5 h 45"/>
                <a:gd name="T10" fmla="*/ 2 w 331"/>
                <a:gd name="T11" fmla="*/ 10 h 45"/>
                <a:gd name="T12" fmla="*/ 0 w 331"/>
                <a:gd name="T13" fmla="*/ 16 h 45"/>
                <a:gd name="T14" fmla="*/ 0 w 331"/>
                <a:gd name="T15" fmla="*/ 45 h 45"/>
                <a:gd name="T16" fmla="*/ 331 w 331"/>
                <a:gd name="T17" fmla="*/ 45 h 45"/>
                <a:gd name="T18" fmla="*/ 331 w 331"/>
                <a:gd name="T19" fmla="*/ 16 h 45"/>
                <a:gd name="T20" fmla="*/ 331 w 331"/>
                <a:gd name="T21" fmla="*/ 16 h 45"/>
                <a:gd name="T22" fmla="*/ 330 w 331"/>
                <a:gd name="T23" fmla="*/ 10 h 45"/>
                <a:gd name="T24" fmla="*/ 326 w 331"/>
                <a:gd name="T25" fmla="*/ 5 h 45"/>
                <a:gd name="T26" fmla="*/ 321 w 331"/>
                <a:gd name="T27" fmla="*/ 1 h 45"/>
                <a:gd name="T28" fmla="*/ 315 w 331"/>
                <a:gd name="T29" fmla="*/ 0 h 45"/>
                <a:gd name="T30" fmla="*/ 315 w 331"/>
                <a:gd name="T31" fmla="*/ 0 h 4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Lst>
              <a:rect l="0" t="0" r="r" b="b"/>
              <a:pathLst>
                <a:path w="331" h="45">
                  <a:moveTo>
                    <a:pt x="315" y="0"/>
                  </a:moveTo>
                  <a:lnTo>
                    <a:pt x="16" y="0"/>
                  </a:lnTo>
                  <a:lnTo>
                    <a:pt x="16" y="0"/>
                  </a:lnTo>
                  <a:lnTo>
                    <a:pt x="10" y="1"/>
                  </a:lnTo>
                  <a:lnTo>
                    <a:pt x="5" y="5"/>
                  </a:lnTo>
                  <a:lnTo>
                    <a:pt x="2" y="10"/>
                  </a:lnTo>
                  <a:lnTo>
                    <a:pt x="0" y="16"/>
                  </a:lnTo>
                  <a:lnTo>
                    <a:pt x="0" y="45"/>
                  </a:lnTo>
                  <a:lnTo>
                    <a:pt x="331" y="45"/>
                  </a:lnTo>
                  <a:lnTo>
                    <a:pt x="331" y="16"/>
                  </a:lnTo>
                  <a:lnTo>
                    <a:pt x="331" y="16"/>
                  </a:lnTo>
                  <a:lnTo>
                    <a:pt x="330" y="10"/>
                  </a:lnTo>
                  <a:lnTo>
                    <a:pt x="326" y="5"/>
                  </a:lnTo>
                  <a:lnTo>
                    <a:pt x="321" y="1"/>
                  </a:lnTo>
                  <a:lnTo>
                    <a:pt x="315" y="0"/>
                  </a:lnTo>
                  <a:lnTo>
                    <a:pt x="315"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97" name="Freeform 257">
              <a:extLst>
                <a:ext uri="{FF2B5EF4-FFF2-40B4-BE49-F238E27FC236}">
                  <a16:creationId xmlns:a16="http://schemas.microsoft.com/office/drawing/2014/main" id="{F59BBE3C-5C9B-57E4-BCFD-9B78BAF24C33}"/>
                </a:ext>
              </a:extLst>
            </p:cNvPr>
            <p:cNvSpPr>
              <a:spLocks/>
            </p:cNvSpPr>
            <p:nvPr/>
          </p:nvSpPr>
          <p:spPr bwMode="auto">
            <a:xfrm>
              <a:off x="542925" y="6083300"/>
              <a:ext cx="26988" cy="26988"/>
            </a:xfrm>
            <a:custGeom>
              <a:avLst/>
              <a:gdLst>
                <a:gd name="T0" fmla="*/ 17 w 17"/>
                <a:gd name="T1" fmla="*/ 8 h 17"/>
                <a:gd name="T2" fmla="*/ 17 w 17"/>
                <a:gd name="T3" fmla="*/ 8 h 17"/>
                <a:gd name="T4" fmla="*/ 16 w 17"/>
                <a:gd name="T5" fmla="*/ 12 h 17"/>
                <a:gd name="T6" fmla="*/ 15 w 17"/>
                <a:gd name="T7" fmla="*/ 14 h 17"/>
                <a:gd name="T8" fmla="*/ 13 w 17"/>
                <a:gd name="T9" fmla="*/ 17 h 17"/>
                <a:gd name="T10" fmla="*/ 9 w 17"/>
                <a:gd name="T11" fmla="*/ 17 h 17"/>
                <a:gd name="T12" fmla="*/ 9 w 17"/>
                <a:gd name="T13" fmla="*/ 17 h 17"/>
                <a:gd name="T14" fmla="*/ 5 w 17"/>
                <a:gd name="T15" fmla="*/ 17 h 17"/>
                <a:gd name="T16" fmla="*/ 3 w 17"/>
                <a:gd name="T17" fmla="*/ 14 h 17"/>
                <a:gd name="T18" fmla="*/ 0 w 17"/>
                <a:gd name="T19" fmla="*/ 12 h 17"/>
                <a:gd name="T20" fmla="*/ 0 w 17"/>
                <a:gd name="T21" fmla="*/ 8 h 17"/>
                <a:gd name="T22" fmla="*/ 0 w 17"/>
                <a:gd name="T23" fmla="*/ 8 h 17"/>
                <a:gd name="T24" fmla="*/ 0 w 17"/>
                <a:gd name="T25" fmla="*/ 4 h 17"/>
                <a:gd name="T26" fmla="*/ 3 w 17"/>
                <a:gd name="T27" fmla="*/ 2 h 17"/>
                <a:gd name="T28" fmla="*/ 5 w 17"/>
                <a:gd name="T29" fmla="*/ 1 h 17"/>
                <a:gd name="T30" fmla="*/ 9 w 17"/>
                <a:gd name="T31" fmla="*/ 0 h 17"/>
                <a:gd name="T32" fmla="*/ 9 w 17"/>
                <a:gd name="T33" fmla="*/ 0 h 17"/>
                <a:gd name="T34" fmla="*/ 13 w 17"/>
                <a:gd name="T35" fmla="*/ 1 h 17"/>
                <a:gd name="T36" fmla="*/ 15 w 17"/>
                <a:gd name="T37" fmla="*/ 2 h 17"/>
                <a:gd name="T38" fmla="*/ 16 w 17"/>
                <a:gd name="T39" fmla="*/ 4 h 17"/>
                <a:gd name="T40" fmla="*/ 17 w 17"/>
                <a:gd name="T41" fmla="*/ 8 h 17"/>
                <a:gd name="T42" fmla="*/ 17 w 17"/>
                <a:gd name="T4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7">
                  <a:moveTo>
                    <a:pt x="17" y="8"/>
                  </a:moveTo>
                  <a:lnTo>
                    <a:pt x="17" y="8"/>
                  </a:lnTo>
                  <a:lnTo>
                    <a:pt x="16" y="12"/>
                  </a:lnTo>
                  <a:lnTo>
                    <a:pt x="15" y="14"/>
                  </a:lnTo>
                  <a:lnTo>
                    <a:pt x="13" y="17"/>
                  </a:lnTo>
                  <a:lnTo>
                    <a:pt x="9" y="17"/>
                  </a:lnTo>
                  <a:lnTo>
                    <a:pt x="9" y="17"/>
                  </a:lnTo>
                  <a:lnTo>
                    <a:pt x="5" y="17"/>
                  </a:lnTo>
                  <a:lnTo>
                    <a:pt x="3" y="14"/>
                  </a:lnTo>
                  <a:lnTo>
                    <a:pt x="0" y="12"/>
                  </a:lnTo>
                  <a:lnTo>
                    <a:pt x="0" y="8"/>
                  </a:lnTo>
                  <a:lnTo>
                    <a:pt x="0" y="8"/>
                  </a:lnTo>
                  <a:lnTo>
                    <a:pt x="0" y="4"/>
                  </a:lnTo>
                  <a:lnTo>
                    <a:pt x="3" y="2"/>
                  </a:lnTo>
                  <a:lnTo>
                    <a:pt x="5" y="1"/>
                  </a:lnTo>
                  <a:lnTo>
                    <a:pt x="9" y="0"/>
                  </a:lnTo>
                  <a:lnTo>
                    <a:pt x="9" y="0"/>
                  </a:lnTo>
                  <a:lnTo>
                    <a:pt x="13" y="1"/>
                  </a:lnTo>
                  <a:lnTo>
                    <a:pt x="15" y="2"/>
                  </a:lnTo>
                  <a:lnTo>
                    <a:pt x="16" y="4"/>
                  </a:lnTo>
                  <a:lnTo>
                    <a:pt x="17" y="8"/>
                  </a:lnTo>
                  <a:lnTo>
                    <a:pt x="1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98" name="Freeform 258">
              <a:extLst>
                <a:ext uri="{FF2B5EF4-FFF2-40B4-BE49-F238E27FC236}">
                  <a16:creationId xmlns:a16="http://schemas.microsoft.com/office/drawing/2014/main" id="{9F92FC7A-3DDB-3DDF-F42D-5C5926B193B5}"/>
                </a:ext>
              </a:extLst>
            </p:cNvPr>
            <p:cNvSpPr>
              <a:spLocks/>
            </p:cNvSpPr>
            <p:nvPr/>
          </p:nvSpPr>
          <p:spPr bwMode="auto">
            <a:xfrm>
              <a:off x="582613" y="6083300"/>
              <a:ext cx="26988" cy="26988"/>
            </a:xfrm>
            <a:custGeom>
              <a:avLst/>
              <a:gdLst>
                <a:gd name="T0" fmla="*/ 17 w 17"/>
                <a:gd name="T1" fmla="*/ 8 h 17"/>
                <a:gd name="T2" fmla="*/ 17 w 17"/>
                <a:gd name="T3" fmla="*/ 8 h 17"/>
                <a:gd name="T4" fmla="*/ 16 w 17"/>
                <a:gd name="T5" fmla="*/ 12 h 17"/>
                <a:gd name="T6" fmla="*/ 15 w 17"/>
                <a:gd name="T7" fmla="*/ 14 h 17"/>
                <a:gd name="T8" fmla="*/ 11 w 17"/>
                <a:gd name="T9" fmla="*/ 17 h 17"/>
                <a:gd name="T10" fmla="*/ 9 w 17"/>
                <a:gd name="T11" fmla="*/ 17 h 17"/>
                <a:gd name="T12" fmla="*/ 9 w 17"/>
                <a:gd name="T13" fmla="*/ 17 h 17"/>
                <a:gd name="T14" fmla="*/ 5 w 17"/>
                <a:gd name="T15" fmla="*/ 17 h 17"/>
                <a:gd name="T16" fmla="*/ 2 w 17"/>
                <a:gd name="T17" fmla="*/ 14 h 17"/>
                <a:gd name="T18" fmla="*/ 0 w 17"/>
                <a:gd name="T19" fmla="*/ 12 h 17"/>
                <a:gd name="T20" fmla="*/ 0 w 17"/>
                <a:gd name="T21" fmla="*/ 8 h 17"/>
                <a:gd name="T22" fmla="*/ 0 w 17"/>
                <a:gd name="T23" fmla="*/ 8 h 17"/>
                <a:gd name="T24" fmla="*/ 0 w 17"/>
                <a:gd name="T25" fmla="*/ 4 h 17"/>
                <a:gd name="T26" fmla="*/ 2 w 17"/>
                <a:gd name="T27" fmla="*/ 2 h 17"/>
                <a:gd name="T28" fmla="*/ 5 w 17"/>
                <a:gd name="T29" fmla="*/ 1 h 17"/>
                <a:gd name="T30" fmla="*/ 9 w 17"/>
                <a:gd name="T31" fmla="*/ 0 h 17"/>
                <a:gd name="T32" fmla="*/ 9 w 17"/>
                <a:gd name="T33" fmla="*/ 0 h 17"/>
                <a:gd name="T34" fmla="*/ 11 w 17"/>
                <a:gd name="T35" fmla="*/ 1 h 17"/>
                <a:gd name="T36" fmla="*/ 15 w 17"/>
                <a:gd name="T37" fmla="*/ 2 h 17"/>
                <a:gd name="T38" fmla="*/ 16 w 17"/>
                <a:gd name="T39" fmla="*/ 4 h 17"/>
                <a:gd name="T40" fmla="*/ 17 w 17"/>
                <a:gd name="T41" fmla="*/ 8 h 17"/>
                <a:gd name="T42" fmla="*/ 17 w 17"/>
                <a:gd name="T4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7" h="17">
                  <a:moveTo>
                    <a:pt x="17" y="8"/>
                  </a:moveTo>
                  <a:lnTo>
                    <a:pt x="17" y="8"/>
                  </a:lnTo>
                  <a:lnTo>
                    <a:pt x="16" y="12"/>
                  </a:lnTo>
                  <a:lnTo>
                    <a:pt x="15" y="14"/>
                  </a:lnTo>
                  <a:lnTo>
                    <a:pt x="11" y="17"/>
                  </a:lnTo>
                  <a:lnTo>
                    <a:pt x="9" y="17"/>
                  </a:lnTo>
                  <a:lnTo>
                    <a:pt x="9" y="17"/>
                  </a:lnTo>
                  <a:lnTo>
                    <a:pt x="5" y="17"/>
                  </a:lnTo>
                  <a:lnTo>
                    <a:pt x="2" y="14"/>
                  </a:lnTo>
                  <a:lnTo>
                    <a:pt x="0" y="12"/>
                  </a:lnTo>
                  <a:lnTo>
                    <a:pt x="0" y="8"/>
                  </a:lnTo>
                  <a:lnTo>
                    <a:pt x="0" y="8"/>
                  </a:lnTo>
                  <a:lnTo>
                    <a:pt x="0" y="4"/>
                  </a:lnTo>
                  <a:lnTo>
                    <a:pt x="2" y="2"/>
                  </a:lnTo>
                  <a:lnTo>
                    <a:pt x="5" y="1"/>
                  </a:lnTo>
                  <a:lnTo>
                    <a:pt x="9" y="0"/>
                  </a:lnTo>
                  <a:lnTo>
                    <a:pt x="9" y="0"/>
                  </a:lnTo>
                  <a:lnTo>
                    <a:pt x="11" y="1"/>
                  </a:lnTo>
                  <a:lnTo>
                    <a:pt x="15" y="2"/>
                  </a:lnTo>
                  <a:lnTo>
                    <a:pt x="16" y="4"/>
                  </a:lnTo>
                  <a:lnTo>
                    <a:pt x="17" y="8"/>
                  </a:lnTo>
                  <a:lnTo>
                    <a:pt x="17"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99" name="Freeform 259">
              <a:extLst>
                <a:ext uri="{FF2B5EF4-FFF2-40B4-BE49-F238E27FC236}">
                  <a16:creationId xmlns:a16="http://schemas.microsoft.com/office/drawing/2014/main" id="{321EB2E0-0810-0633-99FB-9C9AD6CDDEBB}"/>
                </a:ext>
              </a:extLst>
            </p:cNvPr>
            <p:cNvSpPr>
              <a:spLocks/>
            </p:cNvSpPr>
            <p:nvPr/>
          </p:nvSpPr>
          <p:spPr bwMode="auto">
            <a:xfrm>
              <a:off x="619125" y="6083300"/>
              <a:ext cx="30163" cy="26988"/>
            </a:xfrm>
            <a:custGeom>
              <a:avLst/>
              <a:gdLst>
                <a:gd name="T0" fmla="*/ 19 w 19"/>
                <a:gd name="T1" fmla="*/ 8 h 17"/>
                <a:gd name="T2" fmla="*/ 19 w 19"/>
                <a:gd name="T3" fmla="*/ 8 h 17"/>
                <a:gd name="T4" fmla="*/ 18 w 19"/>
                <a:gd name="T5" fmla="*/ 12 h 17"/>
                <a:gd name="T6" fmla="*/ 16 w 19"/>
                <a:gd name="T7" fmla="*/ 14 h 17"/>
                <a:gd name="T8" fmla="*/ 13 w 19"/>
                <a:gd name="T9" fmla="*/ 17 h 17"/>
                <a:gd name="T10" fmla="*/ 10 w 19"/>
                <a:gd name="T11" fmla="*/ 17 h 17"/>
                <a:gd name="T12" fmla="*/ 10 w 19"/>
                <a:gd name="T13" fmla="*/ 17 h 17"/>
                <a:gd name="T14" fmla="*/ 6 w 19"/>
                <a:gd name="T15" fmla="*/ 17 h 17"/>
                <a:gd name="T16" fmla="*/ 4 w 19"/>
                <a:gd name="T17" fmla="*/ 14 h 17"/>
                <a:gd name="T18" fmla="*/ 2 w 19"/>
                <a:gd name="T19" fmla="*/ 12 h 17"/>
                <a:gd name="T20" fmla="*/ 0 w 19"/>
                <a:gd name="T21" fmla="*/ 8 h 17"/>
                <a:gd name="T22" fmla="*/ 0 w 19"/>
                <a:gd name="T23" fmla="*/ 8 h 17"/>
                <a:gd name="T24" fmla="*/ 2 w 19"/>
                <a:gd name="T25" fmla="*/ 4 h 17"/>
                <a:gd name="T26" fmla="*/ 4 w 19"/>
                <a:gd name="T27" fmla="*/ 2 h 17"/>
                <a:gd name="T28" fmla="*/ 6 w 19"/>
                <a:gd name="T29" fmla="*/ 1 h 17"/>
                <a:gd name="T30" fmla="*/ 10 w 19"/>
                <a:gd name="T31" fmla="*/ 0 h 17"/>
                <a:gd name="T32" fmla="*/ 10 w 19"/>
                <a:gd name="T33" fmla="*/ 0 h 17"/>
                <a:gd name="T34" fmla="*/ 13 w 19"/>
                <a:gd name="T35" fmla="*/ 1 h 17"/>
                <a:gd name="T36" fmla="*/ 16 w 19"/>
                <a:gd name="T37" fmla="*/ 2 h 17"/>
                <a:gd name="T38" fmla="*/ 18 w 19"/>
                <a:gd name="T39" fmla="*/ 4 h 17"/>
                <a:gd name="T40" fmla="*/ 19 w 19"/>
                <a:gd name="T41" fmla="*/ 8 h 17"/>
                <a:gd name="T42" fmla="*/ 19 w 19"/>
                <a:gd name="T43" fmla="*/ 8 h 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9" h="17">
                  <a:moveTo>
                    <a:pt x="19" y="8"/>
                  </a:moveTo>
                  <a:lnTo>
                    <a:pt x="19" y="8"/>
                  </a:lnTo>
                  <a:lnTo>
                    <a:pt x="18" y="12"/>
                  </a:lnTo>
                  <a:lnTo>
                    <a:pt x="16" y="14"/>
                  </a:lnTo>
                  <a:lnTo>
                    <a:pt x="13" y="17"/>
                  </a:lnTo>
                  <a:lnTo>
                    <a:pt x="10" y="17"/>
                  </a:lnTo>
                  <a:lnTo>
                    <a:pt x="10" y="17"/>
                  </a:lnTo>
                  <a:lnTo>
                    <a:pt x="6" y="17"/>
                  </a:lnTo>
                  <a:lnTo>
                    <a:pt x="4" y="14"/>
                  </a:lnTo>
                  <a:lnTo>
                    <a:pt x="2" y="12"/>
                  </a:lnTo>
                  <a:lnTo>
                    <a:pt x="0" y="8"/>
                  </a:lnTo>
                  <a:lnTo>
                    <a:pt x="0" y="8"/>
                  </a:lnTo>
                  <a:lnTo>
                    <a:pt x="2" y="4"/>
                  </a:lnTo>
                  <a:lnTo>
                    <a:pt x="4" y="2"/>
                  </a:lnTo>
                  <a:lnTo>
                    <a:pt x="6" y="1"/>
                  </a:lnTo>
                  <a:lnTo>
                    <a:pt x="10" y="0"/>
                  </a:lnTo>
                  <a:lnTo>
                    <a:pt x="10" y="0"/>
                  </a:lnTo>
                  <a:lnTo>
                    <a:pt x="13" y="1"/>
                  </a:lnTo>
                  <a:lnTo>
                    <a:pt x="16" y="2"/>
                  </a:lnTo>
                  <a:lnTo>
                    <a:pt x="18" y="4"/>
                  </a:lnTo>
                  <a:lnTo>
                    <a:pt x="19" y="8"/>
                  </a:lnTo>
                  <a:lnTo>
                    <a:pt x="19" y="8"/>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00" name="Rectangle 260">
              <a:extLst>
                <a:ext uri="{FF2B5EF4-FFF2-40B4-BE49-F238E27FC236}">
                  <a16:creationId xmlns:a16="http://schemas.microsoft.com/office/drawing/2014/main" id="{A2844E55-0F06-43DC-A555-D282E5A438BE}"/>
                </a:ext>
              </a:extLst>
            </p:cNvPr>
            <p:cNvSpPr>
              <a:spLocks noChangeArrowheads="1"/>
            </p:cNvSpPr>
            <p:nvPr/>
          </p:nvSpPr>
          <p:spPr bwMode="auto">
            <a:xfrm>
              <a:off x="685800" y="6084888"/>
              <a:ext cx="323850" cy="23813"/>
            </a:xfrm>
            <a:prstGeom prst="rect">
              <a:avLst/>
            </a:prstGeom>
            <a:solidFill>
              <a:srgbClr val="FFFFF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01" name="Rectangle 261">
              <a:extLst>
                <a:ext uri="{FF2B5EF4-FFF2-40B4-BE49-F238E27FC236}">
                  <a16:creationId xmlns:a16="http://schemas.microsoft.com/office/drawing/2014/main" id="{1CEFF086-3674-C4D2-0C51-7B8956B42ACC}"/>
                </a:ext>
              </a:extLst>
            </p:cNvPr>
            <p:cNvSpPr>
              <a:spLocks noChangeArrowheads="1"/>
            </p:cNvSpPr>
            <p:nvPr/>
          </p:nvSpPr>
          <p:spPr bwMode="auto">
            <a:xfrm>
              <a:off x="547688" y="6170613"/>
              <a:ext cx="114300" cy="9525"/>
            </a:xfrm>
            <a:prstGeom prst="rect">
              <a:avLst/>
            </a:prstGeom>
            <a:solidFill>
              <a:srgbClr val="8FC4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02" name="Rectangle 262">
              <a:extLst>
                <a:ext uri="{FF2B5EF4-FFF2-40B4-BE49-F238E27FC236}">
                  <a16:creationId xmlns:a16="http://schemas.microsoft.com/office/drawing/2014/main" id="{4B86D4AC-3F6C-01FE-DACD-3C96218E740B}"/>
                </a:ext>
              </a:extLst>
            </p:cNvPr>
            <p:cNvSpPr>
              <a:spLocks noChangeArrowheads="1"/>
            </p:cNvSpPr>
            <p:nvPr/>
          </p:nvSpPr>
          <p:spPr bwMode="auto">
            <a:xfrm>
              <a:off x="547688" y="6388100"/>
              <a:ext cx="122238" cy="9525"/>
            </a:xfrm>
            <a:prstGeom prst="rect">
              <a:avLst/>
            </a:prstGeom>
            <a:solidFill>
              <a:srgbClr val="8FC4D7"/>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03" name="Rectangle 263">
              <a:extLst>
                <a:ext uri="{FF2B5EF4-FFF2-40B4-BE49-F238E27FC236}">
                  <a16:creationId xmlns:a16="http://schemas.microsoft.com/office/drawing/2014/main" id="{85CD9F23-E77A-0C14-2409-6EF0640FF7AA}"/>
                </a:ext>
              </a:extLst>
            </p:cNvPr>
            <p:cNvSpPr>
              <a:spLocks noChangeArrowheads="1"/>
            </p:cNvSpPr>
            <p:nvPr/>
          </p:nvSpPr>
          <p:spPr bwMode="auto">
            <a:xfrm>
              <a:off x="547688" y="6416675"/>
              <a:ext cx="455613" cy="11113"/>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04" name="Rectangle 264">
              <a:extLst>
                <a:ext uri="{FF2B5EF4-FFF2-40B4-BE49-F238E27FC236}">
                  <a16:creationId xmlns:a16="http://schemas.microsoft.com/office/drawing/2014/main" id="{BF160EC8-94A7-2F69-423B-B5F44198C3DB}"/>
                </a:ext>
              </a:extLst>
            </p:cNvPr>
            <p:cNvSpPr>
              <a:spLocks noChangeArrowheads="1"/>
            </p:cNvSpPr>
            <p:nvPr/>
          </p:nvSpPr>
          <p:spPr bwMode="auto">
            <a:xfrm>
              <a:off x="547688" y="6446838"/>
              <a:ext cx="455613" cy="11113"/>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05" name="Rectangle 265">
              <a:extLst>
                <a:ext uri="{FF2B5EF4-FFF2-40B4-BE49-F238E27FC236}">
                  <a16:creationId xmlns:a16="http://schemas.microsoft.com/office/drawing/2014/main" id="{16467C5D-3B88-C71C-CFEE-AF15EDF2CC59}"/>
                </a:ext>
              </a:extLst>
            </p:cNvPr>
            <p:cNvSpPr>
              <a:spLocks noChangeArrowheads="1"/>
            </p:cNvSpPr>
            <p:nvPr/>
          </p:nvSpPr>
          <p:spPr bwMode="auto">
            <a:xfrm>
              <a:off x="933450" y="6170613"/>
              <a:ext cx="71438" cy="9525"/>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06" name="Rectangle 266">
              <a:extLst>
                <a:ext uri="{FF2B5EF4-FFF2-40B4-BE49-F238E27FC236}">
                  <a16:creationId xmlns:a16="http://schemas.microsoft.com/office/drawing/2014/main" id="{5ECB12B7-885E-2521-7030-58272593A1CF}"/>
                </a:ext>
              </a:extLst>
            </p:cNvPr>
            <p:cNvSpPr>
              <a:spLocks noChangeArrowheads="1"/>
            </p:cNvSpPr>
            <p:nvPr/>
          </p:nvSpPr>
          <p:spPr bwMode="auto">
            <a:xfrm>
              <a:off x="842963" y="6170613"/>
              <a:ext cx="73025" cy="9525"/>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07" name="Rectangle 267">
              <a:extLst>
                <a:ext uri="{FF2B5EF4-FFF2-40B4-BE49-F238E27FC236}">
                  <a16:creationId xmlns:a16="http://schemas.microsoft.com/office/drawing/2014/main" id="{9EE72BAA-4F4F-223B-4D77-3543BDDD08EF}"/>
                </a:ext>
              </a:extLst>
            </p:cNvPr>
            <p:cNvSpPr>
              <a:spLocks noChangeArrowheads="1"/>
            </p:cNvSpPr>
            <p:nvPr/>
          </p:nvSpPr>
          <p:spPr bwMode="auto">
            <a:xfrm>
              <a:off x="750888" y="6170613"/>
              <a:ext cx="73025" cy="9525"/>
            </a:xfrm>
            <a:prstGeom prst="rect">
              <a:avLst/>
            </a:prstGeom>
            <a:solidFill>
              <a:srgbClr val="A6DAE9"/>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08" name="Rectangle 268">
              <a:extLst>
                <a:ext uri="{FF2B5EF4-FFF2-40B4-BE49-F238E27FC236}">
                  <a16:creationId xmlns:a16="http://schemas.microsoft.com/office/drawing/2014/main" id="{546F2D0E-D5E5-8826-2988-1ACE572DAB41}"/>
                </a:ext>
              </a:extLst>
            </p:cNvPr>
            <p:cNvSpPr>
              <a:spLocks noChangeArrowheads="1"/>
            </p:cNvSpPr>
            <p:nvPr/>
          </p:nvSpPr>
          <p:spPr bwMode="auto">
            <a:xfrm>
              <a:off x="547688" y="6219825"/>
              <a:ext cx="457200" cy="136525"/>
            </a:xfrm>
            <a:prstGeom prst="rect">
              <a:avLst/>
            </a:prstGeom>
            <a:solidFill>
              <a:srgbClr val="15B0BF"/>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09" name="Freeform 269">
              <a:extLst>
                <a:ext uri="{FF2B5EF4-FFF2-40B4-BE49-F238E27FC236}">
                  <a16:creationId xmlns:a16="http://schemas.microsoft.com/office/drawing/2014/main" id="{703909CD-74B6-02B5-FE08-40A0763AB9E5}"/>
                </a:ext>
              </a:extLst>
            </p:cNvPr>
            <p:cNvSpPr>
              <a:spLocks/>
            </p:cNvSpPr>
            <p:nvPr/>
          </p:nvSpPr>
          <p:spPr bwMode="auto">
            <a:xfrm>
              <a:off x="625475" y="6219825"/>
              <a:ext cx="379413" cy="136525"/>
            </a:xfrm>
            <a:custGeom>
              <a:avLst/>
              <a:gdLst>
                <a:gd name="T0" fmla="*/ 0 w 239"/>
                <a:gd name="T1" fmla="*/ 86 h 86"/>
                <a:gd name="T2" fmla="*/ 239 w 239"/>
                <a:gd name="T3" fmla="*/ 86 h 86"/>
                <a:gd name="T4" fmla="*/ 239 w 239"/>
                <a:gd name="T5" fmla="*/ 0 h 86"/>
                <a:gd name="T6" fmla="*/ 142 w 239"/>
                <a:gd name="T7" fmla="*/ 0 h 86"/>
                <a:gd name="T8" fmla="*/ 0 w 239"/>
                <a:gd name="T9" fmla="*/ 86 h 86"/>
              </a:gdLst>
              <a:ahLst/>
              <a:cxnLst>
                <a:cxn ang="0">
                  <a:pos x="T0" y="T1"/>
                </a:cxn>
                <a:cxn ang="0">
                  <a:pos x="T2" y="T3"/>
                </a:cxn>
                <a:cxn ang="0">
                  <a:pos x="T4" y="T5"/>
                </a:cxn>
                <a:cxn ang="0">
                  <a:pos x="T6" y="T7"/>
                </a:cxn>
                <a:cxn ang="0">
                  <a:pos x="T8" y="T9"/>
                </a:cxn>
              </a:cxnLst>
              <a:rect l="0" t="0" r="r" b="b"/>
              <a:pathLst>
                <a:path w="239" h="86">
                  <a:moveTo>
                    <a:pt x="0" y="86"/>
                  </a:moveTo>
                  <a:lnTo>
                    <a:pt x="239" y="86"/>
                  </a:lnTo>
                  <a:lnTo>
                    <a:pt x="239" y="0"/>
                  </a:lnTo>
                  <a:lnTo>
                    <a:pt x="142" y="0"/>
                  </a:lnTo>
                  <a:lnTo>
                    <a:pt x="0" y="86"/>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10" name="Freeform 270">
              <a:extLst>
                <a:ext uri="{FF2B5EF4-FFF2-40B4-BE49-F238E27FC236}">
                  <a16:creationId xmlns:a16="http://schemas.microsoft.com/office/drawing/2014/main" id="{CAF59F34-E155-9A10-138B-16FE44CC2902}"/>
                </a:ext>
              </a:extLst>
            </p:cNvPr>
            <p:cNvSpPr>
              <a:spLocks noEditPoints="1"/>
            </p:cNvSpPr>
            <p:nvPr/>
          </p:nvSpPr>
          <p:spPr bwMode="auto">
            <a:xfrm>
              <a:off x="750888" y="6203950"/>
              <a:ext cx="395288" cy="393700"/>
            </a:xfrm>
            <a:custGeom>
              <a:avLst/>
              <a:gdLst>
                <a:gd name="T0" fmla="*/ 223 w 249"/>
                <a:gd name="T1" fmla="*/ 88 h 248"/>
                <a:gd name="T2" fmla="*/ 238 w 249"/>
                <a:gd name="T3" fmla="*/ 76 h 248"/>
                <a:gd name="T4" fmla="*/ 224 w 249"/>
                <a:gd name="T5" fmla="*/ 49 h 248"/>
                <a:gd name="T6" fmla="*/ 216 w 249"/>
                <a:gd name="T7" fmla="*/ 47 h 248"/>
                <a:gd name="T8" fmla="*/ 199 w 249"/>
                <a:gd name="T9" fmla="*/ 31 h 248"/>
                <a:gd name="T10" fmla="*/ 199 w 249"/>
                <a:gd name="T11" fmla="*/ 23 h 248"/>
                <a:gd name="T12" fmla="*/ 171 w 249"/>
                <a:gd name="T13" fmla="*/ 9 h 248"/>
                <a:gd name="T14" fmla="*/ 158 w 249"/>
                <a:gd name="T15" fmla="*/ 25 h 248"/>
                <a:gd name="T16" fmla="*/ 142 w 249"/>
                <a:gd name="T17" fmla="*/ 6 h 248"/>
                <a:gd name="T18" fmla="*/ 136 w 249"/>
                <a:gd name="T19" fmla="*/ 0 h 248"/>
                <a:gd name="T20" fmla="*/ 106 w 249"/>
                <a:gd name="T21" fmla="*/ 1 h 248"/>
                <a:gd name="T22" fmla="*/ 104 w 249"/>
                <a:gd name="T23" fmla="*/ 21 h 248"/>
                <a:gd name="T24" fmla="*/ 79 w 249"/>
                <a:gd name="T25" fmla="*/ 11 h 248"/>
                <a:gd name="T26" fmla="*/ 49 w 249"/>
                <a:gd name="T27" fmla="*/ 23 h 248"/>
                <a:gd name="T28" fmla="*/ 47 w 249"/>
                <a:gd name="T29" fmla="*/ 30 h 248"/>
                <a:gd name="T30" fmla="*/ 43 w 249"/>
                <a:gd name="T31" fmla="*/ 57 h 248"/>
                <a:gd name="T32" fmla="*/ 26 w 249"/>
                <a:gd name="T33" fmla="*/ 49 h 248"/>
                <a:gd name="T34" fmla="*/ 10 w 249"/>
                <a:gd name="T35" fmla="*/ 74 h 248"/>
                <a:gd name="T36" fmla="*/ 11 w 249"/>
                <a:gd name="T37" fmla="*/ 83 h 248"/>
                <a:gd name="T38" fmla="*/ 6 w 249"/>
                <a:gd name="T39" fmla="*/ 106 h 248"/>
                <a:gd name="T40" fmla="*/ 0 w 249"/>
                <a:gd name="T41" fmla="*/ 110 h 248"/>
                <a:gd name="T42" fmla="*/ 0 w 249"/>
                <a:gd name="T43" fmla="*/ 141 h 248"/>
                <a:gd name="T44" fmla="*/ 21 w 249"/>
                <a:gd name="T45" fmla="*/ 144 h 248"/>
                <a:gd name="T46" fmla="*/ 14 w 249"/>
                <a:gd name="T47" fmla="*/ 168 h 248"/>
                <a:gd name="T48" fmla="*/ 11 w 249"/>
                <a:gd name="T49" fmla="*/ 176 h 248"/>
                <a:gd name="T50" fmla="*/ 27 w 249"/>
                <a:gd name="T51" fmla="*/ 201 h 248"/>
                <a:gd name="T52" fmla="*/ 46 w 249"/>
                <a:gd name="T53" fmla="*/ 194 h 248"/>
                <a:gd name="T54" fmla="*/ 49 w 249"/>
                <a:gd name="T55" fmla="*/ 220 h 248"/>
                <a:gd name="T56" fmla="*/ 74 w 249"/>
                <a:gd name="T57" fmla="*/ 239 h 248"/>
                <a:gd name="T58" fmla="*/ 81 w 249"/>
                <a:gd name="T59" fmla="*/ 238 h 248"/>
                <a:gd name="T60" fmla="*/ 106 w 249"/>
                <a:gd name="T61" fmla="*/ 227 h 248"/>
                <a:gd name="T62" fmla="*/ 108 w 249"/>
                <a:gd name="T63" fmla="*/ 247 h 248"/>
                <a:gd name="T64" fmla="*/ 138 w 249"/>
                <a:gd name="T65" fmla="*/ 248 h 248"/>
                <a:gd name="T66" fmla="*/ 145 w 249"/>
                <a:gd name="T67" fmla="*/ 242 h 248"/>
                <a:gd name="T68" fmla="*/ 168 w 249"/>
                <a:gd name="T69" fmla="*/ 236 h 248"/>
                <a:gd name="T70" fmla="*/ 174 w 249"/>
                <a:gd name="T71" fmla="*/ 238 h 248"/>
                <a:gd name="T72" fmla="*/ 201 w 249"/>
                <a:gd name="T73" fmla="*/ 223 h 248"/>
                <a:gd name="T74" fmla="*/ 194 w 249"/>
                <a:gd name="T75" fmla="*/ 202 h 248"/>
                <a:gd name="T76" fmla="*/ 218 w 249"/>
                <a:gd name="T77" fmla="*/ 199 h 248"/>
                <a:gd name="T78" fmla="*/ 227 w 249"/>
                <a:gd name="T79" fmla="*/ 196 h 248"/>
                <a:gd name="T80" fmla="*/ 240 w 249"/>
                <a:gd name="T81" fmla="*/ 169 h 248"/>
                <a:gd name="T82" fmla="*/ 223 w 249"/>
                <a:gd name="T83" fmla="*/ 158 h 248"/>
                <a:gd name="T84" fmla="*/ 245 w 249"/>
                <a:gd name="T85" fmla="*/ 142 h 248"/>
                <a:gd name="T86" fmla="*/ 249 w 249"/>
                <a:gd name="T87" fmla="*/ 110 h 248"/>
                <a:gd name="T88" fmla="*/ 245 w 249"/>
                <a:gd name="T89" fmla="*/ 104 h 248"/>
                <a:gd name="T90" fmla="*/ 125 w 249"/>
                <a:gd name="T91" fmla="*/ 175 h 248"/>
                <a:gd name="T92" fmla="*/ 88 w 249"/>
                <a:gd name="T93" fmla="*/ 160 h 248"/>
                <a:gd name="T94" fmla="*/ 73 w 249"/>
                <a:gd name="T95" fmla="*/ 123 h 248"/>
                <a:gd name="T96" fmla="*/ 81 w 249"/>
                <a:gd name="T97" fmla="*/ 95 h 248"/>
                <a:gd name="T98" fmla="*/ 113 w 249"/>
                <a:gd name="T99" fmla="*/ 74 h 248"/>
                <a:gd name="T100" fmla="*/ 144 w 249"/>
                <a:gd name="T101" fmla="*/ 76 h 248"/>
                <a:gd name="T102" fmla="*/ 171 w 249"/>
                <a:gd name="T103" fmla="*/ 104 h 248"/>
                <a:gd name="T104" fmla="*/ 174 w 249"/>
                <a:gd name="T105" fmla="*/ 134 h 248"/>
                <a:gd name="T106" fmla="*/ 153 w 249"/>
                <a:gd name="T107" fmla="*/ 167 h 248"/>
                <a:gd name="T108" fmla="*/ 125 w 249"/>
                <a:gd name="T109" fmla="*/ 175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Lst>
              <a:rect l="0" t="0" r="r" b="b"/>
              <a:pathLst>
                <a:path w="249" h="248">
                  <a:moveTo>
                    <a:pt x="243" y="104"/>
                  </a:moveTo>
                  <a:lnTo>
                    <a:pt x="227" y="104"/>
                  </a:lnTo>
                  <a:lnTo>
                    <a:pt x="227" y="104"/>
                  </a:lnTo>
                  <a:lnTo>
                    <a:pt x="223" y="88"/>
                  </a:lnTo>
                  <a:lnTo>
                    <a:pt x="236" y="80"/>
                  </a:lnTo>
                  <a:lnTo>
                    <a:pt x="236" y="80"/>
                  </a:lnTo>
                  <a:lnTo>
                    <a:pt x="237" y="79"/>
                  </a:lnTo>
                  <a:lnTo>
                    <a:pt x="238" y="76"/>
                  </a:lnTo>
                  <a:lnTo>
                    <a:pt x="238" y="74"/>
                  </a:lnTo>
                  <a:lnTo>
                    <a:pt x="238" y="72"/>
                  </a:lnTo>
                  <a:lnTo>
                    <a:pt x="224" y="49"/>
                  </a:lnTo>
                  <a:lnTo>
                    <a:pt x="224" y="49"/>
                  </a:lnTo>
                  <a:lnTo>
                    <a:pt x="223" y="47"/>
                  </a:lnTo>
                  <a:lnTo>
                    <a:pt x="221" y="47"/>
                  </a:lnTo>
                  <a:lnTo>
                    <a:pt x="218" y="46"/>
                  </a:lnTo>
                  <a:lnTo>
                    <a:pt x="216" y="47"/>
                  </a:lnTo>
                  <a:lnTo>
                    <a:pt x="203" y="54"/>
                  </a:lnTo>
                  <a:lnTo>
                    <a:pt x="203" y="54"/>
                  </a:lnTo>
                  <a:lnTo>
                    <a:pt x="191" y="43"/>
                  </a:lnTo>
                  <a:lnTo>
                    <a:pt x="199" y="31"/>
                  </a:lnTo>
                  <a:lnTo>
                    <a:pt x="199" y="31"/>
                  </a:lnTo>
                  <a:lnTo>
                    <a:pt x="200" y="28"/>
                  </a:lnTo>
                  <a:lnTo>
                    <a:pt x="200" y="26"/>
                  </a:lnTo>
                  <a:lnTo>
                    <a:pt x="199" y="23"/>
                  </a:lnTo>
                  <a:lnTo>
                    <a:pt x="196" y="22"/>
                  </a:lnTo>
                  <a:lnTo>
                    <a:pt x="174" y="9"/>
                  </a:lnTo>
                  <a:lnTo>
                    <a:pt x="174" y="9"/>
                  </a:lnTo>
                  <a:lnTo>
                    <a:pt x="171" y="9"/>
                  </a:lnTo>
                  <a:lnTo>
                    <a:pt x="169" y="9"/>
                  </a:lnTo>
                  <a:lnTo>
                    <a:pt x="168" y="10"/>
                  </a:lnTo>
                  <a:lnTo>
                    <a:pt x="165" y="11"/>
                  </a:lnTo>
                  <a:lnTo>
                    <a:pt x="158" y="25"/>
                  </a:lnTo>
                  <a:lnTo>
                    <a:pt x="158" y="25"/>
                  </a:lnTo>
                  <a:lnTo>
                    <a:pt x="142" y="21"/>
                  </a:lnTo>
                  <a:lnTo>
                    <a:pt x="142" y="6"/>
                  </a:lnTo>
                  <a:lnTo>
                    <a:pt x="142" y="6"/>
                  </a:lnTo>
                  <a:lnTo>
                    <a:pt x="142" y="4"/>
                  </a:lnTo>
                  <a:lnTo>
                    <a:pt x="141" y="1"/>
                  </a:lnTo>
                  <a:lnTo>
                    <a:pt x="138" y="0"/>
                  </a:lnTo>
                  <a:lnTo>
                    <a:pt x="136" y="0"/>
                  </a:lnTo>
                  <a:lnTo>
                    <a:pt x="110" y="0"/>
                  </a:lnTo>
                  <a:lnTo>
                    <a:pt x="110" y="0"/>
                  </a:lnTo>
                  <a:lnTo>
                    <a:pt x="107" y="0"/>
                  </a:lnTo>
                  <a:lnTo>
                    <a:pt x="106" y="1"/>
                  </a:lnTo>
                  <a:lnTo>
                    <a:pt x="104" y="4"/>
                  </a:lnTo>
                  <a:lnTo>
                    <a:pt x="104" y="6"/>
                  </a:lnTo>
                  <a:lnTo>
                    <a:pt x="104" y="21"/>
                  </a:lnTo>
                  <a:lnTo>
                    <a:pt x="104" y="21"/>
                  </a:lnTo>
                  <a:lnTo>
                    <a:pt x="88" y="26"/>
                  </a:lnTo>
                  <a:lnTo>
                    <a:pt x="80" y="12"/>
                  </a:lnTo>
                  <a:lnTo>
                    <a:pt x="80" y="12"/>
                  </a:lnTo>
                  <a:lnTo>
                    <a:pt x="79" y="11"/>
                  </a:lnTo>
                  <a:lnTo>
                    <a:pt x="76" y="10"/>
                  </a:lnTo>
                  <a:lnTo>
                    <a:pt x="74" y="10"/>
                  </a:lnTo>
                  <a:lnTo>
                    <a:pt x="71" y="10"/>
                  </a:lnTo>
                  <a:lnTo>
                    <a:pt x="49" y="23"/>
                  </a:lnTo>
                  <a:lnTo>
                    <a:pt x="49" y="23"/>
                  </a:lnTo>
                  <a:lnTo>
                    <a:pt x="48" y="25"/>
                  </a:lnTo>
                  <a:lnTo>
                    <a:pt x="47" y="27"/>
                  </a:lnTo>
                  <a:lnTo>
                    <a:pt x="47" y="30"/>
                  </a:lnTo>
                  <a:lnTo>
                    <a:pt x="47" y="32"/>
                  </a:lnTo>
                  <a:lnTo>
                    <a:pt x="55" y="46"/>
                  </a:lnTo>
                  <a:lnTo>
                    <a:pt x="55" y="46"/>
                  </a:lnTo>
                  <a:lnTo>
                    <a:pt x="43" y="57"/>
                  </a:lnTo>
                  <a:lnTo>
                    <a:pt x="31" y="49"/>
                  </a:lnTo>
                  <a:lnTo>
                    <a:pt x="31" y="49"/>
                  </a:lnTo>
                  <a:lnTo>
                    <a:pt x="28" y="48"/>
                  </a:lnTo>
                  <a:lnTo>
                    <a:pt x="26" y="49"/>
                  </a:lnTo>
                  <a:lnTo>
                    <a:pt x="23" y="49"/>
                  </a:lnTo>
                  <a:lnTo>
                    <a:pt x="22" y="52"/>
                  </a:lnTo>
                  <a:lnTo>
                    <a:pt x="10" y="74"/>
                  </a:lnTo>
                  <a:lnTo>
                    <a:pt x="10" y="74"/>
                  </a:lnTo>
                  <a:lnTo>
                    <a:pt x="9" y="76"/>
                  </a:lnTo>
                  <a:lnTo>
                    <a:pt x="9" y="79"/>
                  </a:lnTo>
                  <a:lnTo>
                    <a:pt x="10" y="81"/>
                  </a:lnTo>
                  <a:lnTo>
                    <a:pt x="11" y="83"/>
                  </a:lnTo>
                  <a:lnTo>
                    <a:pt x="25" y="90"/>
                  </a:lnTo>
                  <a:lnTo>
                    <a:pt x="25" y="90"/>
                  </a:lnTo>
                  <a:lnTo>
                    <a:pt x="21" y="106"/>
                  </a:lnTo>
                  <a:lnTo>
                    <a:pt x="6" y="106"/>
                  </a:lnTo>
                  <a:lnTo>
                    <a:pt x="6" y="106"/>
                  </a:lnTo>
                  <a:lnTo>
                    <a:pt x="4" y="106"/>
                  </a:lnTo>
                  <a:lnTo>
                    <a:pt x="1" y="109"/>
                  </a:lnTo>
                  <a:lnTo>
                    <a:pt x="0" y="110"/>
                  </a:lnTo>
                  <a:lnTo>
                    <a:pt x="0" y="112"/>
                  </a:lnTo>
                  <a:lnTo>
                    <a:pt x="0" y="138"/>
                  </a:lnTo>
                  <a:lnTo>
                    <a:pt x="0" y="138"/>
                  </a:lnTo>
                  <a:lnTo>
                    <a:pt x="0" y="141"/>
                  </a:lnTo>
                  <a:lnTo>
                    <a:pt x="1" y="143"/>
                  </a:lnTo>
                  <a:lnTo>
                    <a:pt x="4" y="144"/>
                  </a:lnTo>
                  <a:lnTo>
                    <a:pt x="6" y="144"/>
                  </a:lnTo>
                  <a:lnTo>
                    <a:pt x="21" y="144"/>
                  </a:lnTo>
                  <a:lnTo>
                    <a:pt x="21" y="144"/>
                  </a:lnTo>
                  <a:lnTo>
                    <a:pt x="26" y="160"/>
                  </a:lnTo>
                  <a:lnTo>
                    <a:pt x="14" y="168"/>
                  </a:lnTo>
                  <a:lnTo>
                    <a:pt x="14" y="168"/>
                  </a:lnTo>
                  <a:lnTo>
                    <a:pt x="11" y="169"/>
                  </a:lnTo>
                  <a:lnTo>
                    <a:pt x="10" y="171"/>
                  </a:lnTo>
                  <a:lnTo>
                    <a:pt x="10" y="174"/>
                  </a:lnTo>
                  <a:lnTo>
                    <a:pt x="11" y="176"/>
                  </a:lnTo>
                  <a:lnTo>
                    <a:pt x="23" y="199"/>
                  </a:lnTo>
                  <a:lnTo>
                    <a:pt x="23" y="199"/>
                  </a:lnTo>
                  <a:lnTo>
                    <a:pt x="25" y="201"/>
                  </a:lnTo>
                  <a:lnTo>
                    <a:pt x="27" y="201"/>
                  </a:lnTo>
                  <a:lnTo>
                    <a:pt x="30" y="202"/>
                  </a:lnTo>
                  <a:lnTo>
                    <a:pt x="32" y="201"/>
                  </a:lnTo>
                  <a:lnTo>
                    <a:pt x="46" y="194"/>
                  </a:lnTo>
                  <a:lnTo>
                    <a:pt x="46" y="194"/>
                  </a:lnTo>
                  <a:lnTo>
                    <a:pt x="57" y="205"/>
                  </a:lnTo>
                  <a:lnTo>
                    <a:pt x="49" y="217"/>
                  </a:lnTo>
                  <a:lnTo>
                    <a:pt x="49" y="217"/>
                  </a:lnTo>
                  <a:lnTo>
                    <a:pt x="49" y="220"/>
                  </a:lnTo>
                  <a:lnTo>
                    <a:pt x="49" y="222"/>
                  </a:lnTo>
                  <a:lnTo>
                    <a:pt x="51" y="224"/>
                  </a:lnTo>
                  <a:lnTo>
                    <a:pt x="52" y="226"/>
                  </a:lnTo>
                  <a:lnTo>
                    <a:pt x="74" y="239"/>
                  </a:lnTo>
                  <a:lnTo>
                    <a:pt x="74" y="239"/>
                  </a:lnTo>
                  <a:lnTo>
                    <a:pt x="76" y="239"/>
                  </a:lnTo>
                  <a:lnTo>
                    <a:pt x="79" y="239"/>
                  </a:lnTo>
                  <a:lnTo>
                    <a:pt x="81" y="238"/>
                  </a:lnTo>
                  <a:lnTo>
                    <a:pt x="83" y="237"/>
                  </a:lnTo>
                  <a:lnTo>
                    <a:pt x="91" y="223"/>
                  </a:lnTo>
                  <a:lnTo>
                    <a:pt x="91" y="223"/>
                  </a:lnTo>
                  <a:lnTo>
                    <a:pt x="106" y="227"/>
                  </a:lnTo>
                  <a:lnTo>
                    <a:pt x="106" y="242"/>
                  </a:lnTo>
                  <a:lnTo>
                    <a:pt x="106" y="242"/>
                  </a:lnTo>
                  <a:lnTo>
                    <a:pt x="107" y="244"/>
                  </a:lnTo>
                  <a:lnTo>
                    <a:pt x="108" y="247"/>
                  </a:lnTo>
                  <a:lnTo>
                    <a:pt x="111" y="248"/>
                  </a:lnTo>
                  <a:lnTo>
                    <a:pt x="113" y="248"/>
                  </a:lnTo>
                  <a:lnTo>
                    <a:pt x="138" y="248"/>
                  </a:lnTo>
                  <a:lnTo>
                    <a:pt x="138" y="248"/>
                  </a:lnTo>
                  <a:lnTo>
                    <a:pt x="141" y="248"/>
                  </a:lnTo>
                  <a:lnTo>
                    <a:pt x="143" y="247"/>
                  </a:lnTo>
                  <a:lnTo>
                    <a:pt x="144" y="244"/>
                  </a:lnTo>
                  <a:lnTo>
                    <a:pt x="145" y="242"/>
                  </a:lnTo>
                  <a:lnTo>
                    <a:pt x="145" y="227"/>
                  </a:lnTo>
                  <a:lnTo>
                    <a:pt x="145" y="227"/>
                  </a:lnTo>
                  <a:lnTo>
                    <a:pt x="160" y="222"/>
                  </a:lnTo>
                  <a:lnTo>
                    <a:pt x="168" y="236"/>
                  </a:lnTo>
                  <a:lnTo>
                    <a:pt x="168" y="236"/>
                  </a:lnTo>
                  <a:lnTo>
                    <a:pt x="170" y="237"/>
                  </a:lnTo>
                  <a:lnTo>
                    <a:pt x="171" y="238"/>
                  </a:lnTo>
                  <a:lnTo>
                    <a:pt x="174" y="238"/>
                  </a:lnTo>
                  <a:lnTo>
                    <a:pt x="176" y="238"/>
                  </a:lnTo>
                  <a:lnTo>
                    <a:pt x="199" y="224"/>
                  </a:lnTo>
                  <a:lnTo>
                    <a:pt x="199" y="224"/>
                  </a:lnTo>
                  <a:lnTo>
                    <a:pt x="201" y="223"/>
                  </a:lnTo>
                  <a:lnTo>
                    <a:pt x="202" y="221"/>
                  </a:lnTo>
                  <a:lnTo>
                    <a:pt x="202" y="218"/>
                  </a:lnTo>
                  <a:lnTo>
                    <a:pt x="201" y="216"/>
                  </a:lnTo>
                  <a:lnTo>
                    <a:pt x="194" y="202"/>
                  </a:lnTo>
                  <a:lnTo>
                    <a:pt x="194" y="202"/>
                  </a:lnTo>
                  <a:lnTo>
                    <a:pt x="205" y="191"/>
                  </a:lnTo>
                  <a:lnTo>
                    <a:pt x="218" y="199"/>
                  </a:lnTo>
                  <a:lnTo>
                    <a:pt x="218" y="199"/>
                  </a:lnTo>
                  <a:lnTo>
                    <a:pt x="219" y="200"/>
                  </a:lnTo>
                  <a:lnTo>
                    <a:pt x="222" y="199"/>
                  </a:lnTo>
                  <a:lnTo>
                    <a:pt x="224" y="199"/>
                  </a:lnTo>
                  <a:lnTo>
                    <a:pt x="227" y="196"/>
                  </a:lnTo>
                  <a:lnTo>
                    <a:pt x="239" y="174"/>
                  </a:lnTo>
                  <a:lnTo>
                    <a:pt x="239" y="174"/>
                  </a:lnTo>
                  <a:lnTo>
                    <a:pt x="240" y="171"/>
                  </a:lnTo>
                  <a:lnTo>
                    <a:pt x="240" y="169"/>
                  </a:lnTo>
                  <a:lnTo>
                    <a:pt x="239" y="167"/>
                  </a:lnTo>
                  <a:lnTo>
                    <a:pt x="237" y="165"/>
                  </a:lnTo>
                  <a:lnTo>
                    <a:pt x="223" y="158"/>
                  </a:lnTo>
                  <a:lnTo>
                    <a:pt x="223" y="158"/>
                  </a:lnTo>
                  <a:lnTo>
                    <a:pt x="228" y="142"/>
                  </a:lnTo>
                  <a:lnTo>
                    <a:pt x="243" y="142"/>
                  </a:lnTo>
                  <a:lnTo>
                    <a:pt x="243" y="142"/>
                  </a:lnTo>
                  <a:lnTo>
                    <a:pt x="245" y="142"/>
                  </a:lnTo>
                  <a:lnTo>
                    <a:pt x="247" y="139"/>
                  </a:lnTo>
                  <a:lnTo>
                    <a:pt x="248" y="138"/>
                  </a:lnTo>
                  <a:lnTo>
                    <a:pt x="249" y="136"/>
                  </a:lnTo>
                  <a:lnTo>
                    <a:pt x="249" y="110"/>
                  </a:lnTo>
                  <a:lnTo>
                    <a:pt x="249" y="110"/>
                  </a:lnTo>
                  <a:lnTo>
                    <a:pt x="248" y="107"/>
                  </a:lnTo>
                  <a:lnTo>
                    <a:pt x="247" y="105"/>
                  </a:lnTo>
                  <a:lnTo>
                    <a:pt x="245" y="104"/>
                  </a:lnTo>
                  <a:lnTo>
                    <a:pt x="243" y="104"/>
                  </a:lnTo>
                  <a:lnTo>
                    <a:pt x="243" y="104"/>
                  </a:lnTo>
                  <a:close/>
                  <a:moveTo>
                    <a:pt x="125" y="175"/>
                  </a:moveTo>
                  <a:lnTo>
                    <a:pt x="125" y="175"/>
                  </a:lnTo>
                  <a:lnTo>
                    <a:pt x="113" y="174"/>
                  </a:lnTo>
                  <a:lnTo>
                    <a:pt x="105" y="171"/>
                  </a:lnTo>
                  <a:lnTo>
                    <a:pt x="96" y="167"/>
                  </a:lnTo>
                  <a:lnTo>
                    <a:pt x="88" y="160"/>
                  </a:lnTo>
                  <a:lnTo>
                    <a:pt x="81" y="153"/>
                  </a:lnTo>
                  <a:lnTo>
                    <a:pt x="78" y="144"/>
                  </a:lnTo>
                  <a:lnTo>
                    <a:pt x="74" y="134"/>
                  </a:lnTo>
                  <a:lnTo>
                    <a:pt x="73" y="123"/>
                  </a:lnTo>
                  <a:lnTo>
                    <a:pt x="73" y="123"/>
                  </a:lnTo>
                  <a:lnTo>
                    <a:pt x="74" y="113"/>
                  </a:lnTo>
                  <a:lnTo>
                    <a:pt x="78" y="104"/>
                  </a:lnTo>
                  <a:lnTo>
                    <a:pt x="81" y="95"/>
                  </a:lnTo>
                  <a:lnTo>
                    <a:pt x="88" y="88"/>
                  </a:lnTo>
                  <a:lnTo>
                    <a:pt x="96" y="81"/>
                  </a:lnTo>
                  <a:lnTo>
                    <a:pt x="105" y="76"/>
                  </a:lnTo>
                  <a:lnTo>
                    <a:pt x="113" y="74"/>
                  </a:lnTo>
                  <a:lnTo>
                    <a:pt x="125" y="73"/>
                  </a:lnTo>
                  <a:lnTo>
                    <a:pt x="125" y="73"/>
                  </a:lnTo>
                  <a:lnTo>
                    <a:pt x="134" y="74"/>
                  </a:lnTo>
                  <a:lnTo>
                    <a:pt x="144" y="76"/>
                  </a:lnTo>
                  <a:lnTo>
                    <a:pt x="153" y="81"/>
                  </a:lnTo>
                  <a:lnTo>
                    <a:pt x="160" y="88"/>
                  </a:lnTo>
                  <a:lnTo>
                    <a:pt x="166" y="95"/>
                  </a:lnTo>
                  <a:lnTo>
                    <a:pt x="171" y="104"/>
                  </a:lnTo>
                  <a:lnTo>
                    <a:pt x="174" y="113"/>
                  </a:lnTo>
                  <a:lnTo>
                    <a:pt x="175" y="123"/>
                  </a:lnTo>
                  <a:lnTo>
                    <a:pt x="175" y="123"/>
                  </a:lnTo>
                  <a:lnTo>
                    <a:pt x="174" y="134"/>
                  </a:lnTo>
                  <a:lnTo>
                    <a:pt x="171" y="144"/>
                  </a:lnTo>
                  <a:lnTo>
                    <a:pt x="166" y="153"/>
                  </a:lnTo>
                  <a:lnTo>
                    <a:pt x="160" y="160"/>
                  </a:lnTo>
                  <a:lnTo>
                    <a:pt x="153" y="167"/>
                  </a:lnTo>
                  <a:lnTo>
                    <a:pt x="144" y="171"/>
                  </a:lnTo>
                  <a:lnTo>
                    <a:pt x="134" y="174"/>
                  </a:lnTo>
                  <a:lnTo>
                    <a:pt x="125" y="175"/>
                  </a:lnTo>
                  <a:lnTo>
                    <a:pt x="125" y="175"/>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11" name="Freeform 271">
              <a:extLst>
                <a:ext uri="{FF2B5EF4-FFF2-40B4-BE49-F238E27FC236}">
                  <a16:creationId xmlns:a16="http://schemas.microsoft.com/office/drawing/2014/main" id="{B913E3E9-6605-90EA-736A-31BD28106C03}"/>
                </a:ext>
              </a:extLst>
            </p:cNvPr>
            <p:cNvSpPr>
              <a:spLocks/>
            </p:cNvSpPr>
            <p:nvPr/>
          </p:nvSpPr>
          <p:spPr bwMode="auto">
            <a:xfrm>
              <a:off x="750887" y="6165722"/>
              <a:ext cx="193674" cy="393698"/>
            </a:xfrm>
            <a:custGeom>
              <a:avLst/>
              <a:gdLst>
                <a:gd name="T0" fmla="*/ 122 w 122"/>
                <a:gd name="T1" fmla="*/ 190 h 248"/>
                <a:gd name="T2" fmla="*/ 97 w 122"/>
                <a:gd name="T3" fmla="*/ 185 h 248"/>
                <a:gd name="T4" fmla="*/ 76 w 122"/>
                <a:gd name="T5" fmla="*/ 170 h 248"/>
                <a:gd name="T6" fmla="*/ 63 w 122"/>
                <a:gd name="T7" fmla="*/ 149 h 248"/>
                <a:gd name="T8" fmla="*/ 58 w 122"/>
                <a:gd name="T9" fmla="*/ 123 h 248"/>
                <a:gd name="T10" fmla="*/ 59 w 122"/>
                <a:gd name="T11" fmla="*/ 111 h 248"/>
                <a:gd name="T12" fmla="*/ 69 w 122"/>
                <a:gd name="T13" fmla="*/ 88 h 248"/>
                <a:gd name="T14" fmla="*/ 86 w 122"/>
                <a:gd name="T15" fmla="*/ 69 h 248"/>
                <a:gd name="T16" fmla="*/ 108 w 122"/>
                <a:gd name="T17" fmla="*/ 59 h 248"/>
                <a:gd name="T18" fmla="*/ 122 w 122"/>
                <a:gd name="T19" fmla="*/ 0 h 248"/>
                <a:gd name="T20" fmla="*/ 110 w 122"/>
                <a:gd name="T21" fmla="*/ 0 h 248"/>
                <a:gd name="T22" fmla="*/ 106 w 122"/>
                <a:gd name="T23" fmla="*/ 1 h 248"/>
                <a:gd name="T24" fmla="*/ 104 w 122"/>
                <a:gd name="T25" fmla="*/ 6 h 248"/>
                <a:gd name="T26" fmla="*/ 104 w 122"/>
                <a:gd name="T27" fmla="*/ 21 h 248"/>
                <a:gd name="T28" fmla="*/ 80 w 122"/>
                <a:gd name="T29" fmla="*/ 12 h 248"/>
                <a:gd name="T30" fmla="*/ 79 w 122"/>
                <a:gd name="T31" fmla="*/ 11 h 248"/>
                <a:gd name="T32" fmla="*/ 74 w 122"/>
                <a:gd name="T33" fmla="*/ 10 h 248"/>
                <a:gd name="T34" fmla="*/ 49 w 122"/>
                <a:gd name="T35" fmla="*/ 23 h 248"/>
                <a:gd name="T36" fmla="*/ 48 w 122"/>
                <a:gd name="T37" fmla="*/ 25 h 248"/>
                <a:gd name="T38" fmla="*/ 47 w 122"/>
                <a:gd name="T39" fmla="*/ 30 h 248"/>
                <a:gd name="T40" fmla="*/ 55 w 122"/>
                <a:gd name="T41" fmla="*/ 46 h 248"/>
                <a:gd name="T42" fmla="*/ 43 w 122"/>
                <a:gd name="T43" fmla="*/ 57 h 248"/>
                <a:gd name="T44" fmla="*/ 31 w 122"/>
                <a:gd name="T45" fmla="*/ 49 h 248"/>
                <a:gd name="T46" fmla="*/ 26 w 122"/>
                <a:gd name="T47" fmla="*/ 49 h 248"/>
                <a:gd name="T48" fmla="*/ 22 w 122"/>
                <a:gd name="T49" fmla="*/ 52 h 248"/>
                <a:gd name="T50" fmla="*/ 10 w 122"/>
                <a:gd name="T51" fmla="*/ 74 h 248"/>
                <a:gd name="T52" fmla="*/ 9 w 122"/>
                <a:gd name="T53" fmla="*/ 79 h 248"/>
                <a:gd name="T54" fmla="*/ 11 w 122"/>
                <a:gd name="T55" fmla="*/ 83 h 248"/>
                <a:gd name="T56" fmla="*/ 25 w 122"/>
                <a:gd name="T57" fmla="*/ 90 h 248"/>
                <a:gd name="T58" fmla="*/ 6 w 122"/>
                <a:gd name="T59" fmla="*/ 106 h 248"/>
                <a:gd name="T60" fmla="*/ 4 w 122"/>
                <a:gd name="T61" fmla="*/ 106 h 248"/>
                <a:gd name="T62" fmla="*/ 0 w 122"/>
                <a:gd name="T63" fmla="*/ 110 h 248"/>
                <a:gd name="T64" fmla="*/ 0 w 122"/>
                <a:gd name="T65" fmla="*/ 138 h 248"/>
                <a:gd name="T66" fmla="*/ 0 w 122"/>
                <a:gd name="T67" fmla="*/ 141 h 248"/>
                <a:gd name="T68" fmla="*/ 4 w 122"/>
                <a:gd name="T69" fmla="*/ 144 h 248"/>
                <a:gd name="T70" fmla="*/ 21 w 122"/>
                <a:gd name="T71" fmla="*/ 144 h 248"/>
                <a:gd name="T72" fmla="*/ 26 w 122"/>
                <a:gd name="T73" fmla="*/ 160 h 248"/>
                <a:gd name="T74" fmla="*/ 14 w 122"/>
                <a:gd name="T75" fmla="*/ 168 h 248"/>
                <a:gd name="T76" fmla="*/ 10 w 122"/>
                <a:gd name="T77" fmla="*/ 171 h 248"/>
                <a:gd name="T78" fmla="*/ 11 w 122"/>
                <a:gd name="T79" fmla="*/ 176 h 248"/>
                <a:gd name="T80" fmla="*/ 23 w 122"/>
                <a:gd name="T81" fmla="*/ 199 h 248"/>
                <a:gd name="T82" fmla="*/ 27 w 122"/>
                <a:gd name="T83" fmla="*/ 201 h 248"/>
                <a:gd name="T84" fmla="*/ 32 w 122"/>
                <a:gd name="T85" fmla="*/ 201 h 248"/>
                <a:gd name="T86" fmla="*/ 46 w 122"/>
                <a:gd name="T87" fmla="*/ 194 h 248"/>
                <a:gd name="T88" fmla="*/ 49 w 122"/>
                <a:gd name="T89" fmla="*/ 217 h 248"/>
                <a:gd name="T90" fmla="*/ 49 w 122"/>
                <a:gd name="T91" fmla="*/ 220 h 248"/>
                <a:gd name="T92" fmla="*/ 51 w 122"/>
                <a:gd name="T93" fmla="*/ 224 h 248"/>
                <a:gd name="T94" fmla="*/ 74 w 122"/>
                <a:gd name="T95" fmla="*/ 239 h 248"/>
                <a:gd name="T96" fmla="*/ 76 w 122"/>
                <a:gd name="T97" fmla="*/ 239 h 248"/>
                <a:gd name="T98" fmla="*/ 81 w 122"/>
                <a:gd name="T99" fmla="*/ 238 h 248"/>
                <a:gd name="T100" fmla="*/ 91 w 122"/>
                <a:gd name="T101" fmla="*/ 223 h 248"/>
                <a:gd name="T102" fmla="*/ 106 w 122"/>
                <a:gd name="T103" fmla="*/ 227 h 248"/>
                <a:gd name="T104" fmla="*/ 106 w 122"/>
                <a:gd name="T105" fmla="*/ 242 h 248"/>
                <a:gd name="T106" fmla="*/ 108 w 122"/>
                <a:gd name="T107" fmla="*/ 247 h 248"/>
                <a:gd name="T108" fmla="*/ 113 w 122"/>
                <a:gd name="T109" fmla="*/ 248 h 248"/>
                <a:gd name="T110" fmla="*/ 122 w 122"/>
                <a:gd name="T111" fmla="*/ 190 h 24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Lst>
              <a:rect l="0" t="0" r="r" b="b"/>
              <a:pathLst>
                <a:path w="122" h="248">
                  <a:moveTo>
                    <a:pt x="122" y="190"/>
                  </a:moveTo>
                  <a:lnTo>
                    <a:pt x="122" y="190"/>
                  </a:lnTo>
                  <a:lnTo>
                    <a:pt x="108" y="189"/>
                  </a:lnTo>
                  <a:lnTo>
                    <a:pt x="97" y="185"/>
                  </a:lnTo>
                  <a:lnTo>
                    <a:pt x="86" y="179"/>
                  </a:lnTo>
                  <a:lnTo>
                    <a:pt x="76" y="170"/>
                  </a:lnTo>
                  <a:lnTo>
                    <a:pt x="69" y="160"/>
                  </a:lnTo>
                  <a:lnTo>
                    <a:pt x="63" y="149"/>
                  </a:lnTo>
                  <a:lnTo>
                    <a:pt x="59" y="137"/>
                  </a:lnTo>
                  <a:lnTo>
                    <a:pt x="58" y="123"/>
                  </a:lnTo>
                  <a:lnTo>
                    <a:pt x="58" y="123"/>
                  </a:lnTo>
                  <a:lnTo>
                    <a:pt x="59" y="111"/>
                  </a:lnTo>
                  <a:lnTo>
                    <a:pt x="63" y="99"/>
                  </a:lnTo>
                  <a:lnTo>
                    <a:pt x="69" y="88"/>
                  </a:lnTo>
                  <a:lnTo>
                    <a:pt x="76" y="78"/>
                  </a:lnTo>
                  <a:lnTo>
                    <a:pt x="86" y="69"/>
                  </a:lnTo>
                  <a:lnTo>
                    <a:pt x="97" y="63"/>
                  </a:lnTo>
                  <a:lnTo>
                    <a:pt x="108" y="59"/>
                  </a:lnTo>
                  <a:lnTo>
                    <a:pt x="122" y="58"/>
                  </a:lnTo>
                  <a:lnTo>
                    <a:pt x="122" y="0"/>
                  </a:lnTo>
                  <a:lnTo>
                    <a:pt x="110" y="0"/>
                  </a:lnTo>
                  <a:lnTo>
                    <a:pt x="110" y="0"/>
                  </a:lnTo>
                  <a:lnTo>
                    <a:pt x="107" y="0"/>
                  </a:lnTo>
                  <a:lnTo>
                    <a:pt x="106" y="1"/>
                  </a:lnTo>
                  <a:lnTo>
                    <a:pt x="104" y="4"/>
                  </a:lnTo>
                  <a:lnTo>
                    <a:pt x="104" y="6"/>
                  </a:lnTo>
                  <a:lnTo>
                    <a:pt x="104" y="21"/>
                  </a:lnTo>
                  <a:lnTo>
                    <a:pt x="104" y="21"/>
                  </a:lnTo>
                  <a:lnTo>
                    <a:pt x="88" y="26"/>
                  </a:lnTo>
                  <a:lnTo>
                    <a:pt x="80" y="12"/>
                  </a:lnTo>
                  <a:lnTo>
                    <a:pt x="80" y="12"/>
                  </a:lnTo>
                  <a:lnTo>
                    <a:pt x="79" y="11"/>
                  </a:lnTo>
                  <a:lnTo>
                    <a:pt x="76" y="10"/>
                  </a:lnTo>
                  <a:lnTo>
                    <a:pt x="74" y="10"/>
                  </a:lnTo>
                  <a:lnTo>
                    <a:pt x="71" y="10"/>
                  </a:lnTo>
                  <a:lnTo>
                    <a:pt x="49" y="23"/>
                  </a:lnTo>
                  <a:lnTo>
                    <a:pt x="49" y="23"/>
                  </a:lnTo>
                  <a:lnTo>
                    <a:pt x="48" y="25"/>
                  </a:lnTo>
                  <a:lnTo>
                    <a:pt x="47" y="27"/>
                  </a:lnTo>
                  <a:lnTo>
                    <a:pt x="47" y="30"/>
                  </a:lnTo>
                  <a:lnTo>
                    <a:pt x="47" y="32"/>
                  </a:lnTo>
                  <a:lnTo>
                    <a:pt x="55" y="46"/>
                  </a:lnTo>
                  <a:lnTo>
                    <a:pt x="55" y="46"/>
                  </a:lnTo>
                  <a:lnTo>
                    <a:pt x="43" y="57"/>
                  </a:lnTo>
                  <a:lnTo>
                    <a:pt x="31" y="49"/>
                  </a:lnTo>
                  <a:lnTo>
                    <a:pt x="31" y="49"/>
                  </a:lnTo>
                  <a:lnTo>
                    <a:pt x="28" y="48"/>
                  </a:lnTo>
                  <a:lnTo>
                    <a:pt x="26" y="49"/>
                  </a:lnTo>
                  <a:lnTo>
                    <a:pt x="23" y="49"/>
                  </a:lnTo>
                  <a:lnTo>
                    <a:pt x="22" y="52"/>
                  </a:lnTo>
                  <a:lnTo>
                    <a:pt x="10" y="74"/>
                  </a:lnTo>
                  <a:lnTo>
                    <a:pt x="10" y="74"/>
                  </a:lnTo>
                  <a:lnTo>
                    <a:pt x="9" y="76"/>
                  </a:lnTo>
                  <a:lnTo>
                    <a:pt x="9" y="79"/>
                  </a:lnTo>
                  <a:lnTo>
                    <a:pt x="10" y="81"/>
                  </a:lnTo>
                  <a:lnTo>
                    <a:pt x="11" y="83"/>
                  </a:lnTo>
                  <a:lnTo>
                    <a:pt x="25" y="90"/>
                  </a:lnTo>
                  <a:lnTo>
                    <a:pt x="25" y="90"/>
                  </a:lnTo>
                  <a:lnTo>
                    <a:pt x="21" y="106"/>
                  </a:lnTo>
                  <a:lnTo>
                    <a:pt x="6" y="106"/>
                  </a:lnTo>
                  <a:lnTo>
                    <a:pt x="6" y="106"/>
                  </a:lnTo>
                  <a:lnTo>
                    <a:pt x="4" y="106"/>
                  </a:lnTo>
                  <a:lnTo>
                    <a:pt x="1" y="109"/>
                  </a:lnTo>
                  <a:lnTo>
                    <a:pt x="0" y="110"/>
                  </a:lnTo>
                  <a:lnTo>
                    <a:pt x="0" y="112"/>
                  </a:lnTo>
                  <a:lnTo>
                    <a:pt x="0" y="138"/>
                  </a:lnTo>
                  <a:lnTo>
                    <a:pt x="0" y="138"/>
                  </a:lnTo>
                  <a:lnTo>
                    <a:pt x="0" y="141"/>
                  </a:lnTo>
                  <a:lnTo>
                    <a:pt x="1" y="143"/>
                  </a:lnTo>
                  <a:lnTo>
                    <a:pt x="4" y="144"/>
                  </a:lnTo>
                  <a:lnTo>
                    <a:pt x="6" y="144"/>
                  </a:lnTo>
                  <a:lnTo>
                    <a:pt x="21" y="144"/>
                  </a:lnTo>
                  <a:lnTo>
                    <a:pt x="21" y="144"/>
                  </a:lnTo>
                  <a:lnTo>
                    <a:pt x="26" y="160"/>
                  </a:lnTo>
                  <a:lnTo>
                    <a:pt x="14" y="168"/>
                  </a:lnTo>
                  <a:lnTo>
                    <a:pt x="14" y="168"/>
                  </a:lnTo>
                  <a:lnTo>
                    <a:pt x="11" y="169"/>
                  </a:lnTo>
                  <a:lnTo>
                    <a:pt x="10" y="171"/>
                  </a:lnTo>
                  <a:lnTo>
                    <a:pt x="10" y="174"/>
                  </a:lnTo>
                  <a:lnTo>
                    <a:pt x="11" y="176"/>
                  </a:lnTo>
                  <a:lnTo>
                    <a:pt x="23" y="199"/>
                  </a:lnTo>
                  <a:lnTo>
                    <a:pt x="23" y="199"/>
                  </a:lnTo>
                  <a:lnTo>
                    <a:pt x="25" y="201"/>
                  </a:lnTo>
                  <a:lnTo>
                    <a:pt x="27" y="201"/>
                  </a:lnTo>
                  <a:lnTo>
                    <a:pt x="30" y="202"/>
                  </a:lnTo>
                  <a:lnTo>
                    <a:pt x="32" y="201"/>
                  </a:lnTo>
                  <a:lnTo>
                    <a:pt x="46" y="194"/>
                  </a:lnTo>
                  <a:lnTo>
                    <a:pt x="46" y="194"/>
                  </a:lnTo>
                  <a:lnTo>
                    <a:pt x="57" y="205"/>
                  </a:lnTo>
                  <a:lnTo>
                    <a:pt x="49" y="217"/>
                  </a:lnTo>
                  <a:lnTo>
                    <a:pt x="49" y="217"/>
                  </a:lnTo>
                  <a:lnTo>
                    <a:pt x="49" y="220"/>
                  </a:lnTo>
                  <a:lnTo>
                    <a:pt x="49" y="222"/>
                  </a:lnTo>
                  <a:lnTo>
                    <a:pt x="51" y="224"/>
                  </a:lnTo>
                  <a:lnTo>
                    <a:pt x="52" y="226"/>
                  </a:lnTo>
                  <a:lnTo>
                    <a:pt x="74" y="239"/>
                  </a:lnTo>
                  <a:lnTo>
                    <a:pt x="74" y="239"/>
                  </a:lnTo>
                  <a:lnTo>
                    <a:pt x="76" y="239"/>
                  </a:lnTo>
                  <a:lnTo>
                    <a:pt x="79" y="239"/>
                  </a:lnTo>
                  <a:lnTo>
                    <a:pt x="81" y="238"/>
                  </a:lnTo>
                  <a:lnTo>
                    <a:pt x="83" y="237"/>
                  </a:lnTo>
                  <a:lnTo>
                    <a:pt x="91" y="223"/>
                  </a:lnTo>
                  <a:lnTo>
                    <a:pt x="91" y="223"/>
                  </a:lnTo>
                  <a:lnTo>
                    <a:pt x="106" y="227"/>
                  </a:lnTo>
                  <a:lnTo>
                    <a:pt x="106" y="242"/>
                  </a:lnTo>
                  <a:lnTo>
                    <a:pt x="106" y="242"/>
                  </a:lnTo>
                  <a:lnTo>
                    <a:pt x="107" y="244"/>
                  </a:lnTo>
                  <a:lnTo>
                    <a:pt x="108" y="247"/>
                  </a:lnTo>
                  <a:lnTo>
                    <a:pt x="111" y="248"/>
                  </a:lnTo>
                  <a:lnTo>
                    <a:pt x="113" y="248"/>
                  </a:lnTo>
                  <a:lnTo>
                    <a:pt x="122" y="248"/>
                  </a:lnTo>
                  <a:lnTo>
                    <a:pt x="122" y="19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12" name="Freeform 272">
              <a:extLst>
                <a:ext uri="{FF2B5EF4-FFF2-40B4-BE49-F238E27FC236}">
                  <a16:creationId xmlns:a16="http://schemas.microsoft.com/office/drawing/2014/main" id="{D1900AD4-A870-5E17-F262-C019D5F4C192}"/>
                </a:ext>
              </a:extLst>
            </p:cNvPr>
            <p:cNvSpPr>
              <a:spLocks noEditPoints="1"/>
            </p:cNvSpPr>
            <p:nvPr/>
          </p:nvSpPr>
          <p:spPr bwMode="auto">
            <a:xfrm>
              <a:off x="819150" y="6272213"/>
              <a:ext cx="257175" cy="257175"/>
            </a:xfrm>
            <a:custGeom>
              <a:avLst/>
              <a:gdLst>
                <a:gd name="T0" fmla="*/ 82 w 162"/>
                <a:gd name="T1" fmla="*/ 0 h 162"/>
                <a:gd name="T2" fmla="*/ 65 w 162"/>
                <a:gd name="T3" fmla="*/ 1 h 162"/>
                <a:gd name="T4" fmla="*/ 49 w 162"/>
                <a:gd name="T5" fmla="*/ 6 h 162"/>
                <a:gd name="T6" fmla="*/ 36 w 162"/>
                <a:gd name="T7" fmla="*/ 14 h 162"/>
                <a:gd name="T8" fmla="*/ 24 w 162"/>
                <a:gd name="T9" fmla="*/ 24 h 162"/>
                <a:gd name="T10" fmla="*/ 14 w 162"/>
                <a:gd name="T11" fmla="*/ 36 h 162"/>
                <a:gd name="T12" fmla="*/ 6 w 162"/>
                <a:gd name="T13" fmla="*/ 50 h 162"/>
                <a:gd name="T14" fmla="*/ 3 w 162"/>
                <a:gd name="T15" fmla="*/ 64 h 162"/>
                <a:gd name="T16" fmla="*/ 0 w 162"/>
                <a:gd name="T17" fmla="*/ 82 h 162"/>
                <a:gd name="T18" fmla="*/ 1 w 162"/>
                <a:gd name="T19" fmla="*/ 89 h 162"/>
                <a:gd name="T20" fmla="*/ 4 w 162"/>
                <a:gd name="T21" fmla="*/ 105 h 162"/>
                <a:gd name="T22" fmla="*/ 10 w 162"/>
                <a:gd name="T23" fmla="*/ 120 h 162"/>
                <a:gd name="T24" fmla="*/ 19 w 162"/>
                <a:gd name="T25" fmla="*/ 132 h 162"/>
                <a:gd name="T26" fmla="*/ 30 w 162"/>
                <a:gd name="T27" fmla="*/ 143 h 162"/>
                <a:gd name="T28" fmla="*/ 43 w 162"/>
                <a:gd name="T29" fmla="*/ 152 h 162"/>
                <a:gd name="T30" fmla="*/ 57 w 162"/>
                <a:gd name="T31" fmla="*/ 158 h 162"/>
                <a:gd name="T32" fmla="*/ 73 w 162"/>
                <a:gd name="T33" fmla="*/ 162 h 162"/>
                <a:gd name="T34" fmla="*/ 82 w 162"/>
                <a:gd name="T35" fmla="*/ 162 h 162"/>
                <a:gd name="T36" fmla="*/ 98 w 162"/>
                <a:gd name="T37" fmla="*/ 161 h 162"/>
                <a:gd name="T38" fmla="*/ 112 w 162"/>
                <a:gd name="T39" fmla="*/ 156 h 162"/>
                <a:gd name="T40" fmla="*/ 126 w 162"/>
                <a:gd name="T41" fmla="*/ 148 h 162"/>
                <a:gd name="T42" fmla="*/ 138 w 162"/>
                <a:gd name="T43" fmla="*/ 138 h 162"/>
                <a:gd name="T44" fmla="*/ 148 w 162"/>
                <a:gd name="T45" fmla="*/ 126 h 162"/>
                <a:gd name="T46" fmla="*/ 156 w 162"/>
                <a:gd name="T47" fmla="*/ 112 h 162"/>
                <a:gd name="T48" fmla="*/ 160 w 162"/>
                <a:gd name="T49" fmla="*/ 98 h 162"/>
                <a:gd name="T50" fmla="*/ 162 w 162"/>
                <a:gd name="T51" fmla="*/ 82 h 162"/>
                <a:gd name="T52" fmla="*/ 162 w 162"/>
                <a:gd name="T53" fmla="*/ 73 h 162"/>
                <a:gd name="T54" fmla="*/ 158 w 162"/>
                <a:gd name="T55" fmla="*/ 57 h 162"/>
                <a:gd name="T56" fmla="*/ 152 w 162"/>
                <a:gd name="T57" fmla="*/ 42 h 162"/>
                <a:gd name="T58" fmla="*/ 143 w 162"/>
                <a:gd name="T59" fmla="*/ 30 h 162"/>
                <a:gd name="T60" fmla="*/ 133 w 162"/>
                <a:gd name="T61" fmla="*/ 19 h 162"/>
                <a:gd name="T62" fmla="*/ 120 w 162"/>
                <a:gd name="T63" fmla="*/ 10 h 162"/>
                <a:gd name="T64" fmla="*/ 105 w 162"/>
                <a:gd name="T65" fmla="*/ 4 h 162"/>
                <a:gd name="T66" fmla="*/ 89 w 162"/>
                <a:gd name="T67" fmla="*/ 0 h 162"/>
                <a:gd name="T68" fmla="*/ 82 w 162"/>
                <a:gd name="T69" fmla="*/ 0 h 162"/>
                <a:gd name="T70" fmla="*/ 82 w 162"/>
                <a:gd name="T71" fmla="*/ 147 h 162"/>
                <a:gd name="T72" fmla="*/ 56 w 162"/>
                <a:gd name="T73" fmla="*/ 142 h 162"/>
                <a:gd name="T74" fmla="*/ 35 w 162"/>
                <a:gd name="T75" fmla="*/ 128 h 162"/>
                <a:gd name="T76" fmla="*/ 20 w 162"/>
                <a:gd name="T77" fmla="*/ 106 h 162"/>
                <a:gd name="T78" fmla="*/ 15 w 162"/>
                <a:gd name="T79" fmla="*/ 80 h 162"/>
                <a:gd name="T80" fmla="*/ 16 w 162"/>
                <a:gd name="T81" fmla="*/ 68 h 162"/>
                <a:gd name="T82" fmla="*/ 26 w 162"/>
                <a:gd name="T83" fmla="*/ 43 h 162"/>
                <a:gd name="T84" fmla="*/ 45 w 162"/>
                <a:gd name="T85" fmla="*/ 26 h 162"/>
                <a:gd name="T86" fmla="*/ 68 w 162"/>
                <a:gd name="T87" fmla="*/ 16 h 162"/>
                <a:gd name="T88" fmla="*/ 82 w 162"/>
                <a:gd name="T89" fmla="*/ 15 h 162"/>
                <a:gd name="T90" fmla="*/ 107 w 162"/>
                <a:gd name="T91" fmla="*/ 20 h 162"/>
                <a:gd name="T92" fmla="*/ 128 w 162"/>
                <a:gd name="T93" fmla="*/ 33 h 162"/>
                <a:gd name="T94" fmla="*/ 142 w 162"/>
                <a:gd name="T95" fmla="*/ 56 h 162"/>
                <a:gd name="T96" fmla="*/ 148 w 162"/>
                <a:gd name="T97" fmla="*/ 80 h 162"/>
                <a:gd name="T98" fmla="*/ 147 w 162"/>
                <a:gd name="T99" fmla="*/ 94 h 162"/>
                <a:gd name="T100" fmla="*/ 136 w 162"/>
                <a:gd name="T101" fmla="*/ 119 h 162"/>
                <a:gd name="T102" fmla="*/ 119 w 162"/>
                <a:gd name="T103" fmla="*/ 136 h 162"/>
                <a:gd name="T104" fmla="*/ 95 w 162"/>
                <a:gd name="T105" fmla="*/ 146 h 162"/>
                <a:gd name="T106" fmla="*/ 82 w 162"/>
                <a:gd name="T107" fmla="*/ 147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Lst>
              <a:rect l="0" t="0" r="r" b="b"/>
              <a:pathLst>
                <a:path w="162" h="162">
                  <a:moveTo>
                    <a:pt x="82" y="0"/>
                  </a:moveTo>
                  <a:lnTo>
                    <a:pt x="82" y="0"/>
                  </a:lnTo>
                  <a:lnTo>
                    <a:pt x="73" y="0"/>
                  </a:lnTo>
                  <a:lnTo>
                    <a:pt x="65" y="1"/>
                  </a:lnTo>
                  <a:lnTo>
                    <a:pt x="57" y="4"/>
                  </a:lnTo>
                  <a:lnTo>
                    <a:pt x="49" y="6"/>
                  </a:lnTo>
                  <a:lnTo>
                    <a:pt x="43" y="10"/>
                  </a:lnTo>
                  <a:lnTo>
                    <a:pt x="36" y="14"/>
                  </a:lnTo>
                  <a:lnTo>
                    <a:pt x="30" y="19"/>
                  </a:lnTo>
                  <a:lnTo>
                    <a:pt x="24" y="24"/>
                  </a:lnTo>
                  <a:lnTo>
                    <a:pt x="19" y="30"/>
                  </a:lnTo>
                  <a:lnTo>
                    <a:pt x="14" y="36"/>
                  </a:lnTo>
                  <a:lnTo>
                    <a:pt x="10" y="42"/>
                  </a:lnTo>
                  <a:lnTo>
                    <a:pt x="6" y="50"/>
                  </a:lnTo>
                  <a:lnTo>
                    <a:pt x="4" y="57"/>
                  </a:lnTo>
                  <a:lnTo>
                    <a:pt x="3" y="64"/>
                  </a:lnTo>
                  <a:lnTo>
                    <a:pt x="1" y="73"/>
                  </a:lnTo>
                  <a:lnTo>
                    <a:pt x="0" y="82"/>
                  </a:lnTo>
                  <a:lnTo>
                    <a:pt x="0" y="82"/>
                  </a:lnTo>
                  <a:lnTo>
                    <a:pt x="1" y="89"/>
                  </a:lnTo>
                  <a:lnTo>
                    <a:pt x="3" y="98"/>
                  </a:lnTo>
                  <a:lnTo>
                    <a:pt x="4" y="105"/>
                  </a:lnTo>
                  <a:lnTo>
                    <a:pt x="6" y="112"/>
                  </a:lnTo>
                  <a:lnTo>
                    <a:pt x="10" y="120"/>
                  </a:lnTo>
                  <a:lnTo>
                    <a:pt x="14" y="126"/>
                  </a:lnTo>
                  <a:lnTo>
                    <a:pt x="19" y="132"/>
                  </a:lnTo>
                  <a:lnTo>
                    <a:pt x="24" y="138"/>
                  </a:lnTo>
                  <a:lnTo>
                    <a:pt x="30" y="143"/>
                  </a:lnTo>
                  <a:lnTo>
                    <a:pt x="36" y="148"/>
                  </a:lnTo>
                  <a:lnTo>
                    <a:pt x="43" y="152"/>
                  </a:lnTo>
                  <a:lnTo>
                    <a:pt x="49" y="156"/>
                  </a:lnTo>
                  <a:lnTo>
                    <a:pt x="57" y="158"/>
                  </a:lnTo>
                  <a:lnTo>
                    <a:pt x="65" y="161"/>
                  </a:lnTo>
                  <a:lnTo>
                    <a:pt x="73" y="162"/>
                  </a:lnTo>
                  <a:lnTo>
                    <a:pt x="82" y="162"/>
                  </a:lnTo>
                  <a:lnTo>
                    <a:pt x="82" y="162"/>
                  </a:lnTo>
                  <a:lnTo>
                    <a:pt x="89" y="162"/>
                  </a:lnTo>
                  <a:lnTo>
                    <a:pt x="98" y="161"/>
                  </a:lnTo>
                  <a:lnTo>
                    <a:pt x="105" y="158"/>
                  </a:lnTo>
                  <a:lnTo>
                    <a:pt x="112" y="156"/>
                  </a:lnTo>
                  <a:lnTo>
                    <a:pt x="120" y="152"/>
                  </a:lnTo>
                  <a:lnTo>
                    <a:pt x="126" y="148"/>
                  </a:lnTo>
                  <a:lnTo>
                    <a:pt x="133" y="143"/>
                  </a:lnTo>
                  <a:lnTo>
                    <a:pt x="138" y="138"/>
                  </a:lnTo>
                  <a:lnTo>
                    <a:pt x="143" y="132"/>
                  </a:lnTo>
                  <a:lnTo>
                    <a:pt x="148" y="126"/>
                  </a:lnTo>
                  <a:lnTo>
                    <a:pt x="152" y="120"/>
                  </a:lnTo>
                  <a:lnTo>
                    <a:pt x="156" y="112"/>
                  </a:lnTo>
                  <a:lnTo>
                    <a:pt x="158" y="105"/>
                  </a:lnTo>
                  <a:lnTo>
                    <a:pt x="160" y="98"/>
                  </a:lnTo>
                  <a:lnTo>
                    <a:pt x="162" y="89"/>
                  </a:lnTo>
                  <a:lnTo>
                    <a:pt x="162" y="82"/>
                  </a:lnTo>
                  <a:lnTo>
                    <a:pt x="162" y="82"/>
                  </a:lnTo>
                  <a:lnTo>
                    <a:pt x="162" y="73"/>
                  </a:lnTo>
                  <a:lnTo>
                    <a:pt x="160" y="64"/>
                  </a:lnTo>
                  <a:lnTo>
                    <a:pt x="158" y="57"/>
                  </a:lnTo>
                  <a:lnTo>
                    <a:pt x="156" y="50"/>
                  </a:lnTo>
                  <a:lnTo>
                    <a:pt x="152" y="42"/>
                  </a:lnTo>
                  <a:lnTo>
                    <a:pt x="148" y="36"/>
                  </a:lnTo>
                  <a:lnTo>
                    <a:pt x="143" y="30"/>
                  </a:lnTo>
                  <a:lnTo>
                    <a:pt x="138" y="24"/>
                  </a:lnTo>
                  <a:lnTo>
                    <a:pt x="133" y="19"/>
                  </a:lnTo>
                  <a:lnTo>
                    <a:pt x="126" y="14"/>
                  </a:lnTo>
                  <a:lnTo>
                    <a:pt x="120" y="10"/>
                  </a:lnTo>
                  <a:lnTo>
                    <a:pt x="112" y="6"/>
                  </a:lnTo>
                  <a:lnTo>
                    <a:pt x="105" y="4"/>
                  </a:lnTo>
                  <a:lnTo>
                    <a:pt x="98" y="1"/>
                  </a:lnTo>
                  <a:lnTo>
                    <a:pt x="89" y="0"/>
                  </a:lnTo>
                  <a:lnTo>
                    <a:pt x="82" y="0"/>
                  </a:lnTo>
                  <a:lnTo>
                    <a:pt x="82" y="0"/>
                  </a:lnTo>
                  <a:close/>
                  <a:moveTo>
                    <a:pt x="82" y="147"/>
                  </a:moveTo>
                  <a:lnTo>
                    <a:pt x="82" y="147"/>
                  </a:lnTo>
                  <a:lnTo>
                    <a:pt x="68" y="146"/>
                  </a:lnTo>
                  <a:lnTo>
                    <a:pt x="56" y="142"/>
                  </a:lnTo>
                  <a:lnTo>
                    <a:pt x="45" y="136"/>
                  </a:lnTo>
                  <a:lnTo>
                    <a:pt x="35" y="128"/>
                  </a:lnTo>
                  <a:lnTo>
                    <a:pt x="26" y="119"/>
                  </a:lnTo>
                  <a:lnTo>
                    <a:pt x="20" y="106"/>
                  </a:lnTo>
                  <a:lnTo>
                    <a:pt x="16" y="94"/>
                  </a:lnTo>
                  <a:lnTo>
                    <a:pt x="15" y="80"/>
                  </a:lnTo>
                  <a:lnTo>
                    <a:pt x="15" y="80"/>
                  </a:lnTo>
                  <a:lnTo>
                    <a:pt x="16" y="68"/>
                  </a:lnTo>
                  <a:lnTo>
                    <a:pt x="20" y="56"/>
                  </a:lnTo>
                  <a:lnTo>
                    <a:pt x="26" y="43"/>
                  </a:lnTo>
                  <a:lnTo>
                    <a:pt x="35" y="33"/>
                  </a:lnTo>
                  <a:lnTo>
                    <a:pt x="45" y="26"/>
                  </a:lnTo>
                  <a:lnTo>
                    <a:pt x="56" y="20"/>
                  </a:lnTo>
                  <a:lnTo>
                    <a:pt x="68" y="16"/>
                  </a:lnTo>
                  <a:lnTo>
                    <a:pt x="82" y="15"/>
                  </a:lnTo>
                  <a:lnTo>
                    <a:pt x="82" y="15"/>
                  </a:lnTo>
                  <a:lnTo>
                    <a:pt x="95" y="16"/>
                  </a:lnTo>
                  <a:lnTo>
                    <a:pt x="107" y="20"/>
                  </a:lnTo>
                  <a:lnTo>
                    <a:pt x="119" y="26"/>
                  </a:lnTo>
                  <a:lnTo>
                    <a:pt x="128" y="33"/>
                  </a:lnTo>
                  <a:lnTo>
                    <a:pt x="136" y="43"/>
                  </a:lnTo>
                  <a:lnTo>
                    <a:pt x="142" y="56"/>
                  </a:lnTo>
                  <a:lnTo>
                    <a:pt x="147" y="68"/>
                  </a:lnTo>
                  <a:lnTo>
                    <a:pt x="148" y="80"/>
                  </a:lnTo>
                  <a:lnTo>
                    <a:pt x="148" y="80"/>
                  </a:lnTo>
                  <a:lnTo>
                    <a:pt x="147" y="94"/>
                  </a:lnTo>
                  <a:lnTo>
                    <a:pt x="142" y="106"/>
                  </a:lnTo>
                  <a:lnTo>
                    <a:pt x="136" y="119"/>
                  </a:lnTo>
                  <a:lnTo>
                    <a:pt x="128" y="128"/>
                  </a:lnTo>
                  <a:lnTo>
                    <a:pt x="119" y="136"/>
                  </a:lnTo>
                  <a:lnTo>
                    <a:pt x="107" y="142"/>
                  </a:lnTo>
                  <a:lnTo>
                    <a:pt x="95" y="146"/>
                  </a:lnTo>
                  <a:lnTo>
                    <a:pt x="82" y="147"/>
                  </a:lnTo>
                  <a:lnTo>
                    <a:pt x="82" y="147"/>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13" name="Freeform 273">
              <a:extLst>
                <a:ext uri="{FF2B5EF4-FFF2-40B4-BE49-F238E27FC236}">
                  <a16:creationId xmlns:a16="http://schemas.microsoft.com/office/drawing/2014/main" id="{96523AC1-6DF1-5AEC-6CA5-ACB92CF8C139}"/>
                </a:ext>
              </a:extLst>
            </p:cNvPr>
            <p:cNvSpPr>
              <a:spLocks/>
            </p:cNvSpPr>
            <p:nvPr/>
          </p:nvSpPr>
          <p:spPr bwMode="auto">
            <a:xfrm>
              <a:off x="763589" y="6272214"/>
              <a:ext cx="131763" cy="257175"/>
            </a:xfrm>
            <a:custGeom>
              <a:avLst/>
              <a:gdLst>
                <a:gd name="T0" fmla="*/ 3 w 83"/>
                <a:gd name="T1" fmla="*/ 0 h 162"/>
                <a:gd name="T2" fmla="*/ 0 w 83"/>
                <a:gd name="T3" fmla="*/ 15 h 162"/>
                <a:gd name="T4" fmla="*/ 3 w 83"/>
                <a:gd name="T5" fmla="*/ 15 h 162"/>
                <a:gd name="T6" fmla="*/ 16 w 83"/>
                <a:gd name="T7" fmla="*/ 16 h 162"/>
                <a:gd name="T8" fmla="*/ 40 w 83"/>
                <a:gd name="T9" fmla="*/ 26 h 162"/>
                <a:gd name="T10" fmla="*/ 57 w 83"/>
                <a:gd name="T11" fmla="*/ 43 h 162"/>
                <a:gd name="T12" fmla="*/ 68 w 83"/>
                <a:gd name="T13" fmla="*/ 68 h 162"/>
                <a:gd name="T14" fmla="*/ 69 w 83"/>
                <a:gd name="T15" fmla="*/ 80 h 162"/>
                <a:gd name="T16" fmla="*/ 63 w 83"/>
                <a:gd name="T17" fmla="*/ 106 h 162"/>
                <a:gd name="T18" fmla="*/ 49 w 83"/>
                <a:gd name="T19" fmla="*/ 128 h 162"/>
                <a:gd name="T20" fmla="*/ 28 w 83"/>
                <a:gd name="T21" fmla="*/ 142 h 162"/>
                <a:gd name="T22" fmla="*/ 3 w 83"/>
                <a:gd name="T23" fmla="*/ 147 h 162"/>
                <a:gd name="T24" fmla="*/ 0 w 83"/>
                <a:gd name="T25" fmla="*/ 147 h 162"/>
                <a:gd name="T26" fmla="*/ 0 w 83"/>
                <a:gd name="T27" fmla="*/ 162 h 162"/>
                <a:gd name="T28" fmla="*/ 3 w 83"/>
                <a:gd name="T29" fmla="*/ 162 h 162"/>
                <a:gd name="T30" fmla="*/ 19 w 83"/>
                <a:gd name="T31" fmla="*/ 161 h 162"/>
                <a:gd name="T32" fmla="*/ 33 w 83"/>
                <a:gd name="T33" fmla="*/ 156 h 162"/>
                <a:gd name="T34" fmla="*/ 47 w 83"/>
                <a:gd name="T35" fmla="*/ 148 h 162"/>
                <a:gd name="T36" fmla="*/ 59 w 83"/>
                <a:gd name="T37" fmla="*/ 138 h 162"/>
                <a:gd name="T38" fmla="*/ 69 w 83"/>
                <a:gd name="T39" fmla="*/ 126 h 162"/>
                <a:gd name="T40" fmla="*/ 77 w 83"/>
                <a:gd name="T41" fmla="*/ 112 h 162"/>
                <a:gd name="T42" fmla="*/ 81 w 83"/>
                <a:gd name="T43" fmla="*/ 98 h 162"/>
                <a:gd name="T44" fmla="*/ 83 w 83"/>
                <a:gd name="T45" fmla="*/ 82 h 162"/>
                <a:gd name="T46" fmla="*/ 83 w 83"/>
                <a:gd name="T47" fmla="*/ 73 h 162"/>
                <a:gd name="T48" fmla="*/ 79 w 83"/>
                <a:gd name="T49" fmla="*/ 57 h 162"/>
                <a:gd name="T50" fmla="*/ 73 w 83"/>
                <a:gd name="T51" fmla="*/ 42 h 162"/>
                <a:gd name="T52" fmla="*/ 64 w 83"/>
                <a:gd name="T53" fmla="*/ 30 h 162"/>
                <a:gd name="T54" fmla="*/ 54 w 83"/>
                <a:gd name="T55" fmla="*/ 19 h 162"/>
                <a:gd name="T56" fmla="*/ 41 w 83"/>
                <a:gd name="T57" fmla="*/ 10 h 162"/>
                <a:gd name="T58" fmla="*/ 26 w 83"/>
                <a:gd name="T59" fmla="*/ 4 h 162"/>
                <a:gd name="T60" fmla="*/ 10 w 83"/>
                <a:gd name="T61" fmla="*/ 0 h 162"/>
                <a:gd name="T62" fmla="*/ 3 w 83"/>
                <a:gd name="T63" fmla="*/ 0 h 16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83" h="162">
                  <a:moveTo>
                    <a:pt x="3" y="0"/>
                  </a:moveTo>
                  <a:lnTo>
                    <a:pt x="3" y="0"/>
                  </a:lnTo>
                  <a:lnTo>
                    <a:pt x="0" y="0"/>
                  </a:lnTo>
                  <a:lnTo>
                    <a:pt x="0" y="15"/>
                  </a:lnTo>
                  <a:lnTo>
                    <a:pt x="0" y="15"/>
                  </a:lnTo>
                  <a:lnTo>
                    <a:pt x="3" y="15"/>
                  </a:lnTo>
                  <a:lnTo>
                    <a:pt x="3" y="15"/>
                  </a:lnTo>
                  <a:lnTo>
                    <a:pt x="16" y="16"/>
                  </a:lnTo>
                  <a:lnTo>
                    <a:pt x="28" y="20"/>
                  </a:lnTo>
                  <a:lnTo>
                    <a:pt x="40" y="26"/>
                  </a:lnTo>
                  <a:lnTo>
                    <a:pt x="49" y="33"/>
                  </a:lnTo>
                  <a:lnTo>
                    <a:pt x="57" y="43"/>
                  </a:lnTo>
                  <a:lnTo>
                    <a:pt x="63" y="56"/>
                  </a:lnTo>
                  <a:lnTo>
                    <a:pt x="68" y="68"/>
                  </a:lnTo>
                  <a:lnTo>
                    <a:pt x="69" y="80"/>
                  </a:lnTo>
                  <a:lnTo>
                    <a:pt x="69" y="80"/>
                  </a:lnTo>
                  <a:lnTo>
                    <a:pt x="68" y="94"/>
                  </a:lnTo>
                  <a:lnTo>
                    <a:pt x="63" y="106"/>
                  </a:lnTo>
                  <a:lnTo>
                    <a:pt x="57" y="119"/>
                  </a:lnTo>
                  <a:lnTo>
                    <a:pt x="49" y="128"/>
                  </a:lnTo>
                  <a:lnTo>
                    <a:pt x="40" y="136"/>
                  </a:lnTo>
                  <a:lnTo>
                    <a:pt x="28" y="142"/>
                  </a:lnTo>
                  <a:lnTo>
                    <a:pt x="16" y="146"/>
                  </a:lnTo>
                  <a:lnTo>
                    <a:pt x="3" y="147"/>
                  </a:lnTo>
                  <a:lnTo>
                    <a:pt x="3" y="147"/>
                  </a:lnTo>
                  <a:lnTo>
                    <a:pt x="0" y="147"/>
                  </a:lnTo>
                  <a:lnTo>
                    <a:pt x="0" y="162"/>
                  </a:lnTo>
                  <a:lnTo>
                    <a:pt x="0" y="162"/>
                  </a:lnTo>
                  <a:lnTo>
                    <a:pt x="3" y="162"/>
                  </a:lnTo>
                  <a:lnTo>
                    <a:pt x="3" y="162"/>
                  </a:lnTo>
                  <a:lnTo>
                    <a:pt x="10" y="162"/>
                  </a:lnTo>
                  <a:lnTo>
                    <a:pt x="19" y="161"/>
                  </a:lnTo>
                  <a:lnTo>
                    <a:pt x="26" y="158"/>
                  </a:lnTo>
                  <a:lnTo>
                    <a:pt x="33" y="156"/>
                  </a:lnTo>
                  <a:lnTo>
                    <a:pt x="41" y="152"/>
                  </a:lnTo>
                  <a:lnTo>
                    <a:pt x="47" y="148"/>
                  </a:lnTo>
                  <a:lnTo>
                    <a:pt x="54" y="143"/>
                  </a:lnTo>
                  <a:lnTo>
                    <a:pt x="59" y="138"/>
                  </a:lnTo>
                  <a:lnTo>
                    <a:pt x="64" y="132"/>
                  </a:lnTo>
                  <a:lnTo>
                    <a:pt x="69" y="126"/>
                  </a:lnTo>
                  <a:lnTo>
                    <a:pt x="73" y="120"/>
                  </a:lnTo>
                  <a:lnTo>
                    <a:pt x="77" y="112"/>
                  </a:lnTo>
                  <a:lnTo>
                    <a:pt x="79" y="105"/>
                  </a:lnTo>
                  <a:lnTo>
                    <a:pt x="81" y="98"/>
                  </a:lnTo>
                  <a:lnTo>
                    <a:pt x="83" y="89"/>
                  </a:lnTo>
                  <a:lnTo>
                    <a:pt x="83" y="82"/>
                  </a:lnTo>
                  <a:lnTo>
                    <a:pt x="83" y="82"/>
                  </a:lnTo>
                  <a:lnTo>
                    <a:pt x="83" y="73"/>
                  </a:lnTo>
                  <a:lnTo>
                    <a:pt x="81" y="64"/>
                  </a:lnTo>
                  <a:lnTo>
                    <a:pt x="79" y="57"/>
                  </a:lnTo>
                  <a:lnTo>
                    <a:pt x="77" y="50"/>
                  </a:lnTo>
                  <a:lnTo>
                    <a:pt x="73" y="42"/>
                  </a:lnTo>
                  <a:lnTo>
                    <a:pt x="69" y="36"/>
                  </a:lnTo>
                  <a:lnTo>
                    <a:pt x="64" y="30"/>
                  </a:lnTo>
                  <a:lnTo>
                    <a:pt x="59" y="24"/>
                  </a:lnTo>
                  <a:lnTo>
                    <a:pt x="54" y="19"/>
                  </a:lnTo>
                  <a:lnTo>
                    <a:pt x="47" y="14"/>
                  </a:lnTo>
                  <a:lnTo>
                    <a:pt x="41" y="10"/>
                  </a:lnTo>
                  <a:lnTo>
                    <a:pt x="33" y="6"/>
                  </a:lnTo>
                  <a:lnTo>
                    <a:pt x="26" y="4"/>
                  </a:lnTo>
                  <a:lnTo>
                    <a:pt x="19" y="1"/>
                  </a:lnTo>
                  <a:lnTo>
                    <a:pt x="10" y="0"/>
                  </a:lnTo>
                  <a:lnTo>
                    <a:pt x="3" y="0"/>
                  </a:lnTo>
                  <a:lnTo>
                    <a:pt x="3"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sp>
          <p:nvSpPr>
            <p:cNvPr id="114" name="Freeform 274">
              <a:extLst>
                <a:ext uri="{FF2B5EF4-FFF2-40B4-BE49-F238E27FC236}">
                  <a16:creationId xmlns:a16="http://schemas.microsoft.com/office/drawing/2014/main" id="{9D36201A-42ED-B8DB-2C36-27EDF846E311}"/>
                </a:ext>
              </a:extLst>
            </p:cNvPr>
            <p:cNvSpPr>
              <a:spLocks/>
            </p:cNvSpPr>
            <p:nvPr/>
          </p:nvSpPr>
          <p:spPr bwMode="auto">
            <a:xfrm>
              <a:off x="944563" y="6294438"/>
              <a:ext cx="111125" cy="212725"/>
            </a:xfrm>
            <a:custGeom>
              <a:avLst/>
              <a:gdLst>
                <a:gd name="T0" fmla="*/ 3 w 70"/>
                <a:gd name="T1" fmla="*/ 0 h 134"/>
                <a:gd name="T2" fmla="*/ 3 w 70"/>
                <a:gd name="T3" fmla="*/ 0 h 134"/>
                <a:gd name="T4" fmla="*/ 0 w 70"/>
                <a:gd name="T5" fmla="*/ 0 h 134"/>
                <a:gd name="T6" fmla="*/ 0 w 70"/>
                <a:gd name="T7" fmla="*/ 11 h 134"/>
                <a:gd name="T8" fmla="*/ 0 w 70"/>
                <a:gd name="T9" fmla="*/ 11 h 134"/>
                <a:gd name="T10" fmla="*/ 3 w 70"/>
                <a:gd name="T11" fmla="*/ 11 h 134"/>
                <a:gd name="T12" fmla="*/ 3 w 70"/>
                <a:gd name="T13" fmla="*/ 11 h 134"/>
                <a:gd name="T14" fmla="*/ 14 w 70"/>
                <a:gd name="T15" fmla="*/ 12 h 134"/>
                <a:gd name="T16" fmla="*/ 23 w 70"/>
                <a:gd name="T17" fmla="*/ 16 h 134"/>
                <a:gd name="T18" fmla="*/ 33 w 70"/>
                <a:gd name="T19" fmla="*/ 21 h 134"/>
                <a:gd name="T20" fmla="*/ 42 w 70"/>
                <a:gd name="T21" fmla="*/ 28 h 134"/>
                <a:gd name="T22" fmla="*/ 48 w 70"/>
                <a:gd name="T23" fmla="*/ 36 h 134"/>
                <a:gd name="T24" fmla="*/ 53 w 70"/>
                <a:gd name="T25" fmla="*/ 45 h 134"/>
                <a:gd name="T26" fmla="*/ 57 w 70"/>
                <a:gd name="T27" fmla="*/ 55 h 134"/>
                <a:gd name="T28" fmla="*/ 58 w 70"/>
                <a:gd name="T29" fmla="*/ 66 h 134"/>
                <a:gd name="T30" fmla="*/ 58 w 70"/>
                <a:gd name="T31" fmla="*/ 66 h 134"/>
                <a:gd name="T32" fmla="*/ 57 w 70"/>
                <a:gd name="T33" fmla="*/ 79 h 134"/>
                <a:gd name="T34" fmla="*/ 53 w 70"/>
                <a:gd name="T35" fmla="*/ 89 h 134"/>
                <a:gd name="T36" fmla="*/ 48 w 70"/>
                <a:gd name="T37" fmla="*/ 98 h 134"/>
                <a:gd name="T38" fmla="*/ 42 w 70"/>
                <a:gd name="T39" fmla="*/ 106 h 134"/>
                <a:gd name="T40" fmla="*/ 33 w 70"/>
                <a:gd name="T41" fmla="*/ 113 h 134"/>
                <a:gd name="T42" fmla="*/ 23 w 70"/>
                <a:gd name="T43" fmla="*/ 118 h 134"/>
                <a:gd name="T44" fmla="*/ 14 w 70"/>
                <a:gd name="T45" fmla="*/ 122 h 134"/>
                <a:gd name="T46" fmla="*/ 3 w 70"/>
                <a:gd name="T47" fmla="*/ 123 h 134"/>
                <a:gd name="T48" fmla="*/ 3 w 70"/>
                <a:gd name="T49" fmla="*/ 123 h 134"/>
                <a:gd name="T50" fmla="*/ 0 w 70"/>
                <a:gd name="T51" fmla="*/ 123 h 134"/>
                <a:gd name="T52" fmla="*/ 0 w 70"/>
                <a:gd name="T53" fmla="*/ 134 h 134"/>
                <a:gd name="T54" fmla="*/ 0 w 70"/>
                <a:gd name="T55" fmla="*/ 134 h 134"/>
                <a:gd name="T56" fmla="*/ 3 w 70"/>
                <a:gd name="T57" fmla="*/ 134 h 134"/>
                <a:gd name="T58" fmla="*/ 3 w 70"/>
                <a:gd name="T59" fmla="*/ 134 h 134"/>
                <a:gd name="T60" fmla="*/ 16 w 70"/>
                <a:gd name="T61" fmla="*/ 133 h 134"/>
                <a:gd name="T62" fmla="*/ 28 w 70"/>
                <a:gd name="T63" fmla="*/ 129 h 134"/>
                <a:gd name="T64" fmla="*/ 41 w 70"/>
                <a:gd name="T65" fmla="*/ 123 h 134"/>
                <a:gd name="T66" fmla="*/ 51 w 70"/>
                <a:gd name="T67" fmla="*/ 114 h 134"/>
                <a:gd name="T68" fmla="*/ 58 w 70"/>
                <a:gd name="T69" fmla="*/ 105 h 134"/>
                <a:gd name="T70" fmla="*/ 64 w 70"/>
                <a:gd name="T71" fmla="*/ 93 h 134"/>
                <a:gd name="T72" fmla="*/ 69 w 70"/>
                <a:gd name="T73" fmla="*/ 81 h 134"/>
                <a:gd name="T74" fmla="*/ 70 w 70"/>
                <a:gd name="T75" fmla="*/ 68 h 134"/>
                <a:gd name="T76" fmla="*/ 70 w 70"/>
                <a:gd name="T77" fmla="*/ 68 h 134"/>
                <a:gd name="T78" fmla="*/ 69 w 70"/>
                <a:gd name="T79" fmla="*/ 53 h 134"/>
                <a:gd name="T80" fmla="*/ 64 w 70"/>
                <a:gd name="T81" fmla="*/ 40 h 134"/>
                <a:gd name="T82" fmla="*/ 58 w 70"/>
                <a:gd name="T83" fmla="*/ 29 h 134"/>
                <a:gd name="T84" fmla="*/ 51 w 70"/>
                <a:gd name="T85" fmla="*/ 19 h 134"/>
                <a:gd name="T86" fmla="*/ 41 w 70"/>
                <a:gd name="T87" fmla="*/ 11 h 134"/>
                <a:gd name="T88" fmla="*/ 28 w 70"/>
                <a:gd name="T89" fmla="*/ 5 h 134"/>
                <a:gd name="T90" fmla="*/ 16 w 70"/>
                <a:gd name="T91" fmla="*/ 1 h 134"/>
                <a:gd name="T92" fmla="*/ 3 w 70"/>
                <a:gd name="T93" fmla="*/ 0 h 134"/>
                <a:gd name="T94" fmla="*/ 3 w 70"/>
                <a:gd name="T95" fmla="*/ 0 h 13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Lst>
              <a:rect l="0" t="0" r="r" b="b"/>
              <a:pathLst>
                <a:path w="70" h="134">
                  <a:moveTo>
                    <a:pt x="3" y="0"/>
                  </a:moveTo>
                  <a:lnTo>
                    <a:pt x="3" y="0"/>
                  </a:lnTo>
                  <a:lnTo>
                    <a:pt x="0" y="0"/>
                  </a:lnTo>
                  <a:lnTo>
                    <a:pt x="0" y="11"/>
                  </a:lnTo>
                  <a:lnTo>
                    <a:pt x="0" y="11"/>
                  </a:lnTo>
                  <a:lnTo>
                    <a:pt x="3" y="11"/>
                  </a:lnTo>
                  <a:lnTo>
                    <a:pt x="3" y="11"/>
                  </a:lnTo>
                  <a:lnTo>
                    <a:pt x="14" y="12"/>
                  </a:lnTo>
                  <a:lnTo>
                    <a:pt x="23" y="16"/>
                  </a:lnTo>
                  <a:lnTo>
                    <a:pt x="33" y="21"/>
                  </a:lnTo>
                  <a:lnTo>
                    <a:pt x="42" y="28"/>
                  </a:lnTo>
                  <a:lnTo>
                    <a:pt x="48" y="36"/>
                  </a:lnTo>
                  <a:lnTo>
                    <a:pt x="53" y="45"/>
                  </a:lnTo>
                  <a:lnTo>
                    <a:pt x="57" y="55"/>
                  </a:lnTo>
                  <a:lnTo>
                    <a:pt x="58" y="66"/>
                  </a:lnTo>
                  <a:lnTo>
                    <a:pt x="58" y="66"/>
                  </a:lnTo>
                  <a:lnTo>
                    <a:pt x="57" y="79"/>
                  </a:lnTo>
                  <a:lnTo>
                    <a:pt x="53" y="89"/>
                  </a:lnTo>
                  <a:lnTo>
                    <a:pt x="48" y="98"/>
                  </a:lnTo>
                  <a:lnTo>
                    <a:pt x="42" y="106"/>
                  </a:lnTo>
                  <a:lnTo>
                    <a:pt x="33" y="113"/>
                  </a:lnTo>
                  <a:lnTo>
                    <a:pt x="23" y="118"/>
                  </a:lnTo>
                  <a:lnTo>
                    <a:pt x="14" y="122"/>
                  </a:lnTo>
                  <a:lnTo>
                    <a:pt x="3" y="123"/>
                  </a:lnTo>
                  <a:lnTo>
                    <a:pt x="3" y="123"/>
                  </a:lnTo>
                  <a:lnTo>
                    <a:pt x="0" y="123"/>
                  </a:lnTo>
                  <a:lnTo>
                    <a:pt x="0" y="134"/>
                  </a:lnTo>
                  <a:lnTo>
                    <a:pt x="0" y="134"/>
                  </a:lnTo>
                  <a:lnTo>
                    <a:pt x="3" y="134"/>
                  </a:lnTo>
                  <a:lnTo>
                    <a:pt x="3" y="134"/>
                  </a:lnTo>
                  <a:lnTo>
                    <a:pt x="16" y="133"/>
                  </a:lnTo>
                  <a:lnTo>
                    <a:pt x="28" y="129"/>
                  </a:lnTo>
                  <a:lnTo>
                    <a:pt x="41" y="123"/>
                  </a:lnTo>
                  <a:lnTo>
                    <a:pt x="51" y="114"/>
                  </a:lnTo>
                  <a:lnTo>
                    <a:pt x="58" y="105"/>
                  </a:lnTo>
                  <a:lnTo>
                    <a:pt x="64" y="93"/>
                  </a:lnTo>
                  <a:lnTo>
                    <a:pt x="69" y="81"/>
                  </a:lnTo>
                  <a:lnTo>
                    <a:pt x="70" y="68"/>
                  </a:lnTo>
                  <a:lnTo>
                    <a:pt x="70" y="68"/>
                  </a:lnTo>
                  <a:lnTo>
                    <a:pt x="69" y="53"/>
                  </a:lnTo>
                  <a:lnTo>
                    <a:pt x="64" y="40"/>
                  </a:lnTo>
                  <a:lnTo>
                    <a:pt x="58" y="29"/>
                  </a:lnTo>
                  <a:lnTo>
                    <a:pt x="51" y="19"/>
                  </a:lnTo>
                  <a:lnTo>
                    <a:pt x="41" y="11"/>
                  </a:lnTo>
                  <a:lnTo>
                    <a:pt x="28" y="5"/>
                  </a:lnTo>
                  <a:lnTo>
                    <a:pt x="16" y="1"/>
                  </a:lnTo>
                  <a:lnTo>
                    <a:pt x="3" y="0"/>
                  </a:lnTo>
                  <a:lnTo>
                    <a:pt x="3" y="0"/>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pPr marL="0" marR="0" lvl="0" indent="0" algn="l" defTabSz="914400" rtl="0" eaLnBrk="1" fontAlgn="auto" latinLnBrk="0" hangingPunct="0">
                <a:lnSpc>
                  <a:spcPct val="100000"/>
                </a:lnSpc>
                <a:spcBef>
                  <a:spcPts val="0"/>
                </a:spcBef>
                <a:spcAft>
                  <a:spcPts val="0"/>
                </a:spcAft>
                <a:buClrTx/>
                <a:buSzTx/>
                <a:buFontTx/>
                <a:buNone/>
                <a:tabLst/>
                <a:defRPr/>
              </a:pPr>
              <a:endParaRPr kumimoji="0" lang="en-GB" sz="1800" b="0" i="0" u="none" strike="noStrike" kern="0" cap="none" spc="0" normalizeH="0" baseline="0" noProof="0">
                <a:ln>
                  <a:noFill/>
                </a:ln>
                <a:solidFill>
                  <a:srgbClr val="000000"/>
                </a:solidFill>
                <a:effectLst/>
                <a:uLnTx/>
                <a:uFillTx/>
                <a:latin typeface="Open Sans Light" panose="020B0306030504020204" pitchFamily="34" charset="0"/>
                <a:ea typeface="Open Sans Light" panose="020B0306030504020204" pitchFamily="34" charset="0"/>
                <a:cs typeface="Open Sans Light" panose="020B0306030504020204" pitchFamily="34" charset="0"/>
                <a:sym typeface="Calibri"/>
              </a:endParaRPr>
            </a:p>
          </p:txBody>
        </p:sp>
      </p:grpSp>
      <p:cxnSp>
        <p:nvCxnSpPr>
          <p:cNvPr id="115" name="Connettore 2 114">
            <a:extLst>
              <a:ext uri="{FF2B5EF4-FFF2-40B4-BE49-F238E27FC236}">
                <a16:creationId xmlns:a16="http://schemas.microsoft.com/office/drawing/2014/main" id="{E75F5C59-9A72-D517-F013-CBECAB677F58}"/>
              </a:ext>
            </a:extLst>
          </p:cNvPr>
          <p:cNvCxnSpPr>
            <a:cxnSpLocks/>
          </p:cNvCxnSpPr>
          <p:nvPr/>
        </p:nvCxnSpPr>
        <p:spPr>
          <a:xfrm>
            <a:off x="727584" y="4006359"/>
            <a:ext cx="3060000" cy="0"/>
          </a:xfrm>
          <a:prstGeom prst="straightConnector1">
            <a:avLst/>
          </a:prstGeom>
          <a:noFill/>
          <a:ln w="9525" cap="flat">
            <a:solidFill>
              <a:srgbClr val="96B5C5"/>
            </a:solidFill>
            <a:prstDash val="dash"/>
            <a:round/>
            <a:headEnd type="triangle"/>
            <a:tailEnd type="triangle"/>
          </a:ln>
          <a:effectLst/>
          <a:sp3d/>
        </p:spPr>
        <p:style>
          <a:lnRef idx="0">
            <a:scrgbClr r="0" g="0" b="0"/>
          </a:lnRef>
          <a:fillRef idx="0">
            <a:scrgbClr r="0" g="0" b="0"/>
          </a:fillRef>
          <a:effectRef idx="0">
            <a:scrgbClr r="0" g="0" b="0"/>
          </a:effectRef>
          <a:fontRef idx="none"/>
        </p:style>
      </p:cxnSp>
      <p:cxnSp>
        <p:nvCxnSpPr>
          <p:cNvPr id="116" name="Connettore 2 115">
            <a:extLst>
              <a:ext uri="{FF2B5EF4-FFF2-40B4-BE49-F238E27FC236}">
                <a16:creationId xmlns:a16="http://schemas.microsoft.com/office/drawing/2014/main" id="{5B8C8671-9E93-B168-4550-00E17635E375}"/>
              </a:ext>
            </a:extLst>
          </p:cNvPr>
          <p:cNvCxnSpPr>
            <a:cxnSpLocks/>
          </p:cNvCxnSpPr>
          <p:nvPr/>
        </p:nvCxnSpPr>
        <p:spPr>
          <a:xfrm>
            <a:off x="4410144" y="4658198"/>
            <a:ext cx="3060000" cy="0"/>
          </a:xfrm>
          <a:prstGeom prst="straightConnector1">
            <a:avLst/>
          </a:prstGeom>
          <a:noFill/>
          <a:ln w="9525" cap="flat">
            <a:solidFill>
              <a:srgbClr val="96B5C5"/>
            </a:solidFill>
            <a:prstDash val="dash"/>
            <a:round/>
            <a:headEnd type="triangle"/>
            <a:tailEnd type="triangle"/>
          </a:ln>
          <a:effectLst/>
          <a:sp3d/>
        </p:spPr>
        <p:style>
          <a:lnRef idx="0">
            <a:scrgbClr r="0" g="0" b="0"/>
          </a:lnRef>
          <a:fillRef idx="0">
            <a:scrgbClr r="0" g="0" b="0"/>
          </a:fillRef>
          <a:effectRef idx="0">
            <a:scrgbClr r="0" g="0" b="0"/>
          </a:effectRef>
          <a:fontRef idx="none"/>
        </p:style>
      </p:cxnSp>
      <p:cxnSp>
        <p:nvCxnSpPr>
          <p:cNvPr id="117" name="Connettore 2 116">
            <a:extLst>
              <a:ext uri="{FF2B5EF4-FFF2-40B4-BE49-F238E27FC236}">
                <a16:creationId xmlns:a16="http://schemas.microsoft.com/office/drawing/2014/main" id="{8E18442F-D893-EDAA-9FD3-125E6BB30B41}"/>
              </a:ext>
            </a:extLst>
          </p:cNvPr>
          <p:cNvCxnSpPr>
            <a:cxnSpLocks/>
          </p:cNvCxnSpPr>
          <p:nvPr/>
        </p:nvCxnSpPr>
        <p:spPr>
          <a:xfrm>
            <a:off x="8164121" y="4006359"/>
            <a:ext cx="3060000" cy="0"/>
          </a:xfrm>
          <a:prstGeom prst="straightConnector1">
            <a:avLst/>
          </a:prstGeom>
          <a:noFill/>
          <a:ln w="9525" cap="flat">
            <a:solidFill>
              <a:srgbClr val="96B5C5"/>
            </a:solidFill>
            <a:prstDash val="dash"/>
            <a:round/>
            <a:headEnd type="triangle"/>
            <a:tailEnd type="triangle"/>
          </a:ln>
          <a:effectLst/>
          <a:sp3d/>
        </p:spPr>
        <p:style>
          <a:lnRef idx="0">
            <a:scrgbClr r="0" g="0" b="0"/>
          </a:lnRef>
          <a:fillRef idx="0">
            <a:scrgbClr r="0" g="0" b="0"/>
          </a:fillRef>
          <a:effectRef idx="0">
            <a:scrgbClr r="0" g="0" b="0"/>
          </a:effectRef>
          <a:fontRef idx="none"/>
        </p:style>
      </p:cxnSp>
      <p:cxnSp>
        <p:nvCxnSpPr>
          <p:cNvPr id="119" name="Connettore diritto 118">
            <a:extLst>
              <a:ext uri="{FF2B5EF4-FFF2-40B4-BE49-F238E27FC236}">
                <a16:creationId xmlns:a16="http://schemas.microsoft.com/office/drawing/2014/main" id="{8003D595-A25D-C40B-46D4-8D01A7063269}"/>
              </a:ext>
            </a:extLst>
          </p:cNvPr>
          <p:cNvCxnSpPr>
            <a:cxnSpLocks/>
          </p:cNvCxnSpPr>
          <p:nvPr/>
        </p:nvCxnSpPr>
        <p:spPr>
          <a:xfrm>
            <a:off x="567578" y="1306542"/>
            <a:ext cx="70488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0" name="Rettangolo 119">
            <a:extLst>
              <a:ext uri="{FF2B5EF4-FFF2-40B4-BE49-F238E27FC236}">
                <a16:creationId xmlns:a16="http://schemas.microsoft.com/office/drawing/2014/main" id="{D5F9066A-BEB8-E880-C9FC-9ED4F97A317D}"/>
              </a:ext>
            </a:extLst>
          </p:cNvPr>
          <p:cNvSpPr/>
          <p:nvPr/>
        </p:nvSpPr>
        <p:spPr>
          <a:xfrm>
            <a:off x="3173978" y="1162542"/>
            <a:ext cx="1836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1"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ssistenza tecnica</a:t>
            </a:r>
          </a:p>
        </p:txBody>
      </p:sp>
      <p:cxnSp>
        <p:nvCxnSpPr>
          <p:cNvPr id="121" name="Connettore diritto 120">
            <a:extLst>
              <a:ext uri="{FF2B5EF4-FFF2-40B4-BE49-F238E27FC236}">
                <a16:creationId xmlns:a16="http://schemas.microsoft.com/office/drawing/2014/main" id="{5DD63AF2-2E04-E799-0E33-C0864EF72591}"/>
              </a:ext>
            </a:extLst>
          </p:cNvPr>
          <p:cNvCxnSpPr>
            <a:cxnSpLocks/>
          </p:cNvCxnSpPr>
          <p:nvPr/>
        </p:nvCxnSpPr>
        <p:spPr>
          <a:xfrm>
            <a:off x="8020445" y="1306542"/>
            <a:ext cx="34128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22" name="Rettangolo 121">
            <a:extLst>
              <a:ext uri="{FF2B5EF4-FFF2-40B4-BE49-F238E27FC236}">
                <a16:creationId xmlns:a16="http://schemas.microsoft.com/office/drawing/2014/main" id="{8E129C7F-517F-B1A2-54E2-89091B2EDD88}"/>
              </a:ext>
            </a:extLst>
          </p:cNvPr>
          <p:cNvSpPr/>
          <p:nvPr/>
        </p:nvSpPr>
        <p:spPr>
          <a:xfrm>
            <a:off x="8556845" y="1162542"/>
            <a:ext cx="2340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1600" b="1" i="1"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Supporto specialistico</a:t>
            </a:r>
          </a:p>
        </p:txBody>
      </p:sp>
      <p:sp>
        <p:nvSpPr>
          <p:cNvPr id="52" name="Titolo 1">
            <a:extLst>
              <a:ext uri="{FF2B5EF4-FFF2-40B4-BE49-F238E27FC236}">
                <a16:creationId xmlns:a16="http://schemas.microsoft.com/office/drawing/2014/main" id="{C777941C-1DB6-557A-858B-6B04EAA5DDB8}"/>
              </a:ext>
            </a:extLst>
          </p:cNvPr>
          <p:cNvSpPr>
            <a:spLocks noGrp="1"/>
          </p:cNvSpPr>
          <p:nvPr>
            <p:ph type="title"/>
          </p:nvPr>
        </p:nvSpPr>
        <p:spPr>
          <a:xfrm>
            <a:off x="228600" y="176586"/>
            <a:ext cx="11124959" cy="659634"/>
          </a:xfrm>
        </p:spPr>
        <p:txBody>
          <a:bodyPr anchor="ctr">
            <a:noAutofit/>
          </a:bodyPr>
          <a:lstStyle/>
          <a:p>
            <a:r>
              <a:rPr lang="it-IT" sz="2200" b="1" dirty="0">
                <a:latin typeface="Open Sans"/>
                <a:ea typeface="Open Sans"/>
                <a:cs typeface="Open Sans"/>
              </a:rPr>
              <a:t>UNICA: abilitazione e funzioni</a:t>
            </a:r>
            <a:br>
              <a:rPr lang="it-IT" sz="2200" b="1" dirty="0">
                <a:latin typeface="Open Sans"/>
                <a:ea typeface="Open Sans"/>
                <a:cs typeface="Open Sans"/>
              </a:rPr>
            </a:br>
            <a:r>
              <a:rPr lang="it-IT" sz="2000" dirty="0">
                <a:latin typeface="Open Sans"/>
                <a:ea typeface="Open Sans"/>
                <a:cs typeface="Open Sans"/>
              </a:rPr>
              <a:t>Canali di assistenza</a:t>
            </a:r>
            <a:endParaRPr lang="it-IT" sz="2200" b="1" dirty="0">
              <a:latin typeface="Open Sans"/>
              <a:ea typeface="Open Sans"/>
              <a:cs typeface="Open Sans"/>
            </a:endParaRPr>
          </a:p>
        </p:txBody>
      </p:sp>
    </p:spTree>
    <p:extLst>
      <p:ext uri="{BB962C8B-B14F-4D97-AF65-F5344CB8AC3E}">
        <p14:creationId xmlns:p14="http://schemas.microsoft.com/office/powerpoint/2010/main" val="681479093"/>
      </p:ext>
    </p:extLst>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Elemento grafico 6">
            <a:extLst>
              <a:ext uri="{FF2B5EF4-FFF2-40B4-BE49-F238E27FC236}">
                <a16:creationId xmlns:a16="http://schemas.microsoft.com/office/drawing/2014/main" id="{ACA764E1-566F-48B8-A0F4-21E6670E832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140551" y="2425551"/>
            <a:ext cx="2006899" cy="2006899"/>
          </a:xfrm>
          <a:prstGeom prst="rect">
            <a:avLst/>
          </a:prstGeom>
        </p:spPr>
      </p:pic>
      <p:sp>
        <p:nvSpPr>
          <p:cNvPr id="3" name="Rettangolo con angoli arrotondati 2">
            <a:extLst>
              <a:ext uri="{FF2B5EF4-FFF2-40B4-BE49-F238E27FC236}">
                <a16:creationId xmlns:a16="http://schemas.microsoft.com/office/drawing/2014/main" id="{D3930FD5-2A12-426D-937C-99961F70DEFA}"/>
              </a:ext>
            </a:extLst>
          </p:cNvPr>
          <p:cNvSpPr/>
          <p:nvPr/>
        </p:nvSpPr>
        <p:spPr>
          <a:xfrm>
            <a:off x="338328" y="4190577"/>
            <a:ext cx="4572000" cy="301752"/>
          </a:xfrm>
          <a:prstGeom prst="round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900" b="0" i="0" u="none" strike="noStrike" kern="1200" cap="none" spc="0" normalizeH="0" baseline="0" noProof="0">
              <a:ln>
                <a:noFill/>
              </a:ln>
              <a:solidFill>
                <a:prstClr val="white"/>
              </a:solidFill>
              <a:effectLst/>
              <a:uLnTx/>
              <a:uFillTx/>
              <a:latin typeface="Arial"/>
              <a:ea typeface="+mn-ea"/>
              <a:cs typeface="+mn-cs"/>
            </a:endParaRPr>
          </a:p>
        </p:txBody>
      </p:sp>
      <p:sp>
        <p:nvSpPr>
          <p:cNvPr id="8" name="Pentagono 88">
            <a:extLst>
              <a:ext uri="{FF2B5EF4-FFF2-40B4-BE49-F238E27FC236}">
                <a16:creationId xmlns:a16="http://schemas.microsoft.com/office/drawing/2014/main" id="{3AFF9277-D155-498F-BDDB-2AD7263FAFB2}"/>
              </a:ext>
            </a:extLst>
          </p:cNvPr>
          <p:cNvSpPr/>
          <p:nvPr/>
        </p:nvSpPr>
        <p:spPr>
          <a:xfrm>
            <a:off x="357982" y="2044553"/>
            <a:ext cx="5623718" cy="2376114"/>
          </a:xfrm>
          <a:prstGeom prst="rect">
            <a:avLst/>
          </a:prstGeom>
          <a:noFill/>
          <a:ln w="12700" cap="flat" cmpd="sng" algn="ctr">
            <a:noFill/>
            <a:prstDash val="solid"/>
            <a:miter lim="800000"/>
          </a:ln>
          <a:effectLst/>
        </p:spPr>
        <p:txBody>
          <a:bodyPr lIns="144000" tIns="0" rIns="0" bIns="0" rtlCol="0" anchor="ctr"/>
          <a:lstStyle/>
          <a:p>
            <a:pPr marL="0" marR="0" lvl="0" indent="0" algn="just" defTabSz="914400" rtl="0" eaLnBrk="1" fontAlgn="base" latinLnBrk="0" hangingPunct="1">
              <a:lnSpc>
                <a:spcPct val="120000"/>
              </a:lnSpc>
              <a:spcBef>
                <a:spcPct val="0"/>
              </a:spcBef>
              <a:spcAft>
                <a:spcPts val="1200"/>
              </a:spcAft>
              <a:buClrTx/>
              <a:buSzTx/>
              <a:buFontTx/>
              <a:buNone/>
              <a:tabLst/>
              <a:defRPr/>
            </a:pPr>
            <a:r>
              <a:rPr kumimoji="0" lang="it-IT" sz="2200" b="1" i="0" u="none" strike="noStrike" kern="0" cap="small" spc="0" normalizeH="0" baseline="0" noProof="0" dirty="0">
                <a:ln>
                  <a:noFill/>
                </a:ln>
                <a:solidFill>
                  <a:srgbClr val="049EE2"/>
                </a:solidFill>
                <a:effectLst/>
                <a:uLnTx/>
                <a:uFillTx/>
                <a:latin typeface="Open Sans Light"/>
                <a:ea typeface="Open Sans Light"/>
                <a:cs typeface="Open Sans Light"/>
              </a:rPr>
              <a:t>Agenda</a:t>
            </a:r>
          </a:p>
          <a:p>
            <a:pPr marL="285750" marR="0" lvl="0" indent="-285750" algn="just" defTabSz="914400" rtl="0" eaLnBrk="1" fontAlgn="base" latinLnBrk="0" hangingPunct="1">
              <a:lnSpc>
                <a:spcPct val="120000"/>
              </a:lnSpc>
              <a:spcBef>
                <a:spcPct val="0"/>
              </a:spcBef>
              <a:spcAft>
                <a:spcPts val="1200"/>
              </a:spcAft>
              <a:buClrTx/>
              <a:buSzTx/>
              <a:buFont typeface="Wingdings" panose="05000000000000000000" pitchFamily="2" charset="2"/>
              <a:buChar char="ü"/>
              <a:tabLst/>
              <a:defRPr/>
            </a:pPr>
            <a:r>
              <a:rPr kumimoji="0" lang="it-IT" sz="1400" i="0" u="none" strike="noStrike" kern="0" cap="none" spc="0" normalizeH="0" baseline="0" noProof="0" dirty="0">
                <a:ln>
                  <a:noFill/>
                </a:ln>
                <a:solidFill>
                  <a:prstClr val="black"/>
                </a:solidFill>
                <a:effectLst/>
                <a:uLnTx/>
                <a:uFillTx/>
                <a:latin typeface="Open Sans Light"/>
                <a:ea typeface="Open Sans Light"/>
                <a:cs typeface="Open Sans Light"/>
              </a:rPr>
              <a:t>Ruolo del docente tutor e del docente orientatore</a:t>
            </a:r>
          </a:p>
          <a:p>
            <a:pPr marL="285750" marR="0" lvl="0" indent="-285750" algn="just" defTabSz="914400" rtl="0" eaLnBrk="1" fontAlgn="base" latinLnBrk="0" hangingPunct="1">
              <a:lnSpc>
                <a:spcPct val="120000"/>
              </a:lnSpc>
              <a:spcBef>
                <a:spcPct val="0"/>
              </a:spcBef>
              <a:spcAft>
                <a:spcPts val="1200"/>
              </a:spcAft>
              <a:buClrTx/>
              <a:buSzTx/>
              <a:buFont typeface="Wingdings" panose="05000000000000000000" pitchFamily="2" charset="2"/>
              <a:buChar char="ü"/>
              <a:tabLst/>
              <a:defRPr/>
            </a:pPr>
            <a:r>
              <a:rPr kumimoji="0" lang="it-IT" sz="1400" i="0" u="none" strike="noStrike" kern="0" cap="none" spc="0" normalizeH="0" baseline="0" noProof="0" dirty="0">
                <a:ln>
                  <a:noFill/>
                </a:ln>
                <a:solidFill>
                  <a:prstClr val="black"/>
                </a:solidFill>
                <a:effectLst/>
                <a:uLnTx/>
                <a:uFillTx/>
                <a:latin typeface="Open Sans Light"/>
                <a:ea typeface="Open Sans Light"/>
                <a:cs typeface="Open Sans Light"/>
              </a:rPr>
              <a:t>Modalità di nomina e attivazione dell’incarico</a:t>
            </a:r>
          </a:p>
          <a:p>
            <a:pPr marL="285750" marR="0" lvl="0" indent="-285750" algn="just" defTabSz="914400" rtl="0" eaLnBrk="1" fontAlgn="base" latinLnBrk="0" hangingPunct="1">
              <a:lnSpc>
                <a:spcPct val="120000"/>
              </a:lnSpc>
              <a:spcBef>
                <a:spcPct val="0"/>
              </a:spcBef>
              <a:spcAft>
                <a:spcPts val="1200"/>
              </a:spcAft>
              <a:buClrTx/>
              <a:buSzTx/>
              <a:buFont typeface="Wingdings" panose="05000000000000000000" pitchFamily="2" charset="2"/>
              <a:buChar char="ü"/>
              <a:tabLst/>
              <a:defRPr/>
            </a:pPr>
            <a:r>
              <a:rPr kumimoji="0" lang="it-IT" sz="1400" i="0" u="none" strike="noStrike" kern="0" cap="none" spc="0" normalizeH="0" baseline="0" noProof="0" dirty="0">
                <a:ln>
                  <a:noFill/>
                </a:ln>
                <a:solidFill>
                  <a:prstClr val="black"/>
                </a:solidFill>
                <a:effectLst/>
                <a:uLnTx/>
                <a:uFillTx/>
                <a:latin typeface="Open Sans Light"/>
                <a:ea typeface="Open Sans Light"/>
                <a:cs typeface="Open Sans Light"/>
              </a:rPr>
              <a:t>Principali richieste di chiarimento delle Scuole</a:t>
            </a:r>
          </a:p>
          <a:p>
            <a:pPr marL="285750" indent="-285750" algn="just" fontAlgn="base">
              <a:lnSpc>
                <a:spcPct val="120000"/>
              </a:lnSpc>
              <a:spcBef>
                <a:spcPct val="0"/>
              </a:spcBef>
              <a:spcAft>
                <a:spcPts val="1200"/>
              </a:spcAft>
              <a:buFont typeface="Wingdings" panose="05000000000000000000" pitchFamily="2" charset="2"/>
              <a:buChar char="ü"/>
              <a:defRPr/>
            </a:pPr>
            <a:r>
              <a:rPr kumimoji="0" lang="it-IT" sz="1400"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NICA: abilitazione e </a:t>
            </a:r>
            <a:r>
              <a:rPr kumimoji="0" lang="it-IT" sz="1400" i="0" u="none" strike="noStrike" kern="0" cap="none" spc="0" normalizeH="0" baseline="0" noProof="0" dirty="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un</a:t>
            </a:r>
            <a:r>
              <a:rPr lang="it-IT" sz="1400" kern="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zioni</a:t>
            </a:r>
          </a:p>
          <a:p>
            <a:pPr marL="285750" indent="-285750" algn="just" fontAlgn="base">
              <a:lnSpc>
                <a:spcPct val="120000"/>
              </a:lnSpc>
              <a:spcBef>
                <a:spcPct val="0"/>
              </a:spcBef>
              <a:spcAft>
                <a:spcPts val="1200"/>
              </a:spcAft>
              <a:buFont typeface="Wingdings" panose="05000000000000000000" pitchFamily="2" charset="2"/>
              <a:buChar char="ü"/>
              <a:defRPr/>
            </a:pPr>
            <a:r>
              <a:rPr lang="it-IT" sz="1400" b="1" kern="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onclusioni</a:t>
            </a:r>
          </a:p>
        </p:txBody>
      </p:sp>
      <p:pic>
        <p:nvPicPr>
          <p:cNvPr id="10" name="Picture 2">
            <a:extLst>
              <a:ext uri="{FF2B5EF4-FFF2-40B4-BE49-F238E27FC236}">
                <a16:creationId xmlns:a16="http://schemas.microsoft.com/office/drawing/2014/main" id="{624CC880-2EE6-4103-8334-184DB2FA6C96}"/>
              </a:ext>
            </a:extLst>
          </p:cNvPr>
          <p:cNvPicPr>
            <a:picLocks noChangeAspect="1"/>
          </p:cNvPicPr>
          <p:nvPr/>
        </p:nvPicPr>
        <p:blipFill rotWithShape="1">
          <a:blip r:embed="rId5"/>
          <a:srcRect l="50937"/>
          <a:stretch/>
        </p:blipFill>
        <p:spPr>
          <a:xfrm>
            <a:off x="6210300" y="0"/>
            <a:ext cx="5981700" cy="6858000"/>
          </a:xfrm>
          <a:prstGeom prst="rect">
            <a:avLst/>
          </a:prstGeom>
          <a:effectLst>
            <a:outerShdw blurRad="50800" dist="38100" dir="10800000" algn="r" rotWithShape="0">
              <a:prstClr val="black">
                <a:alpha val="40000"/>
              </a:prstClr>
            </a:outerShdw>
          </a:effectLst>
        </p:spPr>
      </p:pic>
    </p:spTree>
    <p:extLst>
      <p:ext uri="{BB962C8B-B14F-4D97-AF65-F5344CB8AC3E}">
        <p14:creationId xmlns:p14="http://schemas.microsoft.com/office/powerpoint/2010/main" val="1813431355"/>
      </p:ext>
    </p:extLst>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 name="Rectangle 27">
            <a:extLst>
              <a:ext uri="{FF2B5EF4-FFF2-40B4-BE49-F238E27FC236}">
                <a16:creationId xmlns:a16="http://schemas.microsoft.com/office/drawing/2014/main" id="{857BA48E-8023-9F58-DC20-7E6F63F21941}"/>
              </a:ext>
            </a:extLst>
          </p:cNvPr>
          <p:cNvSpPr/>
          <p:nvPr/>
        </p:nvSpPr>
        <p:spPr>
          <a:xfrm>
            <a:off x="919602" y="2202666"/>
            <a:ext cx="10306415" cy="2916986"/>
          </a:xfrm>
          <a:prstGeom prst="rect">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lIns="216000" tIns="108000" rIns="216000" bIns="108000" rtlCol="0" anchor="ctr"/>
          <a:lstStyle/>
          <a:p>
            <a:pPr marL="0" marR="0" lvl="0" indent="0" algn="ctr" defTabSz="914400" rtl="0" eaLnBrk="1" fontAlgn="auto" latinLnBrk="0" hangingPunct="1">
              <a:lnSpc>
                <a:spcPct val="120000"/>
              </a:lnSpc>
              <a:spcBef>
                <a:spcPts val="300"/>
              </a:spcBef>
              <a:spcAft>
                <a:spcPts val="300"/>
              </a:spcAft>
              <a:buClrTx/>
              <a:buSzTx/>
              <a:buFontTx/>
              <a:buNone/>
              <a:tabLst/>
              <a:defRPr/>
            </a:pPr>
            <a:r>
              <a:rPr lang="it-IT" sz="14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 riscontri acquisiti dall’Amministrazione dimostrano un’</a:t>
            </a:r>
            <a:r>
              <a:rPr lang="it-IT" sz="1400"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mpia e attiva partecipazione delle Scuole</a:t>
            </a:r>
            <a:r>
              <a:rPr lang="it-IT" sz="14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che permette di considerare il </a:t>
            </a:r>
            <a:r>
              <a:rPr lang="it-IT" sz="1400"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ermine del mese di novembre </a:t>
            </a:r>
            <a:r>
              <a:rPr lang="it-IT" sz="14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quale data ultima per avviare il percorso virtuoso di personalizzazione della didattica e dell’orientamento in favore di tutti gli studenti degli ultimi tre anni di corso delle scuole secondarie di secondo grado.</a:t>
            </a:r>
            <a:endParaRPr kumimoji="0" lang="it-IT" sz="1400" b="0" i="0" u="none" strike="noStrike" kern="1200" cap="none" spc="0" normalizeH="0" baseline="0" noProof="0" dirty="0">
              <a:ln>
                <a:noFill/>
              </a:ln>
              <a:solidFill>
                <a:schemeClr val="tx1"/>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3" name="Segnaposto numero diapositiva 2">
            <a:extLst>
              <a:ext uri="{FF2B5EF4-FFF2-40B4-BE49-F238E27FC236}">
                <a16:creationId xmlns:a16="http://schemas.microsoft.com/office/drawing/2014/main" id="{4212C58A-FB93-3A7A-0C2F-2935609E91FD}"/>
              </a:ext>
            </a:extLst>
          </p:cNvPr>
          <p:cNvSpPr>
            <a:spLocks noGrp="1"/>
          </p:cNvSpPr>
          <p:nvPr>
            <p:ph type="sldNum" sz="quarter" idx="12"/>
          </p:nvPr>
        </p:nvSpPr>
        <p:spPr/>
        <p:txBody>
          <a:bodyPr/>
          <a:lstStyle/>
          <a:p>
            <a:fld id="{00F0C1FD-41C3-4D85-8E51-9C56B45C685D}" type="slidenum">
              <a:rPr lang="it-IT" smtClean="0"/>
              <a:t>24</a:t>
            </a:fld>
            <a:endParaRPr lang="it-IT"/>
          </a:p>
        </p:txBody>
      </p:sp>
      <p:sp>
        <p:nvSpPr>
          <p:cNvPr id="4" name="Titolo 1">
            <a:extLst>
              <a:ext uri="{FF2B5EF4-FFF2-40B4-BE49-F238E27FC236}">
                <a16:creationId xmlns:a16="http://schemas.microsoft.com/office/drawing/2014/main" id="{DE22228A-F5FB-842C-42FD-FBCDC74893BD}"/>
              </a:ext>
            </a:extLst>
          </p:cNvPr>
          <p:cNvSpPr txBox="1">
            <a:spLocks/>
          </p:cNvSpPr>
          <p:nvPr/>
        </p:nvSpPr>
        <p:spPr>
          <a:xfrm>
            <a:off x="228600" y="176586"/>
            <a:ext cx="11124959" cy="6596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200" b="1" i="0" u="none" strike="noStrike" kern="1200" cap="none" spc="0" normalizeH="0" baseline="0" noProof="0" dirty="0">
                <a:ln>
                  <a:noFill/>
                </a:ln>
                <a:solidFill>
                  <a:prstClr val="black"/>
                </a:solidFill>
                <a:effectLst/>
                <a:uLnTx/>
                <a:uFillTx/>
                <a:latin typeface="Open Sans"/>
                <a:ea typeface="Open Sans"/>
                <a:cs typeface="Open Sans"/>
              </a:rPr>
              <a:t>Conclusioni</a:t>
            </a:r>
            <a:endParaRPr kumimoji="0" lang="it-IT" sz="2000" b="1" i="1" u="none" strike="noStrike" kern="1200" cap="none" spc="0" normalizeH="0" baseline="0" noProof="0" dirty="0">
              <a:ln>
                <a:noFill/>
              </a:ln>
              <a:solidFill>
                <a:prstClr val="black"/>
              </a:solidFill>
              <a:effectLst/>
              <a:uLnTx/>
              <a:uFillTx/>
              <a:latin typeface="Calibri Light" panose="020F0302020204030204"/>
              <a:ea typeface="+mj-ea"/>
              <a:cs typeface="+mj-cs"/>
            </a:endParaRPr>
          </a:p>
        </p:txBody>
      </p:sp>
    </p:spTree>
    <p:extLst>
      <p:ext uri="{BB962C8B-B14F-4D97-AF65-F5344CB8AC3E}">
        <p14:creationId xmlns:p14="http://schemas.microsoft.com/office/powerpoint/2010/main" val="2803934531"/>
      </p:ext>
    </p:extLst>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Rettangolo 4">
            <a:extLst>
              <a:ext uri="{FF2B5EF4-FFF2-40B4-BE49-F238E27FC236}">
                <a16:creationId xmlns:a16="http://schemas.microsoft.com/office/drawing/2014/main" id="{AF5D567E-6CE5-E16E-85A0-ADB069593875}"/>
              </a:ext>
            </a:extLst>
          </p:cNvPr>
          <p:cNvSpPr/>
          <p:nvPr/>
        </p:nvSpPr>
        <p:spPr>
          <a:xfrm>
            <a:off x="3215149" y="2642419"/>
            <a:ext cx="5761703" cy="1573162"/>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it-IT" sz="4400" b="1" i="1" u="none" strike="noStrike" kern="120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Grazie</a:t>
            </a:r>
          </a:p>
        </p:txBody>
      </p:sp>
    </p:spTree>
    <p:extLst>
      <p:ext uri="{BB962C8B-B14F-4D97-AF65-F5344CB8AC3E}">
        <p14:creationId xmlns:p14="http://schemas.microsoft.com/office/powerpoint/2010/main" val="1160482769"/>
      </p:ext>
    </p:extLst>
  </p:cSld>
  <p:clrMapOvr>
    <a:masterClrMapping/>
  </p:clrMapOvr>
  <p:transition spd="slow"/>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uppo 1">
            <a:extLst>
              <a:ext uri="{FF2B5EF4-FFF2-40B4-BE49-F238E27FC236}">
                <a16:creationId xmlns:a16="http://schemas.microsoft.com/office/drawing/2014/main" id="{1F734099-60E5-9BCD-D54B-3EBE6222BD5B}"/>
              </a:ext>
            </a:extLst>
          </p:cNvPr>
          <p:cNvGrpSpPr/>
          <p:nvPr/>
        </p:nvGrpSpPr>
        <p:grpSpPr>
          <a:xfrm>
            <a:off x="1859269" y="2913958"/>
            <a:ext cx="8473461" cy="1030084"/>
            <a:chOff x="1952585" y="2763129"/>
            <a:chExt cx="8473461" cy="1030084"/>
          </a:xfrm>
        </p:grpSpPr>
        <p:pic>
          <p:nvPicPr>
            <p:cNvPr id="3" name="Immagine 2">
              <a:extLst>
                <a:ext uri="{FF2B5EF4-FFF2-40B4-BE49-F238E27FC236}">
                  <a16:creationId xmlns:a16="http://schemas.microsoft.com/office/drawing/2014/main" id="{CF4551BC-97FE-D6FF-6B8E-C925E65B7506}"/>
                </a:ext>
              </a:extLst>
            </p:cNvPr>
            <p:cNvPicPr>
              <a:picLocks noChangeAspect="1"/>
            </p:cNvPicPr>
            <p:nvPr/>
          </p:nvPicPr>
          <p:blipFill>
            <a:blip r:embed="rId3"/>
            <a:stretch>
              <a:fillRect/>
            </a:stretch>
          </p:blipFill>
          <p:spPr>
            <a:xfrm>
              <a:off x="1952585" y="2763129"/>
              <a:ext cx="963440" cy="1030084"/>
            </a:xfrm>
            <a:prstGeom prst="rect">
              <a:avLst/>
            </a:prstGeom>
          </p:spPr>
        </p:pic>
        <p:pic>
          <p:nvPicPr>
            <p:cNvPr id="4" name="Immagine 3">
              <a:extLst>
                <a:ext uri="{FF2B5EF4-FFF2-40B4-BE49-F238E27FC236}">
                  <a16:creationId xmlns:a16="http://schemas.microsoft.com/office/drawing/2014/main" id="{471DEA3C-63AD-C434-AC27-ADA0760627DF}"/>
                </a:ext>
              </a:extLst>
            </p:cNvPr>
            <p:cNvPicPr>
              <a:picLocks noChangeAspect="1"/>
            </p:cNvPicPr>
            <p:nvPr/>
          </p:nvPicPr>
          <p:blipFill>
            <a:blip r:embed="rId4"/>
            <a:stretch>
              <a:fillRect/>
            </a:stretch>
          </p:blipFill>
          <p:spPr>
            <a:xfrm>
              <a:off x="3016582" y="2991649"/>
              <a:ext cx="7409464" cy="573044"/>
            </a:xfrm>
            <a:prstGeom prst="rect">
              <a:avLst/>
            </a:prstGeom>
          </p:spPr>
        </p:pic>
      </p:grpSp>
    </p:spTree>
    <p:extLst>
      <p:ext uri="{BB962C8B-B14F-4D97-AF65-F5344CB8AC3E}">
        <p14:creationId xmlns:p14="http://schemas.microsoft.com/office/powerpoint/2010/main" val="2395399109"/>
      </p:ext>
    </p:extLst>
  </p:cSld>
  <p:clrMapOvr>
    <a:masterClrMapping/>
  </p:clrMapOvr>
  <p:transition spd="slow"/>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46E2FDE-BF7B-883C-1214-B89AF8AC25EC}"/>
              </a:ext>
            </a:extLst>
          </p:cNvPr>
          <p:cNvSpPr txBox="1">
            <a:spLocks/>
          </p:cNvSpPr>
          <p:nvPr/>
        </p:nvSpPr>
        <p:spPr>
          <a:xfrm>
            <a:off x="228600" y="176586"/>
            <a:ext cx="11124959" cy="6596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pPr marL="0" marR="0" lvl="0" indent="0" algn="l" defTabSz="914400" rtl="0" eaLnBrk="1" fontAlgn="auto" latinLnBrk="0" hangingPunct="1">
              <a:lnSpc>
                <a:spcPct val="90000"/>
              </a:lnSpc>
              <a:spcBef>
                <a:spcPct val="0"/>
              </a:spcBef>
              <a:spcAft>
                <a:spcPts val="0"/>
              </a:spcAft>
              <a:buClrTx/>
              <a:buSzTx/>
              <a:buFontTx/>
              <a:buNone/>
              <a:tabLst/>
              <a:defRPr/>
            </a:pPr>
            <a:r>
              <a:rPr kumimoji="0" lang="it-IT" sz="2200" b="1" i="0" u="none" strike="noStrike" kern="1200" cap="none" spc="0" normalizeH="0" baseline="0" noProof="0">
                <a:ln>
                  <a:noFill/>
                </a:ln>
                <a:solidFill>
                  <a:prstClr val="black"/>
                </a:solidFill>
                <a:effectLst/>
                <a:uLnTx/>
                <a:uFillTx/>
                <a:latin typeface="Open Sans"/>
                <a:ea typeface="Open Sans"/>
                <a:cs typeface="Open Sans"/>
              </a:rPr>
              <a:t>Ruolo del docente tutor e del docente orientatore</a:t>
            </a:r>
            <a:endParaRPr kumimoji="0" lang="it-IT" sz="2000" b="1" i="1" u="none" strike="noStrike" kern="1200" cap="none" spc="0" normalizeH="0" baseline="0" noProof="0">
              <a:ln>
                <a:noFill/>
              </a:ln>
              <a:solidFill>
                <a:prstClr val="black"/>
              </a:solidFill>
              <a:effectLst/>
              <a:highlight>
                <a:srgbClr val="FFFF00"/>
              </a:highlight>
              <a:uLnTx/>
              <a:uFillTx/>
              <a:latin typeface="Calibri Light" panose="020F0302020204030204"/>
              <a:ea typeface="+mj-ea"/>
              <a:cs typeface="+mj-cs"/>
            </a:endParaRPr>
          </a:p>
        </p:txBody>
      </p:sp>
      <p:sp>
        <p:nvSpPr>
          <p:cNvPr id="10" name="Rettangolo 9">
            <a:extLst>
              <a:ext uri="{FF2B5EF4-FFF2-40B4-BE49-F238E27FC236}">
                <a16:creationId xmlns:a16="http://schemas.microsoft.com/office/drawing/2014/main" id="{AFC04B8A-32B2-B17C-E5D0-3972486EDCBE}"/>
              </a:ext>
            </a:extLst>
          </p:cNvPr>
          <p:cNvSpPr/>
          <p:nvPr/>
        </p:nvSpPr>
        <p:spPr>
          <a:xfrm>
            <a:off x="243582" y="5677066"/>
            <a:ext cx="11704837" cy="580242"/>
          </a:xfrm>
          <a:prstGeom prst="rect">
            <a:avLst/>
          </a:prstGeom>
          <a:solidFill>
            <a:srgbClr val="F2F2F2"/>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400" i="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a:t>
            </a:r>
            <a:r>
              <a:rPr kumimoji="0" lang="it-IT" sz="14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docenti tutor e il docente orientatore</a:t>
            </a:r>
            <a:r>
              <a:rPr lang="it-IT" sz="1400" i="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a:t>
            </a:r>
            <a:r>
              <a:rPr kumimoji="0" lang="it-IT" sz="14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ossono fornire un apporto significativo, sempre in raccordo con il Collegio dei docenti, nella </a:t>
            </a:r>
            <a:r>
              <a:rPr kumimoji="0" lang="it-IT" sz="1400" b="1"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rogettazione </a:t>
            </a:r>
            <a:r>
              <a:rPr kumimoji="0" lang="it-IT" sz="14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e nel </a:t>
            </a:r>
            <a:r>
              <a:rPr kumimoji="0" lang="it-IT" sz="1400" b="1"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monitoraggio </a:t>
            </a:r>
            <a:r>
              <a:rPr kumimoji="0" lang="it-IT" sz="14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i </a:t>
            </a:r>
            <a:r>
              <a:rPr kumimoji="0" lang="it-IT" sz="1400" b="1"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percorsi di orientamento </a:t>
            </a:r>
            <a:r>
              <a:rPr kumimoji="0" lang="it-IT" sz="1400" b="0"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a attivare nell’istituto</a:t>
            </a:r>
          </a:p>
        </p:txBody>
      </p:sp>
      <p:grpSp>
        <p:nvGrpSpPr>
          <p:cNvPr id="38" name="Gruppo 37">
            <a:extLst>
              <a:ext uri="{FF2B5EF4-FFF2-40B4-BE49-F238E27FC236}">
                <a16:creationId xmlns:a16="http://schemas.microsoft.com/office/drawing/2014/main" id="{46DA73C8-539E-B6F7-DC6B-FF31E6E91D24}"/>
              </a:ext>
            </a:extLst>
          </p:cNvPr>
          <p:cNvGrpSpPr/>
          <p:nvPr/>
        </p:nvGrpSpPr>
        <p:grpSpPr>
          <a:xfrm>
            <a:off x="261444" y="1115333"/>
            <a:ext cx="11669112" cy="4499245"/>
            <a:chOff x="197070" y="1115333"/>
            <a:chExt cx="11669112" cy="4499245"/>
          </a:xfrm>
        </p:grpSpPr>
        <p:grpSp>
          <p:nvGrpSpPr>
            <p:cNvPr id="36" name="Gruppo 35">
              <a:extLst>
                <a:ext uri="{FF2B5EF4-FFF2-40B4-BE49-F238E27FC236}">
                  <a16:creationId xmlns:a16="http://schemas.microsoft.com/office/drawing/2014/main" id="{B8A49BB2-53F9-7C40-B754-71067642BDCB}"/>
                </a:ext>
              </a:extLst>
            </p:cNvPr>
            <p:cNvGrpSpPr/>
            <p:nvPr/>
          </p:nvGrpSpPr>
          <p:grpSpPr>
            <a:xfrm>
              <a:off x="197070" y="1115333"/>
              <a:ext cx="5743006" cy="4499245"/>
              <a:chOff x="197070" y="1115333"/>
              <a:chExt cx="5743006" cy="4499245"/>
            </a:xfrm>
          </p:grpSpPr>
          <p:sp>
            <p:nvSpPr>
              <p:cNvPr id="7" name="Rectangle 27">
                <a:extLst>
                  <a:ext uri="{FF2B5EF4-FFF2-40B4-BE49-F238E27FC236}">
                    <a16:creationId xmlns:a16="http://schemas.microsoft.com/office/drawing/2014/main" id="{513AAB5B-C21B-2208-860C-E89B99268C7C}"/>
                  </a:ext>
                </a:extLst>
              </p:cNvPr>
              <p:cNvSpPr/>
              <p:nvPr/>
            </p:nvSpPr>
            <p:spPr>
              <a:xfrm>
                <a:off x="954059" y="1376856"/>
                <a:ext cx="4986017" cy="4237722"/>
              </a:xfrm>
              <a:prstGeom prst="rect">
                <a:avLst/>
              </a:prstGeom>
              <a:solidFill>
                <a:schemeClr val="bg1"/>
              </a:solidFill>
              <a:ln w="19050">
                <a:solidFill>
                  <a:srgbClr val="A6DAE9"/>
                </a:solidFill>
              </a:ln>
            </p:spPr>
            <p:style>
              <a:lnRef idx="2">
                <a:schemeClr val="accent1">
                  <a:shade val="50000"/>
                </a:schemeClr>
              </a:lnRef>
              <a:fillRef idx="1">
                <a:schemeClr val="accent1"/>
              </a:fillRef>
              <a:effectRef idx="0">
                <a:schemeClr val="accent1"/>
              </a:effectRef>
              <a:fontRef idx="minor">
                <a:schemeClr val="lt1"/>
              </a:fontRef>
            </p:style>
            <p:txBody>
              <a:bodyPr lIns="144000" tIns="288000" rIns="216000" rtlCol="0" anchor="ctr"/>
              <a:lstStyle/>
              <a:p>
                <a:pPr marL="285750" indent="-285750" algn="just">
                  <a:lnSpc>
                    <a:spcPct val="120000"/>
                  </a:lnSpc>
                  <a:spcBef>
                    <a:spcPts val="200"/>
                  </a:spcBef>
                  <a:spcAft>
                    <a:spcPts val="200"/>
                  </a:spcAft>
                  <a:buFont typeface="Wingdings" panose="05000000000000000000" pitchFamily="2" charset="2"/>
                  <a:buChar char="q"/>
                </a:pP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iuta e monitora gli studenti nella </a:t>
                </a:r>
                <a:r>
                  <a:rPr lang="it-IT" sz="1400" b="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onsultazione e nella compilazione dell’E-Portfolio. </a:t>
                </a: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Nello specifico:</a:t>
                </a:r>
                <a:endParaRPr lang="it-IT" sz="1400" b="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marL="742950" lvl="1" indent="-285750" algn="just">
                  <a:lnSpc>
                    <a:spcPct val="120000"/>
                  </a:lnSpc>
                  <a:spcBef>
                    <a:spcPts val="200"/>
                  </a:spcBef>
                  <a:spcAft>
                    <a:spcPts val="200"/>
                  </a:spcAft>
                  <a:buFont typeface="Arial" panose="020B0604020202020204" pitchFamily="34" charset="0"/>
                  <a:buChar char="•"/>
                </a:pP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Li assiste nelle </a:t>
                </a:r>
                <a:r>
                  <a:rPr lang="it-IT" sz="1400" b="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viluppo documentato delle competenze </a:t>
                </a: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cquisite in ambito scolastico ed extrascolastico;</a:t>
                </a:r>
              </a:p>
              <a:p>
                <a:pPr marL="742950" lvl="1" indent="-285750" algn="just">
                  <a:lnSpc>
                    <a:spcPct val="120000"/>
                  </a:lnSpc>
                  <a:spcBef>
                    <a:spcPts val="200"/>
                  </a:spcBef>
                  <a:spcAft>
                    <a:spcPts val="200"/>
                  </a:spcAft>
                  <a:buFont typeface="Arial" panose="020B0604020202020204" pitchFamily="34" charset="0"/>
                  <a:buChar char="•"/>
                </a:pP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Li</a:t>
                </a:r>
                <a:r>
                  <a:rPr lang="it-IT" sz="1400" b="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supporta nelle riflessioni</a:t>
                </a: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in chiave valutativa, auto-valutativa e orientativa sul percorso svolto;</a:t>
                </a:r>
              </a:p>
              <a:p>
                <a:pPr marL="742950" lvl="1" indent="-285750" algn="just">
                  <a:lnSpc>
                    <a:spcPct val="120000"/>
                  </a:lnSpc>
                  <a:spcBef>
                    <a:spcPts val="200"/>
                  </a:spcBef>
                  <a:spcAft>
                    <a:spcPts val="200"/>
                  </a:spcAft>
                  <a:buFont typeface="Arial" panose="020B0604020202020204" pitchFamily="34" charset="0"/>
                  <a:buChar char="•"/>
                </a:pP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Li supporta nella </a:t>
                </a:r>
                <a:r>
                  <a:rPr lang="it-IT" sz="1400" b="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celta del Capolavoro</a:t>
                </a: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per l’anno scolastico;</a:t>
                </a:r>
              </a:p>
              <a:p>
                <a:pPr marL="285750" indent="-285750" algn="just">
                  <a:lnSpc>
                    <a:spcPct val="120000"/>
                  </a:lnSpc>
                  <a:spcBef>
                    <a:spcPts val="200"/>
                  </a:spcBef>
                  <a:spcAft>
                    <a:spcPts val="200"/>
                  </a:spcAft>
                  <a:buFont typeface="Wingdings" panose="05000000000000000000" pitchFamily="2" charset="2"/>
                  <a:buChar char="q"/>
                </a:pP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onsiglia studenti e famiglie nei </a:t>
                </a:r>
                <a:r>
                  <a:rPr lang="it-IT" sz="1400" b="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momenti di scelta dei percorsi formativi</a:t>
                </a: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e nella </a:t>
                </a:r>
                <a:r>
                  <a:rPr lang="it-IT" sz="1400" b="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valutazione delle prospettive professionali, </a:t>
                </a: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mantenendo con loro un dialogo costante.</a:t>
                </a:r>
                <a:endParaRPr lang="it-IT" sz="1400" b="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35" name="Gruppo 34">
                <a:extLst>
                  <a:ext uri="{FF2B5EF4-FFF2-40B4-BE49-F238E27FC236}">
                    <a16:creationId xmlns:a16="http://schemas.microsoft.com/office/drawing/2014/main" id="{620ACE46-B595-4845-960F-F808E8133E54}"/>
                  </a:ext>
                </a:extLst>
              </p:cNvPr>
              <p:cNvGrpSpPr/>
              <p:nvPr/>
            </p:nvGrpSpPr>
            <p:grpSpPr>
              <a:xfrm>
                <a:off x="197070" y="1115333"/>
                <a:ext cx="662400" cy="4499245"/>
                <a:chOff x="228600" y="1115333"/>
                <a:chExt cx="662400" cy="4499245"/>
              </a:xfrm>
            </p:grpSpPr>
            <p:sp>
              <p:nvSpPr>
                <p:cNvPr id="4" name="Rectangle 23">
                  <a:extLst>
                    <a:ext uri="{FF2B5EF4-FFF2-40B4-BE49-F238E27FC236}">
                      <a16:creationId xmlns:a16="http://schemas.microsoft.com/office/drawing/2014/main" id="{4FB177F1-344C-F68D-49C0-7C66E6521CAA}"/>
                    </a:ext>
                  </a:extLst>
                </p:cNvPr>
                <p:cNvSpPr/>
                <p:nvPr/>
              </p:nvSpPr>
              <p:spPr>
                <a:xfrm>
                  <a:off x="228600" y="1438375"/>
                  <a:ext cx="662400" cy="4176203"/>
                </a:xfrm>
                <a:prstGeom prst="rect">
                  <a:avLst/>
                </a:prstGeom>
                <a:solidFill>
                  <a:srgbClr val="A6DAE9"/>
                </a:solidFill>
                <a:ln>
                  <a:solidFill>
                    <a:srgbClr val="A6DA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 name="Oval 33">
                  <a:extLst>
                    <a:ext uri="{FF2B5EF4-FFF2-40B4-BE49-F238E27FC236}">
                      <a16:creationId xmlns:a16="http://schemas.microsoft.com/office/drawing/2014/main" id="{51ADD5DF-B140-3B7D-BDCB-4F2489D6D941}"/>
                    </a:ext>
                  </a:extLst>
                </p:cNvPr>
                <p:cNvSpPr/>
                <p:nvPr/>
              </p:nvSpPr>
              <p:spPr>
                <a:xfrm>
                  <a:off x="229975" y="1115333"/>
                  <a:ext cx="661025" cy="648000"/>
                </a:xfrm>
                <a:prstGeom prst="ellipse">
                  <a:avLst/>
                </a:prstGeom>
                <a:solidFill>
                  <a:srgbClr val="A6DAE9"/>
                </a:solidFill>
                <a:ln>
                  <a:solidFill>
                    <a:srgbClr val="A6DAE9"/>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6" name="Elemento grafico 5">
                  <a:extLst>
                    <a:ext uri="{FF2B5EF4-FFF2-40B4-BE49-F238E27FC236}">
                      <a16:creationId xmlns:a16="http://schemas.microsoft.com/office/drawing/2014/main" id="{885906E4-FB79-561E-55D2-CBEFDEB5CA3A}"/>
                    </a:ext>
                  </a:extLst>
                </p:cNvPr>
                <p:cNvPicPr>
                  <a:picLocks noChangeAspect="1"/>
                </p:cNvPicPr>
                <p:nvPr/>
              </p:nvPicPr>
              <p:blipFill>
                <a:blip r:embed="rId2">
                  <a:extLst>
                    <a:ext uri="{28A0092B-C50C-407E-A947-70E740481C1C}">
                      <a14:useLocalDpi xmlns:a14="http://schemas.microsoft.com/office/drawing/2010/main" val="0"/>
                    </a:ext>
                  </a:extLst>
                </a:blip>
                <a:srcRect/>
                <a:stretch/>
              </p:blipFill>
              <p:spPr>
                <a:xfrm>
                  <a:off x="308487" y="1318282"/>
                  <a:ext cx="504000" cy="503369"/>
                </a:xfrm>
                <a:prstGeom prst="rect">
                  <a:avLst/>
                </a:prstGeom>
              </p:spPr>
            </p:pic>
            <p:sp>
              <p:nvSpPr>
                <p:cNvPr id="9" name="TextBox 37">
                  <a:extLst>
                    <a:ext uri="{FF2B5EF4-FFF2-40B4-BE49-F238E27FC236}">
                      <a16:creationId xmlns:a16="http://schemas.microsoft.com/office/drawing/2014/main" id="{9FFA85B0-CB3E-3F95-4DA4-FF8BCA5C433A}"/>
                    </a:ext>
                  </a:extLst>
                </p:cNvPr>
                <p:cNvSpPr txBox="1"/>
                <p:nvPr/>
              </p:nvSpPr>
              <p:spPr>
                <a:xfrm rot="16200000">
                  <a:off x="-365193" y="3116359"/>
                  <a:ext cx="1854538"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ocente tutor</a:t>
                  </a:r>
                </a:p>
              </p:txBody>
            </p:sp>
          </p:grpSp>
        </p:grpSp>
        <p:grpSp>
          <p:nvGrpSpPr>
            <p:cNvPr id="37" name="Gruppo 36">
              <a:extLst>
                <a:ext uri="{FF2B5EF4-FFF2-40B4-BE49-F238E27FC236}">
                  <a16:creationId xmlns:a16="http://schemas.microsoft.com/office/drawing/2014/main" id="{AD331FD7-7BF1-B43F-F1CC-99D5A1B0ADDE}"/>
                </a:ext>
              </a:extLst>
            </p:cNvPr>
            <p:cNvGrpSpPr/>
            <p:nvPr/>
          </p:nvGrpSpPr>
          <p:grpSpPr>
            <a:xfrm>
              <a:off x="6139773" y="1115334"/>
              <a:ext cx="5726409" cy="4499244"/>
              <a:chOff x="6286915" y="1115334"/>
              <a:chExt cx="5726409" cy="4499244"/>
            </a:xfrm>
          </p:grpSpPr>
          <p:grpSp>
            <p:nvGrpSpPr>
              <p:cNvPr id="34" name="Gruppo 33">
                <a:extLst>
                  <a:ext uri="{FF2B5EF4-FFF2-40B4-BE49-F238E27FC236}">
                    <a16:creationId xmlns:a16="http://schemas.microsoft.com/office/drawing/2014/main" id="{5325E15A-2257-09C2-28F4-82AFFE97807D}"/>
                  </a:ext>
                </a:extLst>
              </p:cNvPr>
              <p:cNvGrpSpPr/>
              <p:nvPr/>
            </p:nvGrpSpPr>
            <p:grpSpPr>
              <a:xfrm>
                <a:off x="6286915" y="1115334"/>
                <a:ext cx="662400" cy="4499244"/>
                <a:chOff x="11174630" y="1115333"/>
                <a:chExt cx="662400" cy="4499244"/>
              </a:xfrm>
            </p:grpSpPr>
            <p:sp>
              <p:nvSpPr>
                <p:cNvPr id="17" name="Rectangle 23">
                  <a:extLst>
                    <a:ext uri="{FF2B5EF4-FFF2-40B4-BE49-F238E27FC236}">
                      <a16:creationId xmlns:a16="http://schemas.microsoft.com/office/drawing/2014/main" id="{B00CC8AA-EE00-71A9-9F78-58B79E804D2F}"/>
                    </a:ext>
                  </a:extLst>
                </p:cNvPr>
                <p:cNvSpPr/>
                <p:nvPr/>
              </p:nvSpPr>
              <p:spPr>
                <a:xfrm>
                  <a:off x="11174630" y="1438374"/>
                  <a:ext cx="662400" cy="4176203"/>
                </a:xfrm>
                <a:prstGeom prst="rect">
                  <a:avLst/>
                </a:prstGeom>
                <a:solidFill>
                  <a:srgbClr val="81B2DF"/>
                </a:solidFill>
                <a:ln>
                  <a:solidFill>
                    <a:srgbClr val="81B2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8" name="Oval 33">
                  <a:extLst>
                    <a:ext uri="{FF2B5EF4-FFF2-40B4-BE49-F238E27FC236}">
                      <a16:creationId xmlns:a16="http://schemas.microsoft.com/office/drawing/2014/main" id="{2D10102E-61AB-2FCF-B370-3FCD972852CC}"/>
                    </a:ext>
                  </a:extLst>
                </p:cNvPr>
                <p:cNvSpPr/>
                <p:nvPr/>
              </p:nvSpPr>
              <p:spPr>
                <a:xfrm>
                  <a:off x="11174630" y="1115333"/>
                  <a:ext cx="662400" cy="648000"/>
                </a:xfrm>
                <a:prstGeom prst="ellipse">
                  <a:avLst/>
                </a:prstGeom>
                <a:solidFill>
                  <a:srgbClr val="81B2DF"/>
                </a:solidFill>
                <a:ln>
                  <a:solidFill>
                    <a:srgbClr val="81B2DF"/>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800" b="0" i="0" u="none" strike="noStrike" kern="1200" cap="none" spc="0" normalizeH="0" baseline="0" noProof="0">
                    <a:ln>
                      <a:noFill/>
                    </a:ln>
                    <a:solidFill>
                      <a:prstClr val="white"/>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pic>
              <p:nvPicPr>
                <p:cNvPr id="19" name="Elemento grafico 18">
                  <a:extLst>
                    <a:ext uri="{FF2B5EF4-FFF2-40B4-BE49-F238E27FC236}">
                      <a16:creationId xmlns:a16="http://schemas.microsoft.com/office/drawing/2014/main" id="{A710D7A0-AD0F-F39F-CA55-71DBFA3464F8}"/>
                    </a:ext>
                  </a:extLst>
                </p:cNvPr>
                <p:cNvPicPr>
                  <a:picLocks noChangeAspect="1"/>
                </p:cNvPicPr>
                <p:nvPr/>
              </p:nvPicPr>
              <p:blipFill>
                <a:blip r:embed="rId3">
                  <a:extLst>
                    <a:ext uri="{28A0092B-C50C-407E-A947-70E740481C1C}">
                      <a14:useLocalDpi xmlns:a14="http://schemas.microsoft.com/office/drawing/2010/main" val="0"/>
                    </a:ext>
                  </a:extLst>
                </a:blip>
                <a:srcRect/>
                <a:stretch/>
              </p:blipFill>
              <p:spPr>
                <a:xfrm>
                  <a:off x="11253143" y="1284869"/>
                  <a:ext cx="504000" cy="504000"/>
                </a:xfrm>
                <a:prstGeom prst="rect">
                  <a:avLst/>
                </a:prstGeom>
              </p:spPr>
            </p:pic>
            <p:sp>
              <p:nvSpPr>
                <p:cNvPr id="21" name="TextBox 37">
                  <a:extLst>
                    <a:ext uri="{FF2B5EF4-FFF2-40B4-BE49-F238E27FC236}">
                      <a16:creationId xmlns:a16="http://schemas.microsoft.com/office/drawing/2014/main" id="{3944113C-3F0F-BE46-9DC9-856130ED5779}"/>
                    </a:ext>
                  </a:extLst>
                </p:cNvPr>
                <p:cNvSpPr txBox="1"/>
                <p:nvPr/>
              </p:nvSpPr>
              <p:spPr>
                <a:xfrm rot="16200000">
                  <a:off x="10403885" y="2941683"/>
                  <a:ext cx="2203891" cy="338554"/>
                </a:xfrm>
                <a:prstGeom prst="rect">
                  <a:avLst/>
                </a:prstGeom>
                <a:noFill/>
              </p:spPr>
              <p:txBody>
                <a:bodyPr wrap="square">
                  <a:spAutoFit/>
                </a:bodyPr>
                <a:lstStyle/>
                <a:p>
                  <a:pPr marL="0" marR="0" lvl="0" indent="0" algn="r" defTabSz="914400" rtl="0" eaLnBrk="1" fontAlgn="auto" latinLnBrk="0" hangingPunct="1">
                    <a:lnSpc>
                      <a:spcPct val="100000"/>
                    </a:lnSpc>
                    <a:spcBef>
                      <a:spcPts val="0"/>
                    </a:spcBef>
                    <a:spcAft>
                      <a:spcPts val="0"/>
                    </a:spcAft>
                    <a:buClrTx/>
                    <a:buSzTx/>
                    <a:buFontTx/>
                    <a:buNone/>
                    <a:tabLst/>
                    <a:defRPr/>
                  </a:pPr>
                  <a:r>
                    <a:rPr kumimoji="0" lang="it-IT" sz="1600" b="1"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ocente orientatore</a:t>
                  </a:r>
                </a:p>
              </p:txBody>
            </p:sp>
          </p:grpSp>
          <p:sp>
            <p:nvSpPr>
              <p:cNvPr id="16" name="Rectangle 27">
                <a:extLst>
                  <a:ext uri="{FF2B5EF4-FFF2-40B4-BE49-F238E27FC236}">
                    <a16:creationId xmlns:a16="http://schemas.microsoft.com/office/drawing/2014/main" id="{FEF8BB42-6164-7B3C-D4F3-EC4026A8B608}"/>
                  </a:ext>
                </a:extLst>
              </p:cNvPr>
              <p:cNvSpPr/>
              <p:nvPr/>
            </p:nvSpPr>
            <p:spPr>
              <a:xfrm>
                <a:off x="7027307" y="1376856"/>
                <a:ext cx="4986017" cy="4237722"/>
              </a:xfrm>
              <a:prstGeom prst="rect">
                <a:avLst/>
              </a:prstGeom>
              <a:solidFill>
                <a:schemeClr val="bg1"/>
              </a:solidFill>
              <a:ln w="19050">
                <a:solidFill>
                  <a:srgbClr val="81B2DF"/>
                </a:solidFill>
              </a:ln>
            </p:spPr>
            <p:style>
              <a:lnRef idx="2">
                <a:schemeClr val="accent1">
                  <a:shade val="50000"/>
                </a:schemeClr>
              </a:lnRef>
              <a:fillRef idx="1">
                <a:schemeClr val="accent1"/>
              </a:fillRef>
              <a:effectRef idx="0">
                <a:schemeClr val="accent1"/>
              </a:effectRef>
              <a:fontRef idx="minor">
                <a:schemeClr val="lt1"/>
              </a:fontRef>
            </p:style>
            <p:txBody>
              <a:bodyPr lIns="144000" tIns="288000" rIns="216000" rtlCol="0" anchor="ctr"/>
              <a:lstStyle/>
              <a:p>
                <a:pPr marL="285750" indent="-285750" algn="just">
                  <a:lnSpc>
                    <a:spcPct val="120000"/>
                  </a:lnSpc>
                  <a:spcBef>
                    <a:spcPts val="200"/>
                  </a:spcBef>
                  <a:spcAft>
                    <a:spcPts val="200"/>
                  </a:spcAft>
                  <a:buFont typeface="Wingdings" panose="05000000000000000000" pitchFamily="2" charset="2"/>
                  <a:buChar char="q"/>
                </a:pP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i pone come punto di riferimento unico nella scuola per quanto concerne l’orientamento;</a:t>
                </a:r>
              </a:p>
              <a:p>
                <a:pPr marL="285750" indent="-285750" algn="just">
                  <a:lnSpc>
                    <a:spcPct val="120000"/>
                  </a:lnSpc>
                  <a:spcBef>
                    <a:spcPts val="200"/>
                  </a:spcBef>
                  <a:spcAft>
                    <a:spcPts val="200"/>
                  </a:spcAft>
                  <a:buFont typeface="Wingdings" panose="05000000000000000000" pitchFamily="2" charset="2"/>
                  <a:buChar char="q"/>
                </a:pP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onsulta, organizza e analizza i </a:t>
                </a:r>
                <a:r>
                  <a:rPr lang="it-IT" sz="1400" b="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ati  su istruzione e lavoro </a:t>
                </a: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messi a disposizione sulla Piattaforma Unica. Nello specifico:</a:t>
                </a:r>
              </a:p>
              <a:p>
                <a:pPr marL="742950" lvl="1" indent="-285750" algn="just">
                  <a:lnSpc>
                    <a:spcPct val="120000"/>
                  </a:lnSpc>
                  <a:spcBef>
                    <a:spcPts val="200"/>
                  </a:spcBef>
                  <a:spcAft>
                    <a:spcPts val="200"/>
                  </a:spcAft>
                  <a:buFont typeface="Arial" panose="020B0604020202020204" pitchFamily="34" charset="0"/>
                  <a:buChar char="•"/>
                </a:pP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ntegra i dati nazionali con quelli raccolti nella </a:t>
                </a:r>
                <a:r>
                  <a:rPr lang="it-IT" sz="1400" b="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ealtà economica del territorio; </a:t>
                </a:r>
              </a:p>
              <a:p>
                <a:pPr marL="742950" lvl="1" indent="-285750" algn="just">
                  <a:lnSpc>
                    <a:spcPct val="120000"/>
                  </a:lnSpc>
                  <a:spcBef>
                    <a:spcPts val="200"/>
                  </a:spcBef>
                  <a:spcAft>
                    <a:spcPts val="200"/>
                  </a:spcAft>
                  <a:buFont typeface="Arial" panose="020B0604020202020204" pitchFamily="34" charset="0"/>
                  <a:buChar char="•"/>
                </a:pP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Mette questi dati a disposizione di docenti, docenti tutor, studenti e famiglie per </a:t>
                </a:r>
                <a:r>
                  <a:rPr lang="it-IT" sz="1400" b="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supportarli nelle scelte</a:t>
                </a: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che riguardano la </a:t>
                </a:r>
                <a:r>
                  <a:rPr lang="it-IT" sz="1400" b="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prosecuzione del percorso di studi </a:t>
                </a: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e l’</a:t>
                </a:r>
                <a:r>
                  <a:rPr lang="it-IT" sz="1400" b="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nserimento nel mondo del lavoro;</a:t>
                </a:r>
              </a:p>
              <a:p>
                <a:pPr marL="285750" indent="-285750" algn="just">
                  <a:lnSpc>
                    <a:spcPct val="120000"/>
                  </a:lnSpc>
                  <a:spcBef>
                    <a:spcPts val="200"/>
                  </a:spcBef>
                  <a:spcAft>
                    <a:spcPts val="200"/>
                  </a:spcAft>
                  <a:buFont typeface="Wingdings" panose="05000000000000000000" pitchFamily="2" charset="2"/>
                  <a:buChar char="q"/>
                </a:pP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rea </a:t>
                </a:r>
                <a:r>
                  <a:rPr lang="it-IT" sz="1400" b="1">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contatti con le imprese </a:t>
                </a:r>
                <a:r>
                  <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del territorio, favorendo l’incontro tra offerta formativa e domanda di lavoro.</a:t>
                </a:r>
              </a:p>
            </p:txBody>
          </p:sp>
        </p:grpSp>
      </p:grpSp>
      <p:sp>
        <p:nvSpPr>
          <p:cNvPr id="3" name="Segnaposto numero diapositiva 2">
            <a:extLst>
              <a:ext uri="{FF2B5EF4-FFF2-40B4-BE49-F238E27FC236}">
                <a16:creationId xmlns:a16="http://schemas.microsoft.com/office/drawing/2014/main" id="{80F8DE33-4CC6-E69A-F283-BFAA1B1C1EC7}"/>
              </a:ext>
            </a:extLst>
          </p:cNvPr>
          <p:cNvSpPr>
            <a:spLocks noGrp="1"/>
          </p:cNvSpPr>
          <p:nvPr>
            <p:ph type="sldNum" sz="quarter" idx="12"/>
          </p:nvPr>
        </p:nvSpPr>
        <p:spPr/>
        <p:txBody>
          <a:bodyPr/>
          <a:lstStyle/>
          <a:p>
            <a:fld id="{00F0C1FD-41C3-4D85-8E51-9C56B45C685D}" type="slidenum">
              <a:rPr lang="it-IT">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3</a:t>
            </a:fld>
            <a:endParaRPr lang="it-IT">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678077019"/>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Elemento grafico 6">
            <a:extLst>
              <a:ext uri="{FF2B5EF4-FFF2-40B4-BE49-F238E27FC236}">
                <a16:creationId xmlns:a16="http://schemas.microsoft.com/office/drawing/2014/main" id="{ACA764E1-566F-48B8-A0F4-21E6670E832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140551" y="2425551"/>
            <a:ext cx="2006899" cy="2006899"/>
          </a:xfrm>
          <a:prstGeom prst="rect">
            <a:avLst/>
          </a:prstGeom>
        </p:spPr>
      </p:pic>
      <p:sp>
        <p:nvSpPr>
          <p:cNvPr id="3" name="Rettangolo con angoli arrotondati 2">
            <a:extLst>
              <a:ext uri="{FF2B5EF4-FFF2-40B4-BE49-F238E27FC236}">
                <a16:creationId xmlns:a16="http://schemas.microsoft.com/office/drawing/2014/main" id="{D3930FD5-2A12-426D-937C-99961F70DEFA}"/>
              </a:ext>
            </a:extLst>
          </p:cNvPr>
          <p:cNvSpPr/>
          <p:nvPr/>
        </p:nvSpPr>
        <p:spPr>
          <a:xfrm>
            <a:off x="338328" y="2960869"/>
            <a:ext cx="4572000" cy="301752"/>
          </a:xfrm>
          <a:prstGeom prst="round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900" b="0" i="0" u="none" strike="noStrike" kern="1200" cap="none" spc="0" normalizeH="0" baseline="0" noProof="0">
              <a:ln>
                <a:noFill/>
              </a:ln>
              <a:solidFill>
                <a:prstClr val="white"/>
              </a:solidFill>
              <a:effectLst/>
              <a:uLnTx/>
              <a:uFillTx/>
              <a:latin typeface="Arial"/>
              <a:ea typeface="+mn-ea"/>
              <a:cs typeface="+mn-cs"/>
            </a:endParaRPr>
          </a:p>
        </p:txBody>
      </p:sp>
      <p:sp>
        <p:nvSpPr>
          <p:cNvPr id="8" name="Pentagono 88">
            <a:extLst>
              <a:ext uri="{FF2B5EF4-FFF2-40B4-BE49-F238E27FC236}">
                <a16:creationId xmlns:a16="http://schemas.microsoft.com/office/drawing/2014/main" id="{3AFF9277-D155-498F-BDDB-2AD7263FAFB2}"/>
              </a:ext>
            </a:extLst>
          </p:cNvPr>
          <p:cNvSpPr/>
          <p:nvPr/>
        </p:nvSpPr>
        <p:spPr>
          <a:xfrm>
            <a:off x="357982" y="2044553"/>
            <a:ext cx="5623718" cy="2376114"/>
          </a:xfrm>
          <a:prstGeom prst="rect">
            <a:avLst/>
          </a:prstGeom>
          <a:noFill/>
          <a:ln w="12700" cap="flat" cmpd="sng" algn="ctr">
            <a:noFill/>
            <a:prstDash val="solid"/>
            <a:miter lim="800000"/>
          </a:ln>
          <a:effectLst/>
        </p:spPr>
        <p:txBody>
          <a:bodyPr lIns="144000" tIns="0" rIns="0" bIns="0" rtlCol="0" anchor="ctr"/>
          <a:lstStyle/>
          <a:p>
            <a:pPr marL="0" marR="0" lvl="0" indent="0" algn="just" defTabSz="914400" rtl="0" eaLnBrk="1" fontAlgn="base" latinLnBrk="0" hangingPunct="1">
              <a:lnSpc>
                <a:spcPct val="120000"/>
              </a:lnSpc>
              <a:spcBef>
                <a:spcPct val="0"/>
              </a:spcBef>
              <a:spcAft>
                <a:spcPts val="1200"/>
              </a:spcAft>
              <a:buClrTx/>
              <a:buSzTx/>
              <a:buFontTx/>
              <a:buNone/>
              <a:tabLst/>
              <a:defRPr/>
            </a:pPr>
            <a:r>
              <a:rPr kumimoji="0" lang="it-IT" sz="2200" b="1" i="0" u="none" strike="noStrike" kern="0" cap="small" spc="0" normalizeH="0" baseline="0" noProof="0" dirty="0">
                <a:ln>
                  <a:noFill/>
                </a:ln>
                <a:solidFill>
                  <a:srgbClr val="049EE2"/>
                </a:solidFill>
                <a:effectLst/>
                <a:uLnTx/>
                <a:uFillTx/>
                <a:latin typeface="Open Sans Light"/>
                <a:ea typeface="Open Sans Light"/>
                <a:cs typeface="Open Sans Light"/>
              </a:rPr>
              <a:t>Agenda</a:t>
            </a:r>
          </a:p>
          <a:p>
            <a:pPr marL="285750" marR="0" lvl="0" indent="-285750" algn="just" defTabSz="914400" rtl="0" eaLnBrk="1" fontAlgn="base" latinLnBrk="0" hangingPunct="1">
              <a:lnSpc>
                <a:spcPct val="120000"/>
              </a:lnSpc>
              <a:spcBef>
                <a:spcPct val="0"/>
              </a:spcBef>
              <a:spcAft>
                <a:spcPts val="1200"/>
              </a:spcAft>
              <a:buClrTx/>
              <a:buSzTx/>
              <a:buFont typeface="Wingdings" panose="05000000000000000000" pitchFamily="2" charset="2"/>
              <a:buChar char="ü"/>
              <a:tabLst/>
              <a:defRPr/>
            </a:pPr>
            <a:r>
              <a:rPr kumimoji="0" lang="it-IT" sz="1400" i="0" u="none" strike="noStrike" kern="0" cap="none" spc="0" normalizeH="0" baseline="0" noProof="0" dirty="0">
                <a:ln>
                  <a:noFill/>
                </a:ln>
                <a:solidFill>
                  <a:prstClr val="black"/>
                </a:solidFill>
                <a:effectLst/>
                <a:uLnTx/>
                <a:uFillTx/>
                <a:latin typeface="Open Sans Light"/>
                <a:ea typeface="Open Sans Light"/>
                <a:cs typeface="Open Sans Light"/>
              </a:rPr>
              <a:t>Ruolo del docente tutor e del docente orientatore</a:t>
            </a:r>
          </a:p>
          <a:p>
            <a:pPr marL="285750" marR="0" lvl="0" indent="-285750" algn="just" defTabSz="914400" rtl="0" eaLnBrk="1" fontAlgn="base" latinLnBrk="0" hangingPunct="1">
              <a:lnSpc>
                <a:spcPct val="120000"/>
              </a:lnSpc>
              <a:spcBef>
                <a:spcPct val="0"/>
              </a:spcBef>
              <a:spcAft>
                <a:spcPts val="1200"/>
              </a:spcAft>
              <a:buClrTx/>
              <a:buSzTx/>
              <a:buFont typeface="Wingdings" panose="05000000000000000000" pitchFamily="2" charset="2"/>
              <a:buChar char="ü"/>
              <a:tabLst/>
              <a:defRPr/>
            </a:pPr>
            <a:r>
              <a:rPr kumimoji="0" lang="it-IT" sz="1400" b="1" i="0" u="none" strike="noStrike" kern="0" cap="none" spc="0" normalizeH="0" baseline="0" noProof="0" dirty="0">
                <a:ln>
                  <a:noFill/>
                </a:ln>
                <a:solidFill>
                  <a:prstClr val="black"/>
                </a:solidFill>
                <a:effectLst/>
                <a:uLnTx/>
                <a:uFillTx/>
                <a:latin typeface="Open Sans Light"/>
                <a:ea typeface="Open Sans Light"/>
                <a:cs typeface="Open Sans Light"/>
              </a:rPr>
              <a:t>Modalità di nomina e attivazione dell’incarico</a:t>
            </a:r>
          </a:p>
          <a:p>
            <a:pPr marL="285750" marR="0" lvl="0" indent="-285750" algn="just" defTabSz="914400" rtl="0" eaLnBrk="1" fontAlgn="base" latinLnBrk="0" hangingPunct="1">
              <a:lnSpc>
                <a:spcPct val="120000"/>
              </a:lnSpc>
              <a:spcBef>
                <a:spcPct val="0"/>
              </a:spcBef>
              <a:spcAft>
                <a:spcPts val="1200"/>
              </a:spcAft>
              <a:buClrTx/>
              <a:buSzTx/>
              <a:buFont typeface="Wingdings" panose="05000000000000000000" pitchFamily="2" charset="2"/>
              <a:buChar char="ü"/>
              <a:tabLst/>
              <a:defRPr/>
            </a:pPr>
            <a:r>
              <a:rPr kumimoji="0" lang="it-IT" sz="1400" b="0" i="0" u="none" strike="noStrike" kern="0" cap="none" spc="0" normalizeH="0" baseline="0" noProof="0" dirty="0">
                <a:ln>
                  <a:noFill/>
                </a:ln>
                <a:solidFill>
                  <a:prstClr val="black"/>
                </a:solidFill>
                <a:effectLst/>
                <a:uLnTx/>
                <a:uFillTx/>
                <a:latin typeface="Open Sans Light"/>
                <a:ea typeface="Open Sans Light"/>
                <a:cs typeface="Open Sans Light"/>
              </a:rPr>
              <a:t>Principali richieste di chiarimento delle Scuole</a:t>
            </a:r>
          </a:p>
          <a:p>
            <a:pPr marL="285750" indent="-285750" algn="just" fontAlgn="base">
              <a:lnSpc>
                <a:spcPct val="120000"/>
              </a:lnSpc>
              <a:spcBef>
                <a:spcPct val="0"/>
              </a:spcBef>
              <a:spcAft>
                <a:spcPts val="1200"/>
              </a:spcAft>
              <a:buFont typeface="Wingdings" panose="05000000000000000000" pitchFamily="2" charset="2"/>
              <a:buChar char="ü"/>
              <a:defRPr/>
            </a:pPr>
            <a:r>
              <a:rPr kumimoji="0" lang="it-IT" sz="1400" b="0"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NICA: abilitazione e </a:t>
            </a:r>
            <a:r>
              <a:rPr kumimoji="0" lang="it-IT" sz="1400" b="0" i="0" u="none" strike="noStrike" kern="0" cap="none" spc="0" normalizeH="0" baseline="0" noProof="0" dirty="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un</a:t>
            </a:r>
            <a:r>
              <a:rPr lang="it-IT" sz="1400" kern="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zioni</a:t>
            </a:r>
          </a:p>
          <a:p>
            <a:pPr marL="285750" indent="-285750" algn="just" fontAlgn="base">
              <a:lnSpc>
                <a:spcPct val="120000"/>
              </a:lnSpc>
              <a:spcBef>
                <a:spcPct val="0"/>
              </a:spcBef>
              <a:spcAft>
                <a:spcPts val="1200"/>
              </a:spcAft>
              <a:buFont typeface="Wingdings" panose="05000000000000000000" pitchFamily="2" charset="2"/>
              <a:buChar char="ü"/>
              <a:defRPr/>
            </a:pPr>
            <a:r>
              <a:rPr lang="it-IT" sz="1400" kern="0" dirty="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onclusioni</a:t>
            </a:r>
          </a:p>
        </p:txBody>
      </p:sp>
      <p:pic>
        <p:nvPicPr>
          <p:cNvPr id="10" name="Picture 2">
            <a:extLst>
              <a:ext uri="{FF2B5EF4-FFF2-40B4-BE49-F238E27FC236}">
                <a16:creationId xmlns:a16="http://schemas.microsoft.com/office/drawing/2014/main" id="{624CC880-2EE6-4103-8334-184DB2FA6C96}"/>
              </a:ext>
            </a:extLst>
          </p:cNvPr>
          <p:cNvPicPr>
            <a:picLocks noChangeAspect="1"/>
          </p:cNvPicPr>
          <p:nvPr/>
        </p:nvPicPr>
        <p:blipFill rotWithShape="1">
          <a:blip r:embed="rId5"/>
          <a:srcRect l="50937"/>
          <a:stretch/>
        </p:blipFill>
        <p:spPr>
          <a:xfrm>
            <a:off x="6210300" y="0"/>
            <a:ext cx="5981700" cy="6858000"/>
          </a:xfrm>
          <a:prstGeom prst="rect">
            <a:avLst/>
          </a:prstGeom>
          <a:effectLst>
            <a:outerShdw blurRad="50800" dist="38100" dir="10800000" algn="r" rotWithShape="0">
              <a:prstClr val="black">
                <a:alpha val="40000"/>
              </a:prstClr>
            </a:outerShdw>
          </a:effectLst>
        </p:spPr>
      </p:pic>
    </p:spTree>
    <p:extLst>
      <p:ext uri="{BB962C8B-B14F-4D97-AF65-F5344CB8AC3E}">
        <p14:creationId xmlns:p14="http://schemas.microsoft.com/office/powerpoint/2010/main" val="3262777718"/>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46E2FDE-BF7B-883C-1214-B89AF8AC25EC}"/>
              </a:ext>
            </a:extLst>
          </p:cNvPr>
          <p:cNvSpPr txBox="1">
            <a:spLocks/>
          </p:cNvSpPr>
          <p:nvPr/>
        </p:nvSpPr>
        <p:spPr>
          <a:xfrm>
            <a:off x="228600" y="176586"/>
            <a:ext cx="11124959" cy="6596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200" b="1">
                <a:latin typeface="Open Sans"/>
                <a:ea typeface="Open Sans"/>
                <a:cs typeface="Open Sans"/>
              </a:rPr>
              <a:t>Modalità di nomina e attivazione dell’incarico (1/3)</a:t>
            </a:r>
          </a:p>
        </p:txBody>
      </p:sp>
      <p:grpSp>
        <p:nvGrpSpPr>
          <p:cNvPr id="10" name="Gruppo 9">
            <a:extLst>
              <a:ext uri="{FF2B5EF4-FFF2-40B4-BE49-F238E27FC236}">
                <a16:creationId xmlns:a16="http://schemas.microsoft.com/office/drawing/2014/main" id="{CD95E729-B485-E831-C170-989936FFA786}"/>
              </a:ext>
            </a:extLst>
          </p:cNvPr>
          <p:cNvGrpSpPr/>
          <p:nvPr/>
        </p:nvGrpSpPr>
        <p:grpSpPr>
          <a:xfrm>
            <a:off x="397200" y="1162542"/>
            <a:ext cx="11397600" cy="288000"/>
            <a:chOff x="396037" y="1162542"/>
            <a:chExt cx="11397600" cy="288000"/>
          </a:xfrm>
        </p:grpSpPr>
        <p:cxnSp>
          <p:nvCxnSpPr>
            <p:cNvPr id="8" name="Connettore diritto 7">
              <a:extLst>
                <a:ext uri="{FF2B5EF4-FFF2-40B4-BE49-F238E27FC236}">
                  <a16:creationId xmlns:a16="http://schemas.microsoft.com/office/drawing/2014/main" id="{F8257466-D4BE-111A-629B-384FEE42CC54}"/>
                </a:ext>
              </a:extLst>
            </p:cNvPr>
            <p:cNvCxnSpPr>
              <a:cxnSpLocks/>
            </p:cNvCxnSpPr>
            <p:nvPr/>
          </p:nvCxnSpPr>
          <p:spPr>
            <a:xfrm>
              <a:off x="396037" y="1306542"/>
              <a:ext cx="11397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14" name="Rettangolo 13">
              <a:extLst>
                <a:ext uri="{FF2B5EF4-FFF2-40B4-BE49-F238E27FC236}">
                  <a16:creationId xmlns:a16="http://schemas.microsoft.com/office/drawing/2014/main" id="{052A1C38-11FA-BDC7-2355-77CA9543DA86}"/>
                </a:ext>
              </a:extLst>
            </p:cNvPr>
            <p:cNvSpPr/>
            <p:nvPr/>
          </p:nvSpPr>
          <p:spPr>
            <a:xfrm>
              <a:off x="4726837" y="1162542"/>
              <a:ext cx="2736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600" b="1" i="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ndividuazione dei criteri</a:t>
              </a:r>
              <a:endParaRPr kumimoji="0" lang="it-IT" sz="1600" b="1"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11" name="Rettangolo 10">
            <a:extLst>
              <a:ext uri="{FF2B5EF4-FFF2-40B4-BE49-F238E27FC236}">
                <a16:creationId xmlns:a16="http://schemas.microsoft.com/office/drawing/2014/main" id="{6771C021-E8FB-781E-21CC-B64D34D6CDA3}"/>
              </a:ext>
            </a:extLst>
          </p:cNvPr>
          <p:cNvSpPr/>
          <p:nvPr/>
        </p:nvSpPr>
        <p:spPr>
          <a:xfrm>
            <a:off x="396036" y="1594543"/>
            <a:ext cx="11397599" cy="7062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Ins="252000" rtlCol="0" anchor="ctr"/>
          <a:lstStyle/>
          <a:p>
            <a:pPr algn="just">
              <a:spcAft>
                <a:spcPts val="600"/>
              </a:spcAft>
            </a:pPr>
            <a:r>
              <a:rPr lang="it-IT" sz="14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l Collegio dei docenti individua i criteri funzionali alla definizione dei </a:t>
            </a:r>
            <a:r>
              <a:rPr lang="it-IT" sz="1400"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aggruppamenti di studenti </a:t>
            </a:r>
            <a:endParaRPr lang="it-IT" sz="14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 name="Rectangle 27">
            <a:extLst>
              <a:ext uri="{FF2B5EF4-FFF2-40B4-BE49-F238E27FC236}">
                <a16:creationId xmlns:a16="http://schemas.microsoft.com/office/drawing/2014/main" id="{E74DFB9D-D203-E542-CCEA-419CC17D8293}"/>
              </a:ext>
            </a:extLst>
          </p:cNvPr>
          <p:cNvSpPr/>
          <p:nvPr/>
        </p:nvSpPr>
        <p:spPr>
          <a:xfrm>
            <a:off x="399392" y="2505263"/>
            <a:ext cx="11342342" cy="3737882"/>
          </a:xfrm>
          <a:prstGeom prst="rect">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lIns="144000" tIns="288000" rIns="216000" rtlCol="0" anchor="t"/>
          <a:lstStyle/>
          <a:p>
            <a:pPr algn="just">
              <a:lnSpc>
                <a:spcPct val="120000"/>
              </a:lnSpc>
              <a:spcBef>
                <a:spcPts val="300"/>
              </a:spcBef>
              <a:spcAft>
                <a:spcPts val="600"/>
              </a:spcAft>
            </a:pPr>
            <a:endParaRPr lang="it-IT" sz="140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5" name="Rettangolo 14">
            <a:extLst>
              <a:ext uri="{FF2B5EF4-FFF2-40B4-BE49-F238E27FC236}">
                <a16:creationId xmlns:a16="http://schemas.microsoft.com/office/drawing/2014/main" id="{D1C24F4E-85D6-84A4-834E-D86409E44464}"/>
              </a:ext>
            </a:extLst>
          </p:cNvPr>
          <p:cNvSpPr/>
          <p:nvPr/>
        </p:nvSpPr>
        <p:spPr>
          <a:xfrm>
            <a:off x="396036" y="2505263"/>
            <a:ext cx="11342342" cy="553817"/>
          </a:xfrm>
          <a:prstGeom prst="rect">
            <a:avLst/>
          </a:prstGeom>
          <a:solidFill>
            <a:srgbClr val="DAE3F3"/>
          </a:solidFill>
          <a:ln>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r>
              <a:rPr lang="it-IT" sz="1600" b="1" cap="small"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Raggruppamenti </a:t>
            </a:r>
          </a:p>
        </p:txBody>
      </p:sp>
      <p:pic>
        <p:nvPicPr>
          <p:cNvPr id="19" name="Immagine 18">
            <a:extLst>
              <a:ext uri="{FF2B5EF4-FFF2-40B4-BE49-F238E27FC236}">
                <a16:creationId xmlns:a16="http://schemas.microsoft.com/office/drawing/2014/main" id="{57912551-C212-535B-EE09-0BA8B193EBC2}"/>
              </a:ext>
            </a:extLst>
          </p:cNvPr>
          <p:cNvPicPr>
            <a:picLocks noChangeAspect="1"/>
          </p:cNvPicPr>
          <p:nvPr/>
        </p:nvPicPr>
        <p:blipFill>
          <a:blip r:embed="rId3"/>
          <a:stretch>
            <a:fillRect/>
          </a:stretch>
        </p:blipFill>
        <p:spPr>
          <a:xfrm>
            <a:off x="4151582" y="2563354"/>
            <a:ext cx="437635" cy="437635"/>
          </a:xfrm>
          <a:prstGeom prst="rect">
            <a:avLst/>
          </a:prstGeom>
        </p:spPr>
      </p:pic>
      <p:sp>
        <p:nvSpPr>
          <p:cNvPr id="22" name="Rectangle 27">
            <a:extLst>
              <a:ext uri="{FF2B5EF4-FFF2-40B4-BE49-F238E27FC236}">
                <a16:creationId xmlns:a16="http://schemas.microsoft.com/office/drawing/2014/main" id="{3FD25EA4-2AFA-BE11-C5FC-F509AB331493}"/>
              </a:ext>
            </a:extLst>
          </p:cNvPr>
          <p:cNvSpPr/>
          <p:nvPr/>
        </p:nvSpPr>
        <p:spPr>
          <a:xfrm>
            <a:off x="450266" y="3084913"/>
            <a:ext cx="11288112" cy="3053128"/>
          </a:xfrm>
          <a:prstGeom prst="rect">
            <a:avLst/>
          </a:prstGeom>
          <a:solidFill>
            <a:schemeClr val="bg1"/>
          </a:solidFill>
          <a:ln w="19050">
            <a:noFill/>
          </a:ln>
        </p:spPr>
        <p:style>
          <a:lnRef idx="2">
            <a:schemeClr val="accent1">
              <a:shade val="50000"/>
            </a:schemeClr>
          </a:lnRef>
          <a:fillRef idx="1">
            <a:schemeClr val="accent1"/>
          </a:fillRef>
          <a:effectRef idx="0">
            <a:schemeClr val="accent1"/>
          </a:effectRef>
          <a:fontRef idx="minor">
            <a:schemeClr val="lt1"/>
          </a:fontRef>
        </p:style>
        <p:txBody>
          <a:bodyPr lIns="144000" tIns="288000" rIns="216000" rtlCol="0" anchor="t"/>
          <a:lstStyle/>
          <a:p>
            <a:pPr algn="just">
              <a:lnSpc>
                <a:spcPct val="120000"/>
              </a:lnSpc>
              <a:spcBef>
                <a:spcPts val="300"/>
              </a:spcBef>
              <a:spcAft>
                <a:spcPts val="300"/>
              </a:spcAft>
            </a:pPr>
            <a:r>
              <a:rPr lang="it-IT" sz="14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l Collegio dei docenti delibera in merito ai criteri funzionali ai seguenti elementi:</a:t>
            </a:r>
          </a:p>
          <a:p>
            <a:pPr marL="285750" indent="-285750" algn="just">
              <a:lnSpc>
                <a:spcPct val="120000"/>
              </a:lnSpc>
              <a:spcBef>
                <a:spcPts val="300"/>
              </a:spcBef>
              <a:spcAft>
                <a:spcPts val="300"/>
              </a:spcAft>
              <a:buFont typeface="Wingdings" panose="05000000000000000000" pitchFamily="2" charset="2"/>
              <a:buChar char="q"/>
            </a:pPr>
            <a:r>
              <a:rPr lang="it-IT" sz="1400"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mpiezza dei raggruppamenti, </a:t>
            </a:r>
            <a:r>
              <a:rPr lang="it-IT" sz="14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nche in base al numero di docenti formati;</a:t>
            </a:r>
          </a:p>
          <a:p>
            <a:pPr marL="285750" indent="-285750" algn="just">
              <a:lnSpc>
                <a:spcPct val="120000"/>
              </a:lnSpc>
              <a:spcBef>
                <a:spcPts val="300"/>
              </a:spcBef>
              <a:spcAft>
                <a:spcPts val="300"/>
              </a:spcAft>
              <a:buFont typeface="Wingdings" panose="05000000000000000000" pitchFamily="2" charset="2"/>
              <a:buChar char="q"/>
            </a:pPr>
            <a:r>
              <a:rPr lang="it-IT" sz="1400"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Tipologia dei raggruppamenti, </a:t>
            </a:r>
            <a:r>
              <a:rPr lang="it-IT" sz="14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nche</a:t>
            </a:r>
            <a:r>
              <a:rPr lang="it-IT" sz="1400"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a:t>
            </a:r>
            <a:r>
              <a:rPr lang="it-IT" sz="14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in base alle specifiche esigenze del singolo Istituto;</a:t>
            </a:r>
            <a:endParaRPr lang="it-IT" sz="1400" i="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algn="just">
              <a:lnSpc>
                <a:spcPct val="120000"/>
              </a:lnSpc>
              <a:spcBef>
                <a:spcPts val="300"/>
              </a:spcBef>
              <a:spcAft>
                <a:spcPts val="300"/>
              </a:spcAft>
            </a:pPr>
            <a:r>
              <a:rPr lang="it-IT" sz="1400" i="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d esempio: «I raggruppamenti conterranno non più di 40 studenti frequentanti lo stesso anno di corso.»</a:t>
            </a:r>
            <a:endParaRPr lang="it-IT" sz="14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endParaRPr>
          </a:p>
          <a:p>
            <a:pPr algn="just">
              <a:lnSpc>
                <a:spcPct val="120000"/>
              </a:lnSpc>
              <a:spcBef>
                <a:spcPts val="300"/>
              </a:spcBef>
              <a:spcAft>
                <a:spcPts val="300"/>
              </a:spcAft>
            </a:pPr>
            <a:r>
              <a:rPr lang="it-IT" sz="14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Nel deliberare, il Collegio tiene in considerazione quanto suggerito dalla circolare n. 958 del 5 aprile 2023: «Si ritiene che ciascuna Istituzione scolastica possa, </a:t>
            </a:r>
            <a:r>
              <a:rPr lang="it-IT" sz="1400"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orientativamente</a:t>
            </a:r>
            <a:r>
              <a:rPr lang="it-IT" sz="14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 individuare un tutor per raggruppamenti costituiti da un </a:t>
            </a:r>
            <a:r>
              <a:rPr lang="it-IT" sz="1400"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minimo di 30 studenti </a:t>
            </a:r>
            <a:r>
              <a:rPr lang="it-IT" sz="14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fino ad un </a:t>
            </a:r>
            <a:r>
              <a:rPr lang="it-IT" sz="1400"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massimo di 50 studenti</a:t>
            </a:r>
            <a:r>
              <a:rPr lang="it-IT" sz="1400"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t>
            </a:r>
          </a:p>
        </p:txBody>
      </p:sp>
      <p:sp>
        <p:nvSpPr>
          <p:cNvPr id="3" name="Segnaposto numero diapositiva 2">
            <a:extLst>
              <a:ext uri="{FF2B5EF4-FFF2-40B4-BE49-F238E27FC236}">
                <a16:creationId xmlns:a16="http://schemas.microsoft.com/office/drawing/2014/main" id="{38ABFAA7-2B43-9D6E-54E3-0BABBD970029}"/>
              </a:ext>
            </a:extLst>
          </p:cNvPr>
          <p:cNvSpPr>
            <a:spLocks noGrp="1"/>
          </p:cNvSpPr>
          <p:nvPr>
            <p:ph type="sldNum" sz="quarter" idx="12"/>
          </p:nvPr>
        </p:nvSpPr>
        <p:spPr/>
        <p:txBody>
          <a:bodyPr/>
          <a:lstStyle/>
          <a:p>
            <a:fld id="{00F0C1FD-41C3-4D85-8E51-9C56B45C685D}" type="slidenum">
              <a:rPr lang="it-IT" smtClean="0">
                <a:latin typeface="Open Sans Light" panose="020B0306030504020204" pitchFamily="34" charset="0"/>
                <a:ea typeface="Open Sans Light" panose="020B0306030504020204" pitchFamily="34" charset="0"/>
                <a:cs typeface="Open Sans Light" panose="020B0306030504020204" pitchFamily="34" charset="0"/>
              </a:rPr>
              <a:t>5</a:t>
            </a:fld>
            <a:endParaRPr lang="it-IT">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5729948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15" name="Gruppo 14">
            <a:extLst>
              <a:ext uri="{FF2B5EF4-FFF2-40B4-BE49-F238E27FC236}">
                <a16:creationId xmlns:a16="http://schemas.microsoft.com/office/drawing/2014/main" id="{17498662-1A10-4CE9-A2C3-8677B6F1EBE5}"/>
              </a:ext>
            </a:extLst>
          </p:cNvPr>
          <p:cNvGrpSpPr/>
          <p:nvPr/>
        </p:nvGrpSpPr>
        <p:grpSpPr>
          <a:xfrm>
            <a:off x="2752307" y="2589261"/>
            <a:ext cx="6687386" cy="3703622"/>
            <a:chOff x="2752307" y="2589261"/>
            <a:chExt cx="6687386" cy="3703622"/>
          </a:xfrm>
        </p:grpSpPr>
        <p:pic>
          <p:nvPicPr>
            <p:cNvPr id="9" name="Immagine 8">
              <a:extLst>
                <a:ext uri="{FF2B5EF4-FFF2-40B4-BE49-F238E27FC236}">
                  <a16:creationId xmlns:a16="http://schemas.microsoft.com/office/drawing/2014/main" id="{A8A87F10-8CA6-30E5-6679-EBF631C8C0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752307" y="2589261"/>
              <a:ext cx="6687386" cy="3703622"/>
            </a:xfrm>
            <a:prstGeom prst="rect">
              <a:avLst/>
            </a:prstGeom>
          </p:spPr>
        </p:pic>
        <p:sp>
          <p:nvSpPr>
            <p:cNvPr id="4" name="Rettangolo 3">
              <a:extLst>
                <a:ext uri="{FF2B5EF4-FFF2-40B4-BE49-F238E27FC236}">
                  <a16:creationId xmlns:a16="http://schemas.microsoft.com/office/drawing/2014/main" id="{15839277-BC1E-1B91-5E46-35204DA8A84D}"/>
                </a:ext>
              </a:extLst>
            </p:cNvPr>
            <p:cNvSpPr/>
            <p:nvPr/>
          </p:nvSpPr>
          <p:spPr>
            <a:xfrm>
              <a:off x="3499944" y="4677103"/>
              <a:ext cx="3096000" cy="168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200"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ffidamento incarico docente tutor</a:t>
              </a:r>
            </a:p>
          </p:txBody>
        </p:sp>
        <p:sp>
          <p:nvSpPr>
            <p:cNvPr id="14" name="Rettangolo 13">
              <a:extLst>
                <a:ext uri="{FF2B5EF4-FFF2-40B4-BE49-F238E27FC236}">
                  <a16:creationId xmlns:a16="http://schemas.microsoft.com/office/drawing/2014/main" id="{16AD396A-3F15-7762-BB1C-1EF639663EE1}"/>
                </a:ext>
              </a:extLst>
            </p:cNvPr>
            <p:cNvSpPr/>
            <p:nvPr/>
          </p:nvSpPr>
          <p:spPr>
            <a:xfrm>
              <a:off x="3499944" y="5712368"/>
              <a:ext cx="3096000" cy="16816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r>
                <a:rPr lang="it-IT" sz="1200" b="1" dirty="0">
                  <a:solidFill>
                    <a:schemeClr val="tx1"/>
                  </a:solidFill>
                  <a:latin typeface="Open Sans Light" panose="020B0306030504020204" pitchFamily="34" charset="0"/>
                  <a:ea typeface="Open Sans Light" panose="020B0306030504020204" pitchFamily="34" charset="0"/>
                  <a:cs typeface="Open Sans Light" panose="020B0306030504020204" pitchFamily="34" charset="0"/>
                </a:rPr>
                <a:t>Affidamento incarico docente orientatore</a:t>
              </a:r>
            </a:p>
          </p:txBody>
        </p:sp>
      </p:grpSp>
      <p:sp>
        <p:nvSpPr>
          <p:cNvPr id="2" name="Titolo 1">
            <a:extLst>
              <a:ext uri="{FF2B5EF4-FFF2-40B4-BE49-F238E27FC236}">
                <a16:creationId xmlns:a16="http://schemas.microsoft.com/office/drawing/2014/main" id="{F46E2FDE-BF7B-883C-1214-B89AF8AC25EC}"/>
              </a:ext>
            </a:extLst>
          </p:cNvPr>
          <p:cNvSpPr txBox="1">
            <a:spLocks/>
          </p:cNvSpPr>
          <p:nvPr/>
        </p:nvSpPr>
        <p:spPr>
          <a:xfrm>
            <a:off x="228600" y="176586"/>
            <a:ext cx="11124959" cy="6596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200" b="1">
                <a:latin typeface="Open Sans"/>
                <a:ea typeface="Open Sans"/>
                <a:cs typeface="Open Sans"/>
              </a:rPr>
              <a:t>Modalità di nomina e attivazione dell’incarico (2/3)</a:t>
            </a:r>
          </a:p>
        </p:txBody>
      </p:sp>
      <p:grpSp>
        <p:nvGrpSpPr>
          <p:cNvPr id="7" name="Gruppo 6">
            <a:extLst>
              <a:ext uri="{FF2B5EF4-FFF2-40B4-BE49-F238E27FC236}">
                <a16:creationId xmlns:a16="http://schemas.microsoft.com/office/drawing/2014/main" id="{A66D176F-67C7-455F-B940-19DC86264E5C}"/>
              </a:ext>
            </a:extLst>
          </p:cNvPr>
          <p:cNvGrpSpPr/>
          <p:nvPr/>
        </p:nvGrpSpPr>
        <p:grpSpPr>
          <a:xfrm>
            <a:off x="397200" y="1162542"/>
            <a:ext cx="11397600" cy="288000"/>
            <a:chOff x="396037" y="1162542"/>
            <a:chExt cx="11397600" cy="288000"/>
          </a:xfrm>
        </p:grpSpPr>
        <p:cxnSp>
          <p:nvCxnSpPr>
            <p:cNvPr id="5" name="Connettore diritto 4">
              <a:extLst>
                <a:ext uri="{FF2B5EF4-FFF2-40B4-BE49-F238E27FC236}">
                  <a16:creationId xmlns:a16="http://schemas.microsoft.com/office/drawing/2014/main" id="{F4338F00-754F-5CDC-576F-B0675572B3CD}"/>
                </a:ext>
              </a:extLst>
            </p:cNvPr>
            <p:cNvCxnSpPr>
              <a:cxnSpLocks/>
            </p:cNvCxnSpPr>
            <p:nvPr/>
          </p:nvCxnSpPr>
          <p:spPr>
            <a:xfrm>
              <a:off x="396037" y="1306542"/>
              <a:ext cx="11397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6" name="Rettangolo 5">
              <a:extLst>
                <a:ext uri="{FF2B5EF4-FFF2-40B4-BE49-F238E27FC236}">
                  <a16:creationId xmlns:a16="http://schemas.microsoft.com/office/drawing/2014/main" id="{6108F27A-9033-4DA1-B969-7DA12DDD4303}"/>
                </a:ext>
              </a:extLst>
            </p:cNvPr>
            <p:cNvSpPr/>
            <p:nvPr/>
          </p:nvSpPr>
          <p:spPr>
            <a:xfrm>
              <a:off x="4726837" y="1162542"/>
              <a:ext cx="2736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600" b="1" i="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Nomina dei docenti tutor</a:t>
              </a:r>
              <a:endParaRPr kumimoji="0" lang="it-IT" sz="1600" b="1"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sp>
        <p:nvSpPr>
          <p:cNvPr id="8" name="Rettangolo 7">
            <a:extLst>
              <a:ext uri="{FF2B5EF4-FFF2-40B4-BE49-F238E27FC236}">
                <a16:creationId xmlns:a16="http://schemas.microsoft.com/office/drawing/2014/main" id="{91C1A6F1-52C5-0971-8E0C-576C55176394}"/>
              </a:ext>
            </a:extLst>
          </p:cNvPr>
          <p:cNvSpPr/>
          <p:nvPr/>
        </p:nvSpPr>
        <p:spPr>
          <a:xfrm>
            <a:off x="396036" y="1594543"/>
            <a:ext cx="11397599" cy="7062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Ins="252000" rtlCol="0" anchor="ctr"/>
          <a:lstStyle/>
          <a:p>
            <a:pPr lvl="0" algn="just">
              <a:lnSpc>
                <a:spcPct val="130000"/>
              </a:lnSpc>
              <a:spcAft>
                <a:spcPts val="600"/>
              </a:spcAft>
              <a:defRPr/>
            </a:pPr>
            <a:r>
              <a:rPr kumimoji="0" lang="it-IT" sz="1400" b="0"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l fine di procedere con il conferimento dell’incarico ai docenti tutor e al docente orientatore, il Dirigente scolastico, emana il </a:t>
            </a:r>
            <a:r>
              <a:rPr kumimoji="0" lang="it-IT" sz="1400" b="1"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Decreto di nomina</a:t>
            </a:r>
            <a:r>
              <a:rPr kumimoji="0" lang="it-IT" sz="1400" b="0"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 </a:t>
            </a:r>
          </a:p>
        </p:txBody>
      </p:sp>
      <p:sp>
        <p:nvSpPr>
          <p:cNvPr id="11" name="Rettangolo con angoli arrotondati 10">
            <a:extLst>
              <a:ext uri="{FF2B5EF4-FFF2-40B4-BE49-F238E27FC236}">
                <a16:creationId xmlns:a16="http://schemas.microsoft.com/office/drawing/2014/main" id="{004C6153-5BED-34C1-70D1-D227C54294D9}"/>
              </a:ext>
            </a:extLst>
          </p:cNvPr>
          <p:cNvSpPr/>
          <p:nvPr/>
        </p:nvSpPr>
        <p:spPr>
          <a:xfrm>
            <a:off x="545468" y="3790608"/>
            <a:ext cx="2119246" cy="720000"/>
          </a:xfrm>
          <a:prstGeom prst="roundRect">
            <a:avLst>
              <a:gd name="adj" fmla="val 2209"/>
            </a:avLst>
          </a:prstGeom>
          <a:solidFill>
            <a:srgbClr val="DAE3F3"/>
          </a:solidFill>
          <a:ln>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remessa con principali riferimenti normativi</a:t>
            </a:r>
            <a:endParaRPr kumimoji="0" lang="it-IT" sz="1200" b="1"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 name="Rettangolo con angoli arrotondati 11">
            <a:extLst>
              <a:ext uri="{FF2B5EF4-FFF2-40B4-BE49-F238E27FC236}">
                <a16:creationId xmlns:a16="http://schemas.microsoft.com/office/drawing/2014/main" id="{28E8B658-23F5-A723-CFC7-326938F0DA34}"/>
              </a:ext>
            </a:extLst>
          </p:cNvPr>
          <p:cNvSpPr/>
          <p:nvPr/>
        </p:nvSpPr>
        <p:spPr>
          <a:xfrm>
            <a:off x="633061" y="4957740"/>
            <a:ext cx="2119246" cy="720000"/>
          </a:xfrm>
          <a:prstGeom prst="roundRect">
            <a:avLst>
              <a:gd name="adj" fmla="val 2209"/>
            </a:avLst>
          </a:prstGeom>
          <a:solidFill>
            <a:srgbClr val="DAE3F3"/>
          </a:solidFill>
          <a:ln>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ompiti previsti per i docenti incaricati</a:t>
            </a:r>
            <a:endParaRPr kumimoji="0" lang="it-IT" sz="1200" b="1"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13" name="Connettore curvo 12">
            <a:extLst>
              <a:ext uri="{FF2B5EF4-FFF2-40B4-BE49-F238E27FC236}">
                <a16:creationId xmlns:a16="http://schemas.microsoft.com/office/drawing/2014/main" id="{ABE86E44-F950-0191-EBF2-29073C389433}"/>
              </a:ext>
            </a:extLst>
          </p:cNvPr>
          <p:cNvCxnSpPr>
            <a:cxnSpLocks/>
            <a:endCxn id="12" idx="0"/>
          </p:cNvCxnSpPr>
          <p:nvPr/>
        </p:nvCxnSpPr>
        <p:spPr>
          <a:xfrm rot="10800000">
            <a:off x="1692685" y="4957740"/>
            <a:ext cx="1299759" cy="293020"/>
          </a:xfrm>
          <a:prstGeom prst="curvedConnector4">
            <a:avLst>
              <a:gd name="adj1" fmla="val 9238"/>
              <a:gd name="adj2" fmla="val 178015"/>
            </a:avLst>
          </a:prstGeom>
          <a:ln>
            <a:solidFill>
              <a:srgbClr val="002060"/>
            </a:solidFill>
            <a:tailEnd type="triangle"/>
          </a:ln>
        </p:spPr>
        <p:style>
          <a:lnRef idx="1">
            <a:schemeClr val="accent2"/>
          </a:lnRef>
          <a:fillRef idx="0">
            <a:schemeClr val="accent2"/>
          </a:fillRef>
          <a:effectRef idx="0">
            <a:schemeClr val="accent2"/>
          </a:effectRef>
          <a:fontRef idx="minor">
            <a:schemeClr val="tx1"/>
          </a:fontRef>
        </p:style>
      </p:cxnSp>
      <p:cxnSp>
        <p:nvCxnSpPr>
          <p:cNvPr id="10" name="Connettore curvo 9">
            <a:extLst>
              <a:ext uri="{FF2B5EF4-FFF2-40B4-BE49-F238E27FC236}">
                <a16:creationId xmlns:a16="http://schemas.microsoft.com/office/drawing/2014/main" id="{4AA0F10D-2F8F-7522-D98D-A348EBD4DA5B}"/>
              </a:ext>
            </a:extLst>
          </p:cNvPr>
          <p:cNvCxnSpPr>
            <a:cxnSpLocks/>
            <a:endCxn id="11" idx="0"/>
          </p:cNvCxnSpPr>
          <p:nvPr/>
        </p:nvCxnSpPr>
        <p:spPr>
          <a:xfrm rot="10800000" flipV="1">
            <a:off x="1605092" y="3624546"/>
            <a:ext cx="1387353" cy="166062"/>
          </a:xfrm>
          <a:prstGeom prst="curvedConnector2">
            <a:avLst/>
          </a:prstGeom>
          <a:ln>
            <a:solidFill>
              <a:srgbClr val="002060"/>
            </a:solidFill>
            <a:tailEnd type="triangle"/>
          </a:ln>
        </p:spPr>
        <p:style>
          <a:lnRef idx="1">
            <a:schemeClr val="accent2"/>
          </a:lnRef>
          <a:fillRef idx="0">
            <a:schemeClr val="accent2"/>
          </a:fillRef>
          <a:effectRef idx="0">
            <a:schemeClr val="accent2"/>
          </a:effectRef>
          <a:fontRef idx="minor">
            <a:schemeClr val="tx1"/>
          </a:fontRef>
        </p:style>
      </p:cxnSp>
      <p:sp>
        <p:nvSpPr>
          <p:cNvPr id="17" name="Rettangolo con angoli arrotondati 16">
            <a:extLst>
              <a:ext uri="{FF2B5EF4-FFF2-40B4-BE49-F238E27FC236}">
                <a16:creationId xmlns:a16="http://schemas.microsoft.com/office/drawing/2014/main" id="{92C7A482-467A-63E4-A499-72CE91AA54B4}"/>
              </a:ext>
            </a:extLst>
          </p:cNvPr>
          <p:cNvSpPr/>
          <p:nvPr/>
        </p:nvSpPr>
        <p:spPr>
          <a:xfrm>
            <a:off x="10025658" y="4535920"/>
            <a:ext cx="1828491" cy="720000"/>
          </a:xfrm>
          <a:prstGeom prst="roundRect">
            <a:avLst>
              <a:gd name="adj" fmla="val 2209"/>
            </a:avLst>
          </a:prstGeom>
          <a:solidFill>
            <a:srgbClr val="DAE3F3"/>
          </a:solidFill>
          <a:ln>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orpo del Decreto con specificazione dei docenti incaricati</a:t>
            </a:r>
            <a:endParaRPr kumimoji="0" lang="it-IT" sz="1200" b="1"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cxnSp>
        <p:nvCxnSpPr>
          <p:cNvPr id="18" name="Connettore curvo 17">
            <a:extLst>
              <a:ext uri="{FF2B5EF4-FFF2-40B4-BE49-F238E27FC236}">
                <a16:creationId xmlns:a16="http://schemas.microsoft.com/office/drawing/2014/main" id="{33BA32AF-4A39-45CC-3E73-857ABC5334B4}"/>
              </a:ext>
            </a:extLst>
          </p:cNvPr>
          <p:cNvCxnSpPr>
            <a:cxnSpLocks/>
            <a:endCxn id="17" idx="0"/>
          </p:cNvCxnSpPr>
          <p:nvPr/>
        </p:nvCxnSpPr>
        <p:spPr>
          <a:xfrm flipV="1">
            <a:off x="7357241" y="4535920"/>
            <a:ext cx="3582663" cy="421820"/>
          </a:xfrm>
          <a:prstGeom prst="curvedConnector4">
            <a:avLst>
              <a:gd name="adj1" fmla="val 37241"/>
              <a:gd name="adj2" fmla="val 154194"/>
            </a:avLst>
          </a:prstGeom>
          <a:ln>
            <a:solidFill>
              <a:srgbClr val="002060"/>
            </a:solidFill>
            <a:tailEnd type="triangle"/>
          </a:ln>
        </p:spPr>
        <p:style>
          <a:lnRef idx="1">
            <a:schemeClr val="accent2"/>
          </a:lnRef>
          <a:fillRef idx="0">
            <a:schemeClr val="accent2"/>
          </a:fillRef>
          <a:effectRef idx="0">
            <a:schemeClr val="accent2"/>
          </a:effectRef>
          <a:fontRef idx="minor">
            <a:schemeClr val="tx1"/>
          </a:fontRef>
        </p:style>
      </p:cxnSp>
      <p:sp>
        <p:nvSpPr>
          <p:cNvPr id="3" name="Segnaposto numero diapositiva 2">
            <a:extLst>
              <a:ext uri="{FF2B5EF4-FFF2-40B4-BE49-F238E27FC236}">
                <a16:creationId xmlns:a16="http://schemas.microsoft.com/office/drawing/2014/main" id="{B9939DFA-39F6-076C-CEFF-641412815F1F}"/>
              </a:ext>
            </a:extLst>
          </p:cNvPr>
          <p:cNvSpPr>
            <a:spLocks noGrp="1"/>
          </p:cNvSpPr>
          <p:nvPr>
            <p:ph type="sldNum" sz="quarter" idx="12"/>
          </p:nvPr>
        </p:nvSpPr>
        <p:spPr/>
        <p:txBody>
          <a:bodyPr/>
          <a:lstStyle/>
          <a:p>
            <a:fld id="{00F0C1FD-41C3-4D85-8E51-9C56B45C685D}" type="slidenum">
              <a:rPr lang="it-IT" smtClean="0">
                <a:latin typeface="Open Sans Light" panose="020B0306030504020204" pitchFamily="34" charset="0"/>
                <a:ea typeface="Open Sans Light" panose="020B0306030504020204" pitchFamily="34" charset="0"/>
                <a:cs typeface="Open Sans Light" panose="020B0306030504020204" pitchFamily="34" charset="0"/>
              </a:rPr>
              <a:t>6</a:t>
            </a:fld>
            <a:endParaRPr lang="it-IT">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4111279975"/>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anim calcmode="lin" valueType="num">
                                      <p:cBhvr>
                                        <p:cTn id="13" dur="1000" fill="hold"/>
                                        <p:tgtEl>
                                          <p:spTgt spid="10"/>
                                        </p:tgtEl>
                                        <p:attrNameLst>
                                          <p:attrName>ppt_x</p:attrName>
                                        </p:attrNameLst>
                                      </p:cBhvr>
                                      <p:tavLst>
                                        <p:tav tm="0">
                                          <p:val>
                                            <p:strVal val="#ppt_x"/>
                                          </p:val>
                                        </p:tav>
                                        <p:tav tm="100000">
                                          <p:val>
                                            <p:strVal val="#ppt_x"/>
                                          </p:val>
                                        </p:tav>
                                      </p:tavLst>
                                    </p:anim>
                                    <p:anim calcmode="lin" valueType="num">
                                      <p:cBhvr>
                                        <p:cTn id="1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1000"/>
                                        <p:tgtEl>
                                          <p:spTgt spid="12"/>
                                        </p:tgtEl>
                                      </p:cBhvr>
                                    </p:animEffect>
                                    <p:anim calcmode="lin" valueType="num">
                                      <p:cBhvr>
                                        <p:cTn id="20" dur="1000" fill="hold"/>
                                        <p:tgtEl>
                                          <p:spTgt spid="12"/>
                                        </p:tgtEl>
                                        <p:attrNameLst>
                                          <p:attrName>ppt_x</p:attrName>
                                        </p:attrNameLst>
                                      </p:cBhvr>
                                      <p:tavLst>
                                        <p:tav tm="0">
                                          <p:val>
                                            <p:strVal val="#ppt_x"/>
                                          </p:val>
                                        </p:tav>
                                        <p:tav tm="100000">
                                          <p:val>
                                            <p:strVal val="#ppt_x"/>
                                          </p:val>
                                        </p:tav>
                                      </p:tavLst>
                                    </p:anim>
                                    <p:anim calcmode="lin" valueType="num">
                                      <p:cBhvr>
                                        <p:cTn id="21" dur="1000" fill="hold"/>
                                        <p:tgtEl>
                                          <p:spTgt spid="12"/>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1000"/>
                                        <p:tgtEl>
                                          <p:spTgt spid="13"/>
                                        </p:tgtEl>
                                      </p:cBhvr>
                                    </p:animEffect>
                                    <p:anim calcmode="lin" valueType="num">
                                      <p:cBhvr>
                                        <p:cTn id="25" dur="1000" fill="hold"/>
                                        <p:tgtEl>
                                          <p:spTgt spid="13"/>
                                        </p:tgtEl>
                                        <p:attrNameLst>
                                          <p:attrName>ppt_x</p:attrName>
                                        </p:attrNameLst>
                                      </p:cBhvr>
                                      <p:tavLst>
                                        <p:tav tm="0">
                                          <p:val>
                                            <p:strVal val="#ppt_x"/>
                                          </p:val>
                                        </p:tav>
                                        <p:tav tm="100000">
                                          <p:val>
                                            <p:strVal val="#ppt_x"/>
                                          </p:val>
                                        </p:tav>
                                      </p:tavLst>
                                    </p:anim>
                                    <p:anim calcmode="lin" valueType="num">
                                      <p:cBhvr>
                                        <p:cTn id="26"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1000"/>
                                        <p:tgtEl>
                                          <p:spTgt spid="17"/>
                                        </p:tgtEl>
                                      </p:cBhvr>
                                    </p:animEffect>
                                    <p:anim calcmode="lin" valueType="num">
                                      <p:cBhvr>
                                        <p:cTn id="32" dur="1000" fill="hold"/>
                                        <p:tgtEl>
                                          <p:spTgt spid="17"/>
                                        </p:tgtEl>
                                        <p:attrNameLst>
                                          <p:attrName>ppt_x</p:attrName>
                                        </p:attrNameLst>
                                      </p:cBhvr>
                                      <p:tavLst>
                                        <p:tav tm="0">
                                          <p:val>
                                            <p:strVal val="#ppt_x"/>
                                          </p:val>
                                        </p:tav>
                                        <p:tav tm="100000">
                                          <p:val>
                                            <p:strVal val="#ppt_x"/>
                                          </p:val>
                                        </p:tav>
                                      </p:tavLst>
                                    </p:anim>
                                    <p:anim calcmode="lin" valueType="num">
                                      <p:cBhvr>
                                        <p:cTn id="33" dur="1000" fill="hold"/>
                                        <p:tgtEl>
                                          <p:spTgt spid="17"/>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1000"/>
                                        <p:tgtEl>
                                          <p:spTgt spid="18"/>
                                        </p:tgtEl>
                                      </p:cBhvr>
                                    </p:animEffect>
                                    <p:anim calcmode="lin" valueType="num">
                                      <p:cBhvr>
                                        <p:cTn id="37" dur="1000" fill="hold"/>
                                        <p:tgtEl>
                                          <p:spTgt spid="18"/>
                                        </p:tgtEl>
                                        <p:attrNameLst>
                                          <p:attrName>ppt_x</p:attrName>
                                        </p:attrNameLst>
                                      </p:cBhvr>
                                      <p:tavLst>
                                        <p:tav tm="0">
                                          <p:val>
                                            <p:strVal val="#ppt_x"/>
                                          </p:val>
                                        </p:tav>
                                        <p:tav tm="100000">
                                          <p:val>
                                            <p:strVal val="#ppt_x"/>
                                          </p:val>
                                        </p:tav>
                                      </p:tavLst>
                                    </p:anim>
                                    <p:anim calcmode="lin" valueType="num">
                                      <p:cBhvr>
                                        <p:cTn id="38"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7" grpId="0" animBg="1"/>
    </p:bld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olo 1">
            <a:extLst>
              <a:ext uri="{FF2B5EF4-FFF2-40B4-BE49-F238E27FC236}">
                <a16:creationId xmlns:a16="http://schemas.microsoft.com/office/drawing/2014/main" id="{F46E2FDE-BF7B-883C-1214-B89AF8AC25EC}"/>
              </a:ext>
            </a:extLst>
          </p:cNvPr>
          <p:cNvSpPr txBox="1">
            <a:spLocks/>
          </p:cNvSpPr>
          <p:nvPr/>
        </p:nvSpPr>
        <p:spPr>
          <a:xfrm>
            <a:off x="228600" y="176586"/>
            <a:ext cx="11124959" cy="6596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200" b="1">
                <a:latin typeface="Open Sans"/>
                <a:ea typeface="Open Sans"/>
                <a:cs typeface="Open Sans"/>
              </a:rPr>
              <a:t>Modalità di nomina e attivazione dell’incarico (3/3)</a:t>
            </a:r>
          </a:p>
        </p:txBody>
      </p:sp>
      <p:sp>
        <p:nvSpPr>
          <p:cNvPr id="6" name="Rettangolo 5">
            <a:extLst>
              <a:ext uri="{FF2B5EF4-FFF2-40B4-BE49-F238E27FC236}">
                <a16:creationId xmlns:a16="http://schemas.microsoft.com/office/drawing/2014/main" id="{6108F27A-9033-4DA1-B969-7DA12DDD4303}"/>
              </a:ext>
            </a:extLst>
          </p:cNvPr>
          <p:cNvSpPr/>
          <p:nvPr/>
        </p:nvSpPr>
        <p:spPr>
          <a:xfrm>
            <a:off x="4728000" y="1162542"/>
            <a:ext cx="2736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1600" b="1"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8" name="Rettangolo 7">
            <a:extLst>
              <a:ext uri="{FF2B5EF4-FFF2-40B4-BE49-F238E27FC236}">
                <a16:creationId xmlns:a16="http://schemas.microsoft.com/office/drawing/2014/main" id="{91C1A6F1-52C5-0971-8E0C-576C55176394}"/>
              </a:ext>
            </a:extLst>
          </p:cNvPr>
          <p:cNvSpPr/>
          <p:nvPr/>
        </p:nvSpPr>
        <p:spPr>
          <a:xfrm>
            <a:off x="396036" y="1594543"/>
            <a:ext cx="11397599" cy="706214"/>
          </a:xfrm>
          <a:prstGeom prst="rect">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lIns="252000" rIns="252000" rtlCol="0" anchor="ctr"/>
          <a:lstStyle/>
          <a:p>
            <a:pPr lvl="0" algn="just">
              <a:lnSpc>
                <a:spcPct val="130000"/>
              </a:lnSpc>
              <a:spcAft>
                <a:spcPts val="600"/>
              </a:spcAft>
              <a:defRPr/>
            </a:pPr>
            <a:r>
              <a:rPr kumimoji="0" lang="it-IT" sz="1400" b="0"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Qualora non l’abbia già fatto, dopo aver nominato i docenti tutor, il Dirigente scolastico provvede a formalizzare l’</a:t>
            </a:r>
            <a:r>
              <a:rPr kumimoji="0" lang="it-IT" sz="1400" b="1"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associazione dei docenti tutor con i raggruppamenti di studenti </a:t>
            </a:r>
            <a:r>
              <a:rPr kumimoji="0" lang="it-IT" sz="1400" b="0"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individuati dal Collegio dei docenti.</a:t>
            </a:r>
          </a:p>
        </p:txBody>
      </p:sp>
      <p:pic>
        <p:nvPicPr>
          <p:cNvPr id="9" name="Immagine 8">
            <a:extLst>
              <a:ext uri="{FF2B5EF4-FFF2-40B4-BE49-F238E27FC236}">
                <a16:creationId xmlns:a16="http://schemas.microsoft.com/office/drawing/2014/main" id="{A8A87F10-8CA6-30E5-6679-EBF631C8C03A}"/>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rcRect/>
          <a:stretch/>
        </p:blipFill>
        <p:spPr>
          <a:xfrm>
            <a:off x="2752307" y="2599694"/>
            <a:ext cx="6687385" cy="3682757"/>
          </a:xfrm>
          <a:prstGeom prst="rect">
            <a:avLst/>
          </a:prstGeom>
        </p:spPr>
      </p:pic>
      <p:sp>
        <p:nvSpPr>
          <p:cNvPr id="11" name="Rettangolo con angoli arrotondati 10">
            <a:extLst>
              <a:ext uri="{FF2B5EF4-FFF2-40B4-BE49-F238E27FC236}">
                <a16:creationId xmlns:a16="http://schemas.microsoft.com/office/drawing/2014/main" id="{004C6153-5BED-34C1-70D1-D227C54294D9}"/>
              </a:ext>
            </a:extLst>
          </p:cNvPr>
          <p:cNvSpPr/>
          <p:nvPr/>
        </p:nvSpPr>
        <p:spPr>
          <a:xfrm>
            <a:off x="545468" y="3790608"/>
            <a:ext cx="2119246" cy="720000"/>
          </a:xfrm>
          <a:prstGeom prst="roundRect">
            <a:avLst>
              <a:gd name="adj" fmla="val 2209"/>
            </a:avLst>
          </a:prstGeom>
          <a:solidFill>
            <a:srgbClr val="DAE3F3"/>
          </a:solidFill>
          <a:ln>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200" b="1" kern="0" noProof="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Premessa con principali riferimenti normativi</a:t>
            </a:r>
            <a:endParaRPr kumimoji="0" lang="it-IT" sz="1200" b="1" i="0" u="none" strike="noStrike" kern="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12" name="Rettangolo con angoli arrotondati 11">
            <a:extLst>
              <a:ext uri="{FF2B5EF4-FFF2-40B4-BE49-F238E27FC236}">
                <a16:creationId xmlns:a16="http://schemas.microsoft.com/office/drawing/2014/main" id="{28E8B658-23F5-A723-CFC7-326938F0DA34}"/>
              </a:ext>
            </a:extLst>
          </p:cNvPr>
          <p:cNvSpPr/>
          <p:nvPr/>
        </p:nvSpPr>
        <p:spPr>
          <a:xfrm>
            <a:off x="443674" y="5255920"/>
            <a:ext cx="2119246" cy="720000"/>
          </a:xfrm>
          <a:prstGeom prst="roundRect">
            <a:avLst>
              <a:gd name="adj" fmla="val 2209"/>
            </a:avLst>
          </a:prstGeom>
          <a:solidFill>
            <a:srgbClr val="DAE3F3"/>
          </a:solidFill>
          <a:ln>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1200" b="1" ker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Elenco degli studenti associati al Docente tutor e rispettiva classe</a:t>
            </a:r>
          </a:p>
        </p:txBody>
      </p:sp>
      <p:cxnSp>
        <p:nvCxnSpPr>
          <p:cNvPr id="13" name="Connettore curvo 12">
            <a:extLst>
              <a:ext uri="{FF2B5EF4-FFF2-40B4-BE49-F238E27FC236}">
                <a16:creationId xmlns:a16="http://schemas.microsoft.com/office/drawing/2014/main" id="{ABE86E44-F950-0191-EBF2-29073C389433}"/>
              </a:ext>
            </a:extLst>
          </p:cNvPr>
          <p:cNvCxnSpPr>
            <a:cxnSpLocks/>
            <a:endCxn id="12" idx="0"/>
          </p:cNvCxnSpPr>
          <p:nvPr/>
        </p:nvCxnSpPr>
        <p:spPr>
          <a:xfrm rot="10800000">
            <a:off x="1503298" y="5255920"/>
            <a:ext cx="1618275" cy="295538"/>
          </a:xfrm>
          <a:prstGeom prst="curvedConnector4">
            <a:avLst>
              <a:gd name="adj1" fmla="val 17261"/>
              <a:gd name="adj2" fmla="val 177350"/>
            </a:avLst>
          </a:prstGeom>
          <a:ln>
            <a:solidFill>
              <a:srgbClr val="002060"/>
            </a:solidFill>
            <a:tailEnd type="triangle"/>
          </a:ln>
        </p:spPr>
        <p:style>
          <a:lnRef idx="1">
            <a:schemeClr val="accent2"/>
          </a:lnRef>
          <a:fillRef idx="0">
            <a:schemeClr val="accent2"/>
          </a:fillRef>
          <a:effectRef idx="0">
            <a:schemeClr val="accent2"/>
          </a:effectRef>
          <a:fontRef idx="minor">
            <a:schemeClr val="tx1"/>
          </a:fontRef>
        </p:style>
      </p:cxnSp>
      <p:cxnSp>
        <p:nvCxnSpPr>
          <p:cNvPr id="10" name="Connettore curvo 9">
            <a:extLst>
              <a:ext uri="{FF2B5EF4-FFF2-40B4-BE49-F238E27FC236}">
                <a16:creationId xmlns:a16="http://schemas.microsoft.com/office/drawing/2014/main" id="{4AA0F10D-2F8F-7522-D98D-A348EBD4DA5B}"/>
              </a:ext>
            </a:extLst>
          </p:cNvPr>
          <p:cNvCxnSpPr>
            <a:cxnSpLocks/>
            <a:endCxn id="11" idx="0"/>
          </p:cNvCxnSpPr>
          <p:nvPr/>
        </p:nvCxnSpPr>
        <p:spPr>
          <a:xfrm rot="10800000" flipV="1">
            <a:off x="1605092" y="3624546"/>
            <a:ext cx="1387353" cy="166062"/>
          </a:xfrm>
          <a:prstGeom prst="curvedConnector2">
            <a:avLst/>
          </a:prstGeom>
          <a:ln>
            <a:solidFill>
              <a:srgbClr val="002060"/>
            </a:solidFill>
            <a:tailEnd type="triangle"/>
          </a:ln>
        </p:spPr>
        <p:style>
          <a:lnRef idx="1">
            <a:schemeClr val="accent2"/>
          </a:lnRef>
          <a:fillRef idx="0">
            <a:schemeClr val="accent2"/>
          </a:fillRef>
          <a:effectRef idx="0">
            <a:schemeClr val="accent2"/>
          </a:effectRef>
          <a:fontRef idx="minor">
            <a:schemeClr val="tx1"/>
          </a:fontRef>
        </p:style>
      </p:cxnSp>
      <p:sp>
        <p:nvSpPr>
          <p:cNvPr id="17" name="Rettangolo con angoli arrotondati 16">
            <a:extLst>
              <a:ext uri="{FF2B5EF4-FFF2-40B4-BE49-F238E27FC236}">
                <a16:creationId xmlns:a16="http://schemas.microsoft.com/office/drawing/2014/main" id="{92C7A482-467A-63E4-A499-72CE91AA54B4}"/>
              </a:ext>
            </a:extLst>
          </p:cNvPr>
          <p:cNvSpPr/>
          <p:nvPr/>
        </p:nvSpPr>
        <p:spPr>
          <a:xfrm>
            <a:off x="9764110" y="4535920"/>
            <a:ext cx="2090039" cy="720000"/>
          </a:xfrm>
          <a:prstGeom prst="roundRect">
            <a:avLst>
              <a:gd name="adj" fmla="val 2209"/>
            </a:avLst>
          </a:prstGeom>
          <a:solidFill>
            <a:srgbClr val="DAE3F3"/>
          </a:solidFill>
          <a:ln>
            <a:solidFill>
              <a:srgbClr val="002060"/>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lvl="0" algn="ctr">
              <a:defRPr/>
            </a:pPr>
            <a:r>
              <a:rPr lang="it-IT" sz="1200" b="1" kern="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Definizione della numerosità del raggruppamento assegnato</a:t>
            </a:r>
          </a:p>
        </p:txBody>
      </p:sp>
      <p:cxnSp>
        <p:nvCxnSpPr>
          <p:cNvPr id="18" name="Connettore curvo 17">
            <a:extLst>
              <a:ext uri="{FF2B5EF4-FFF2-40B4-BE49-F238E27FC236}">
                <a16:creationId xmlns:a16="http://schemas.microsoft.com/office/drawing/2014/main" id="{33BA32AF-4A39-45CC-3E73-857ABC5334B4}"/>
              </a:ext>
            </a:extLst>
          </p:cNvPr>
          <p:cNvCxnSpPr>
            <a:cxnSpLocks/>
            <a:endCxn id="17" idx="0"/>
          </p:cNvCxnSpPr>
          <p:nvPr/>
        </p:nvCxnSpPr>
        <p:spPr>
          <a:xfrm flipV="1">
            <a:off x="8849710" y="4535920"/>
            <a:ext cx="1959420" cy="421820"/>
          </a:xfrm>
          <a:prstGeom prst="curvedConnector4">
            <a:avLst>
              <a:gd name="adj1" fmla="val 23333"/>
              <a:gd name="adj2" fmla="val 154194"/>
            </a:avLst>
          </a:prstGeom>
          <a:ln>
            <a:solidFill>
              <a:srgbClr val="002060"/>
            </a:solidFill>
            <a:tailEnd type="triangle"/>
          </a:ln>
        </p:spPr>
        <p:style>
          <a:lnRef idx="1">
            <a:schemeClr val="accent2"/>
          </a:lnRef>
          <a:fillRef idx="0">
            <a:schemeClr val="accent2"/>
          </a:fillRef>
          <a:effectRef idx="0">
            <a:schemeClr val="accent2"/>
          </a:effectRef>
          <a:fontRef idx="minor">
            <a:schemeClr val="tx1"/>
          </a:fontRef>
        </p:style>
      </p:cxnSp>
      <p:cxnSp>
        <p:nvCxnSpPr>
          <p:cNvPr id="3" name="Connettore diritto 2">
            <a:extLst>
              <a:ext uri="{FF2B5EF4-FFF2-40B4-BE49-F238E27FC236}">
                <a16:creationId xmlns:a16="http://schemas.microsoft.com/office/drawing/2014/main" id="{9F9EE6AD-D125-C0BC-D2D4-48F7ADCAF8FE}"/>
              </a:ext>
            </a:extLst>
          </p:cNvPr>
          <p:cNvCxnSpPr>
            <a:cxnSpLocks/>
          </p:cNvCxnSpPr>
          <p:nvPr/>
        </p:nvCxnSpPr>
        <p:spPr>
          <a:xfrm>
            <a:off x="396037" y="1306542"/>
            <a:ext cx="11397600" cy="0"/>
          </a:xfrm>
          <a:prstGeom prst="line">
            <a:avLst/>
          </a:prstGeom>
          <a:ln>
            <a:solidFill>
              <a:schemeClr val="tx1"/>
            </a:solidFill>
          </a:ln>
        </p:spPr>
        <p:style>
          <a:lnRef idx="1">
            <a:schemeClr val="accent1"/>
          </a:lnRef>
          <a:fillRef idx="0">
            <a:schemeClr val="accent1"/>
          </a:fillRef>
          <a:effectRef idx="0">
            <a:schemeClr val="accent1"/>
          </a:effectRef>
          <a:fontRef idx="minor">
            <a:schemeClr val="tx1"/>
          </a:fontRef>
        </p:style>
      </p:cxnSp>
      <p:sp>
        <p:nvSpPr>
          <p:cNvPr id="4" name="Rettangolo 3">
            <a:extLst>
              <a:ext uri="{FF2B5EF4-FFF2-40B4-BE49-F238E27FC236}">
                <a16:creationId xmlns:a16="http://schemas.microsoft.com/office/drawing/2014/main" id="{DB97CFAF-E9A9-2E2F-5638-37B27FAC126C}"/>
              </a:ext>
            </a:extLst>
          </p:cNvPr>
          <p:cNvSpPr/>
          <p:nvPr/>
        </p:nvSpPr>
        <p:spPr>
          <a:xfrm>
            <a:off x="4456837" y="1162542"/>
            <a:ext cx="3276000" cy="288000"/>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lang="it-IT" sz="1600" b="1" i="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Associazione docente tutor-studenti</a:t>
            </a:r>
            <a:endParaRPr kumimoji="0" lang="it-IT" sz="1600" b="1"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sp>
        <p:nvSpPr>
          <p:cNvPr id="5" name="Segnaposto numero diapositiva 4">
            <a:extLst>
              <a:ext uri="{FF2B5EF4-FFF2-40B4-BE49-F238E27FC236}">
                <a16:creationId xmlns:a16="http://schemas.microsoft.com/office/drawing/2014/main" id="{86707E67-09C8-EA35-70DE-1C8382817FC7}"/>
              </a:ext>
            </a:extLst>
          </p:cNvPr>
          <p:cNvSpPr>
            <a:spLocks noGrp="1"/>
          </p:cNvSpPr>
          <p:nvPr>
            <p:ph type="sldNum" sz="quarter" idx="12"/>
          </p:nvPr>
        </p:nvSpPr>
        <p:spPr/>
        <p:txBody>
          <a:bodyPr/>
          <a:lstStyle/>
          <a:p>
            <a:fld id="{00F0C1FD-41C3-4D85-8E51-9C56B45C685D}" type="slidenum">
              <a:rPr lang="it-IT" smtClean="0">
                <a:latin typeface="Open Sans Light" panose="020B0306030504020204" pitchFamily="34" charset="0"/>
                <a:ea typeface="Open Sans Light" panose="020B0306030504020204" pitchFamily="34" charset="0"/>
                <a:cs typeface="Open Sans Light" panose="020B0306030504020204" pitchFamily="34" charset="0"/>
              </a:rPr>
              <a:t>7</a:t>
            </a:fld>
            <a:endParaRPr lang="it-IT">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3521931156"/>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42" presetClass="entr" presetSubtype="0" fill="hold" grpId="0" nodeType="clickEffect">
                                  <p:stCondLst>
                                    <p:cond delay="0"/>
                                  </p:stCondLst>
                                  <p:childTnLst>
                                    <p:set>
                                      <p:cBhvr>
                                        <p:cTn id="6" dur="1" fill="hold">
                                          <p:stCondLst>
                                            <p:cond delay="0"/>
                                          </p:stCondLst>
                                        </p:cTn>
                                        <p:tgtEl>
                                          <p:spTgt spid="11"/>
                                        </p:tgtEl>
                                        <p:attrNameLst>
                                          <p:attrName>style.visibility</p:attrName>
                                        </p:attrNameLst>
                                      </p:cBhvr>
                                      <p:to>
                                        <p:strVal val="visible"/>
                                      </p:to>
                                    </p:set>
                                    <p:animEffect transition="in" filter="fade">
                                      <p:cBhvr>
                                        <p:cTn id="7" dur="1000"/>
                                        <p:tgtEl>
                                          <p:spTgt spid="11"/>
                                        </p:tgtEl>
                                      </p:cBhvr>
                                    </p:animEffect>
                                    <p:anim calcmode="lin" valueType="num">
                                      <p:cBhvr>
                                        <p:cTn id="8" dur="1000" fill="hold"/>
                                        <p:tgtEl>
                                          <p:spTgt spid="11"/>
                                        </p:tgtEl>
                                        <p:attrNameLst>
                                          <p:attrName>ppt_x</p:attrName>
                                        </p:attrNameLst>
                                      </p:cBhvr>
                                      <p:tavLst>
                                        <p:tav tm="0">
                                          <p:val>
                                            <p:strVal val="#ppt_x"/>
                                          </p:val>
                                        </p:tav>
                                        <p:tav tm="100000">
                                          <p:val>
                                            <p:strVal val="#ppt_x"/>
                                          </p:val>
                                        </p:tav>
                                      </p:tavLst>
                                    </p:anim>
                                    <p:anim calcmode="lin" valueType="num">
                                      <p:cBhvr>
                                        <p:cTn id="9" dur="1000" fill="hold"/>
                                        <p:tgtEl>
                                          <p:spTgt spid="11"/>
                                        </p:tgtEl>
                                        <p:attrNameLst>
                                          <p:attrName>ppt_y</p:attrName>
                                        </p:attrNameLst>
                                      </p:cBhvr>
                                      <p:tavLst>
                                        <p:tav tm="0">
                                          <p:val>
                                            <p:strVal val="#ppt_y+.1"/>
                                          </p:val>
                                        </p:tav>
                                        <p:tav tm="100000">
                                          <p:val>
                                            <p:strVal val="#ppt_y"/>
                                          </p:val>
                                        </p:tav>
                                      </p:tavLst>
                                    </p:anim>
                                  </p:childTnLst>
                                </p:cTn>
                              </p:par>
                              <p:par>
                                <p:cTn id="10" presetID="42" presetClass="entr" presetSubtype="0" fill="hold" nodeType="withEffect">
                                  <p:stCondLst>
                                    <p:cond delay="0"/>
                                  </p:stCondLst>
                                  <p:childTnLst>
                                    <p:set>
                                      <p:cBhvr>
                                        <p:cTn id="11" dur="1" fill="hold">
                                          <p:stCondLst>
                                            <p:cond delay="0"/>
                                          </p:stCondLst>
                                        </p:cTn>
                                        <p:tgtEl>
                                          <p:spTgt spid="10"/>
                                        </p:tgtEl>
                                        <p:attrNameLst>
                                          <p:attrName>style.visibility</p:attrName>
                                        </p:attrNameLst>
                                      </p:cBhvr>
                                      <p:to>
                                        <p:strVal val="visible"/>
                                      </p:to>
                                    </p:set>
                                    <p:animEffect transition="in" filter="fade">
                                      <p:cBhvr>
                                        <p:cTn id="12" dur="1000"/>
                                        <p:tgtEl>
                                          <p:spTgt spid="10"/>
                                        </p:tgtEl>
                                      </p:cBhvr>
                                    </p:animEffect>
                                    <p:anim calcmode="lin" valueType="num">
                                      <p:cBhvr>
                                        <p:cTn id="13" dur="1000" fill="hold"/>
                                        <p:tgtEl>
                                          <p:spTgt spid="10"/>
                                        </p:tgtEl>
                                        <p:attrNameLst>
                                          <p:attrName>ppt_x</p:attrName>
                                        </p:attrNameLst>
                                      </p:cBhvr>
                                      <p:tavLst>
                                        <p:tav tm="0">
                                          <p:val>
                                            <p:strVal val="#ppt_x"/>
                                          </p:val>
                                        </p:tav>
                                        <p:tav tm="100000">
                                          <p:val>
                                            <p:strVal val="#ppt_x"/>
                                          </p:val>
                                        </p:tav>
                                      </p:tavLst>
                                    </p:anim>
                                    <p:anim calcmode="lin" valueType="num">
                                      <p:cBhvr>
                                        <p:cTn id="14" dur="1000" fill="hold"/>
                                        <p:tgtEl>
                                          <p:spTgt spid="10"/>
                                        </p:tgtEl>
                                        <p:attrNameLst>
                                          <p:attrName>ppt_y</p:attrName>
                                        </p:attrNameLst>
                                      </p:cBhvr>
                                      <p:tavLst>
                                        <p:tav tm="0">
                                          <p:val>
                                            <p:strVal val="#ppt_y+.1"/>
                                          </p:val>
                                        </p:tav>
                                        <p:tav tm="100000">
                                          <p:val>
                                            <p:strVal val="#ppt_y"/>
                                          </p:val>
                                        </p:tav>
                                      </p:tavLst>
                                    </p:anim>
                                  </p:childTnLst>
                                </p:cTn>
                              </p:par>
                            </p:childTnLst>
                          </p:cTn>
                        </p:par>
                      </p:childTnLst>
                    </p:cTn>
                  </p:par>
                  <p:par>
                    <p:cTn id="15" fill="hold">
                      <p:stCondLst>
                        <p:cond delay="indefinite"/>
                      </p:stCondLst>
                      <p:childTnLst>
                        <p:par>
                          <p:cTn id="16" fill="hold">
                            <p:stCondLst>
                              <p:cond delay="0"/>
                            </p:stCondLst>
                            <p:childTnLst>
                              <p:par>
                                <p:cTn id="17" presetID="42" presetClass="entr" presetSubtype="0" fill="hold" grpId="0" nodeType="clickEffect">
                                  <p:stCondLst>
                                    <p:cond delay="0"/>
                                  </p:stCondLst>
                                  <p:childTnLst>
                                    <p:set>
                                      <p:cBhvr>
                                        <p:cTn id="18" dur="1" fill="hold">
                                          <p:stCondLst>
                                            <p:cond delay="0"/>
                                          </p:stCondLst>
                                        </p:cTn>
                                        <p:tgtEl>
                                          <p:spTgt spid="12"/>
                                        </p:tgtEl>
                                        <p:attrNameLst>
                                          <p:attrName>style.visibility</p:attrName>
                                        </p:attrNameLst>
                                      </p:cBhvr>
                                      <p:to>
                                        <p:strVal val="visible"/>
                                      </p:to>
                                    </p:set>
                                    <p:animEffect transition="in" filter="fade">
                                      <p:cBhvr>
                                        <p:cTn id="19" dur="1000"/>
                                        <p:tgtEl>
                                          <p:spTgt spid="12"/>
                                        </p:tgtEl>
                                      </p:cBhvr>
                                    </p:animEffect>
                                    <p:anim calcmode="lin" valueType="num">
                                      <p:cBhvr>
                                        <p:cTn id="20" dur="1000" fill="hold"/>
                                        <p:tgtEl>
                                          <p:spTgt spid="12"/>
                                        </p:tgtEl>
                                        <p:attrNameLst>
                                          <p:attrName>ppt_x</p:attrName>
                                        </p:attrNameLst>
                                      </p:cBhvr>
                                      <p:tavLst>
                                        <p:tav tm="0">
                                          <p:val>
                                            <p:strVal val="#ppt_x"/>
                                          </p:val>
                                        </p:tav>
                                        <p:tav tm="100000">
                                          <p:val>
                                            <p:strVal val="#ppt_x"/>
                                          </p:val>
                                        </p:tav>
                                      </p:tavLst>
                                    </p:anim>
                                    <p:anim calcmode="lin" valueType="num">
                                      <p:cBhvr>
                                        <p:cTn id="21" dur="1000" fill="hold"/>
                                        <p:tgtEl>
                                          <p:spTgt spid="12"/>
                                        </p:tgtEl>
                                        <p:attrNameLst>
                                          <p:attrName>ppt_y</p:attrName>
                                        </p:attrNameLst>
                                      </p:cBhvr>
                                      <p:tavLst>
                                        <p:tav tm="0">
                                          <p:val>
                                            <p:strVal val="#ppt_y+.1"/>
                                          </p:val>
                                        </p:tav>
                                        <p:tav tm="100000">
                                          <p:val>
                                            <p:strVal val="#ppt_y"/>
                                          </p:val>
                                        </p:tav>
                                      </p:tavLst>
                                    </p:anim>
                                  </p:childTnLst>
                                </p:cTn>
                              </p:par>
                              <p:par>
                                <p:cTn id="22" presetID="42" presetClass="entr" presetSubtype="0" fill="hold" nodeType="withEffect">
                                  <p:stCondLst>
                                    <p:cond delay="0"/>
                                  </p:stCondLst>
                                  <p:childTnLst>
                                    <p:set>
                                      <p:cBhvr>
                                        <p:cTn id="23" dur="1" fill="hold">
                                          <p:stCondLst>
                                            <p:cond delay="0"/>
                                          </p:stCondLst>
                                        </p:cTn>
                                        <p:tgtEl>
                                          <p:spTgt spid="13"/>
                                        </p:tgtEl>
                                        <p:attrNameLst>
                                          <p:attrName>style.visibility</p:attrName>
                                        </p:attrNameLst>
                                      </p:cBhvr>
                                      <p:to>
                                        <p:strVal val="visible"/>
                                      </p:to>
                                    </p:set>
                                    <p:animEffect transition="in" filter="fade">
                                      <p:cBhvr>
                                        <p:cTn id="24" dur="1000"/>
                                        <p:tgtEl>
                                          <p:spTgt spid="13"/>
                                        </p:tgtEl>
                                      </p:cBhvr>
                                    </p:animEffect>
                                    <p:anim calcmode="lin" valueType="num">
                                      <p:cBhvr>
                                        <p:cTn id="25" dur="1000" fill="hold"/>
                                        <p:tgtEl>
                                          <p:spTgt spid="13"/>
                                        </p:tgtEl>
                                        <p:attrNameLst>
                                          <p:attrName>ppt_x</p:attrName>
                                        </p:attrNameLst>
                                      </p:cBhvr>
                                      <p:tavLst>
                                        <p:tav tm="0">
                                          <p:val>
                                            <p:strVal val="#ppt_x"/>
                                          </p:val>
                                        </p:tav>
                                        <p:tav tm="100000">
                                          <p:val>
                                            <p:strVal val="#ppt_x"/>
                                          </p:val>
                                        </p:tav>
                                      </p:tavLst>
                                    </p:anim>
                                    <p:anim calcmode="lin" valueType="num">
                                      <p:cBhvr>
                                        <p:cTn id="26" dur="1000" fill="hold"/>
                                        <p:tgtEl>
                                          <p:spTgt spid="13"/>
                                        </p:tgtEl>
                                        <p:attrNameLst>
                                          <p:attrName>ppt_y</p:attrName>
                                        </p:attrNameLst>
                                      </p:cBhvr>
                                      <p:tavLst>
                                        <p:tav tm="0">
                                          <p:val>
                                            <p:strVal val="#ppt_y+.1"/>
                                          </p:val>
                                        </p:tav>
                                        <p:tav tm="100000">
                                          <p:val>
                                            <p:strVal val="#ppt_y"/>
                                          </p:val>
                                        </p:tav>
                                      </p:tavLst>
                                    </p:anim>
                                  </p:childTnLst>
                                </p:cTn>
                              </p:par>
                            </p:childTnLst>
                          </p:cTn>
                        </p:par>
                      </p:childTnLst>
                    </p:cTn>
                  </p:par>
                  <p:par>
                    <p:cTn id="27" fill="hold">
                      <p:stCondLst>
                        <p:cond delay="indefinite"/>
                      </p:stCondLst>
                      <p:childTnLst>
                        <p:par>
                          <p:cTn id="28" fill="hold">
                            <p:stCondLst>
                              <p:cond delay="0"/>
                            </p:stCondLst>
                            <p:childTnLst>
                              <p:par>
                                <p:cTn id="29" presetID="42" presetClass="entr" presetSubtype="0" fill="hold" grpId="0" nodeType="clickEffect">
                                  <p:stCondLst>
                                    <p:cond delay="0"/>
                                  </p:stCondLst>
                                  <p:childTnLst>
                                    <p:set>
                                      <p:cBhvr>
                                        <p:cTn id="30" dur="1" fill="hold">
                                          <p:stCondLst>
                                            <p:cond delay="0"/>
                                          </p:stCondLst>
                                        </p:cTn>
                                        <p:tgtEl>
                                          <p:spTgt spid="17"/>
                                        </p:tgtEl>
                                        <p:attrNameLst>
                                          <p:attrName>style.visibility</p:attrName>
                                        </p:attrNameLst>
                                      </p:cBhvr>
                                      <p:to>
                                        <p:strVal val="visible"/>
                                      </p:to>
                                    </p:set>
                                    <p:animEffect transition="in" filter="fade">
                                      <p:cBhvr>
                                        <p:cTn id="31" dur="1000"/>
                                        <p:tgtEl>
                                          <p:spTgt spid="17"/>
                                        </p:tgtEl>
                                      </p:cBhvr>
                                    </p:animEffect>
                                    <p:anim calcmode="lin" valueType="num">
                                      <p:cBhvr>
                                        <p:cTn id="32" dur="1000" fill="hold"/>
                                        <p:tgtEl>
                                          <p:spTgt spid="17"/>
                                        </p:tgtEl>
                                        <p:attrNameLst>
                                          <p:attrName>ppt_x</p:attrName>
                                        </p:attrNameLst>
                                      </p:cBhvr>
                                      <p:tavLst>
                                        <p:tav tm="0">
                                          <p:val>
                                            <p:strVal val="#ppt_x"/>
                                          </p:val>
                                        </p:tav>
                                        <p:tav tm="100000">
                                          <p:val>
                                            <p:strVal val="#ppt_x"/>
                                          </p:val>
                                        </p:tav>
                                      </p:tavLst>
                                    </p:anim>
                                    <p:anim calcmode="lin" valueType="num">
                                      <p:cBhvr>
                                        <p:cTn id="33" dur="1000" fill="hold"/>
                                        <p:tgtEl>
                                          <p:spTgt spid="17"/>
                                        </p:tgtEl>
                                        <p:attrNameLst>
                                          <p:attrName>ppt_y</p:attrName>
                                        </p:attrNameLst>
                                      </p:cBhvr>
                                      <p:tavLst>
                                        <p:tav tm="0">
                                          <p:val>
                                            <p:strVal val="#ppt_y+.1"/>
                                          </p:val>
                                        </p:tav>
                                        <p:tav tm="100000">
                                          <p:val>
                                            <p:strVal val="#ppt_y"/>
                                          </p:val>
                                        </p:tav>
                                      </p:tavLst>
                                    </p:anim>
                                  </p:childTnLst>
                                </p:cTn>
                              </p:par>
                              <p:par>
                                <p:cTn id="34" presetID="42" presetClass="entr" presetSubtype="0" fill="hold" nodeType="withEffect">
                                  <p:stCondLst>
                                    <p:cond delay="0"/>
                                  </p:stCondLst>
                                  <p:childTnLst>
                                    <p:set>
                                      <p:cBhvr>
                                        <p:cTn id="35" dur="1" fill="hold">
                                          <p:stCondLst>
                                            <p:cond delay="0"/>
                                          </p:stCondLst>
                                        </p:cTn>
                                        <p:tgtEl>
                                          <p:spTgt spid="18"/>
                                        </p:tgtEl>
                                        <p:attrNameLst>
                                          <p:attrName>style.visibility</p:attrName>
                                        </p:attrNameLst>
                                      </p:cBhvr>
                                      <p:to>
                                        <p:strVal val="visible"/>
                                      </p:to>
                                    </p:set>
                                    <p:animEffect transition="in" filter="fade">
                                      <p:cBhvr>
                                        <p:cTn id="36" dur="1000"/>
                                        <p:tgtEl>
                                          <p:spTgt spid="18"/>
                                        </p:tgtEl>
                                      </p:cBhvr>
                                    </p:animEffect>
                                    <p:anim calcmode="lin" valueType="num">
                                      <p:cBhvr>
                                        <p:cTn id="37" dur="1000" fill="hold"/>
                                        <p:tgtEl>
                                          <p:spTgt spid="18"/>
                                        </p:tgtEl>
                                        <p:attrNameLst>
                                          <p:attrName>ppt_x</p:attrName>
                                        </p:attrNameLst>
                                      </p:cBhvr>
                                      <p:tavLst>
                                        <p:tav tm="0">
                                          <p:val>
                                            <p:strVal val="#ppt_x"/>
                                          </p:val>
                                        </p:tav>
                                        <p:tav tm="100000">
                                          <p:val>
                                            <p:strVal val="#ppt_x"/>
                                          </p:val>
                                        </p:tav>
                                      </p:tavLst>
                                    </p:anim>
                                    <p:anim calcmode="lin" valueType="num">
                                      <p:cBhvr>
                                        <p:cTn id="38" dur="1000" fill="hold"/>
                                        <p:tgtEl>
                                          <p:spTgt spid="18"/>
                                        </p:tgtEl>
                                        <p:attrNameLst>
                                          <p:attrName>ppt_y</p:attrName>
                                        </p:attrNameLst>
                                      </p:cBhvr>
                                      <p:tavLst>
                                        <p:tav tm="0">
                                          <p:val>
                                            <p:strVal val="#ppt_y+.1"/>
                                          </p:val>
                                        </p:tav>
                                        <p:tav tm="100000">
                                          <p:val>
                                            <p:strVal val="#ppt_y"/>
                                          </p:val>
                                        </p:tav>
                                      </p:tavLst>
                                    </p:anim>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1" grpId="0" animBg="1"/>
      <p:bldP spid="12" grpId="0" animBg="1"/>
      <p:bldP spid="17" grpId="0" animBg="1"/>
    </p:bldLst>
  </p:timing>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7" name="Elemento grafico 6">
            <a:extLst>
              <a:ext uri="{FF2B5EF4-FFF2-40B4-BE49-F238E27FC236}">
                <a16:creationId xmlns:a16="http://schemas.microsoft.com/office/drawing/2014/main" id="{ACA764E1-566F-48B8-A0F4-21E6670E8322}"/>
              </a:ext>
            </a:extLst>
          </p:cNvPr>
          <p:cNvPicPr>
            <a:picLocks noChangeAspect="1"/>
          </p:cNvPicPr>
          <p:nvPr/>
        </p:nvPicPr>
        <p:blipFill>
          <a:blip r:embed="rId3">
            <a:extLst>
              <a:ext uri="{28A0092B-C50C-407E-A947-70E740481C1C}">
                <a14:useLocalDpi xmlns:a14="http://schemas.microsoft.com/office/drawing/2010/main" val="0"/>
              </a:ext>
              <a:ext uri="{96DAC541-7B7A-43D3-8B79-37D633B846F1}">
                <asvg:svgBlip xmlns:asvg="http://schemas.microsoft.com/office/drawing/2016/SVG/main" r:embed="rId4"/>
              </a:ext>
            </a:extLst>
          </a:blip>
          <a:srcRect/>
          <a:stretch/>
        </p:blipFill>
        <p:spPr>
          <a:xfrm>
            <a:off x="8140551" y="2425551"/>
            <a:ext cx="2006899" cy="2006899"/>
          </a:xfrm>
          <a:prstGeom prst="rect">
            <a:avLst/>
          </a:prstGeom>
        </p:spPr>
      </p:pic>
      <p:sp>
        <p:nvSpPr>
          <p:cNvPr id="3" name="Rettangolo con angoli arrotondati 2">
            <a:extLst>
              <a:ext uri="{FF2B5EF4-FFF2-40B4-BE49-F238E27FC236}">
                <a16:creationId xmlns:a16="http://schemas.microsoft.com/office/drawing/2014/main" id="{D3930FD5-2A12-426D-937C-99961F70DEFA}"/>
              </a:ext>
            </a:extLst>
          </p:cNvPr>
          <p:cNvSpPr/>
          <p:nvPr/>
        </p:nvSpPr>
        <p:spPr>
          <a:xfrm>
            <a:off x="338328" y="3370768"/>
            <a:ext cx="4572000" cy="301752"/>
          </a:xfrm>
          <a:prstGeom prst="roundRect">
            <a:avLst/>
          </a:prstGeom>
          <a:solidFill>
            <a:srgbClr val="DEEBF7"/>
          </a:solidFill>
          <a:ln>
            <a:noFill/>
          </a:ln>
        </p:spPr>
        <p:style>
          <a:lnRef idx="2">
            <a:schemeClr val="accent1">
              <a:shade val="50000"/>
            </a:schemeClr>
          </a:lnRef>
          <a:fillRef idx="1">
            <a:schemeClr val="accent1"/>
          </a:fillRef>
          <a:effectRef idx="0">
            <a:schemeClr val="accent1"/>
          </a:effectRef>
          <a:fontRef idx="minor">
            <a:schemeClr val="lt1"/>
          </a:fontRef>
        </p:style>
        <p:txBody>
          <a:bodyPr lIns="54000" tIns="54000" rIns="54000" bIns="54000"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it-IT" sz="900" b="0" i="0" u="none" strike="noStrike" kern="1200" cap="none" spc="0" normalizeH="0" baseline="0" noProof="0">
              <a:ln>
                <a:noFill/>
              </a:ln>
              <a:solidFill>
                <a:prstClr val="white"/>
              </a:solidFill>
              <a:effectLst/>
              <a:uLnTx/>
              <a:uFillTx/>
              <a:latin typeface="Arial"/>
              <a:ea typeface="+mn-ea"/>
              <a:cs typeface="+mn-cs"/>
            </a:endParaRPr>
          </a:p>
        </p:txBody>
      </p:sp>
      <p:sp>
        <p:nvSpPr>
          <p:cNvPr id="8" name="Pentagono 88">
            <a:extLst>
              <a:ext uri="{FF2B5EF4-FFF2-40B4-BE49-F238E27FC236}">
                <a16:creationId xmlns:a16="http://schemas.microsoft.com/office/drawing/2014/main" id="{3AFF9277-D155-498F-BDDB-2AD7263FAFB2}"/>
              </a:ext>
            </a:extLst>
          </p:cNvPr>
          <p:cNvSpPr/>
          <p:nvPr/>
        </p:nvSpPr>
        <p:spPr>
          <a:xfrm>
            <a:off x="357982" y="2044553"/>
            <a:ext cx="5623718" cy="2376114"/>
          </a:xfrm>
          <a:prstGeom prst="rect">
            <a:avLst/>
          </a:prstGeom>
          <a:noFill/>
          <a:ln w="12700" cap="flat" cmpd="sng" algn="ctr">
            <a:noFill/>
            <a:prstDash val="solid"/>
            <a:miter lim="800000"/>
          </a:ln>
          <a:effectLst/>
        </p:spPr>
        <p:txBody>
          <a:bodyPr lIns="144000" tIns="0" rIns="0" bIns="0" rtlCol="0" anchor="ctr"/>
          <a:lstStyle/>
          <a:p>
            <a:pPr marL="0" marR="0" lvl="0" indent="0" algn="just" defTabSz="914400" rtl="0" eaLnBrk="1" fontAlgn="base" latinLnBrk="0" hangingPunct="1">
              <a:lnSpc>
                <a:spcPct val="120000"/>
              </a:lnSpc>
              <a:spcBef>
                <a:spcPct val="0"/>
              </a:spcBef>
              <a:spcAft>
                <a:spcPts val="1200"/>
              </a:spcAft>
              <a:buClrTx/>
              <a:buSzTx/>
              <a:buFontTx/>
              <a:buNone/>
              <a:tabLst/>
              <a:defRPr/>
            </a:pPr>
            <a:r>
              <a:rPr kumimoji="0" lang="it-IT" sz="2200" b="1" i="0" u="none" strike="noStrike" kern="0" cap="small" spc="0" normalizeH="0" baseline="0" noProof="0" dirty="0">
                <a:ln>
                  <a:noFill/>
                </a:ln>
                <a:solidFill>
                  <a:srgbClr val="049EE2"/>
                </a:solidFill>
                <a:effectLst/>
                <a:uLnTx/>
                <a:uFillTx/>
                <a:latin typeface="Open Sans Light"/>
                <a:ea typeface="Open Sans Light"/>
                <a:cs typeface="Open Sans Light"/>
              </a:rPr>
              <a:t>Agenda</a:t>
            </a:r>
          </a:p>
          <a:p>
            <a:pPr marL="285750" marR="0" lvl="0" indent="-285750" algn="just" defTabSz="914400" rtl="0" eaLnBrk="1" fontAlgn="base" latinLnBrk="0" hangingPunct="1">
              <a:lnSpc>
                <a:spcPct val="120000"/>
              </a:lnSpc>
              <a:spcBef>
                <a:spcPct val="0"/>
              </a:spcBef>
              <a:spcAft>
                <a:spcPts val="1200"/>
              </a:spcAft>
              <a:buClrTx/>
              <a:buSzTx/>
              <a:buFont typeface="Wingdings" panose="05000000000000000000" pitchFamily="2" charset="2"/>
              <a:buChar char="ü"/>
              <a:tabLst/>
              <a:defRPr/>
            </a:pPr>
            <a:r>
              <a:rPr kumimoji="0" lang="it-IT" sz="1400" b="0" i="0" u="none" strike="noStrike" kern="0" cap="none" spc="0" normalizeH="0" baseline="0" noProof="0" dirty="0">
                <a:ln>
                  <a:noFill/>
                </a:ln>
                <a:solidFill>
                  <a:prstClr val="black"/>
                </a:solidFill>
                <a:effectLst/>
                <a:uLnTx/>
                <a:uFillTx/>
                <a:latin typeface="Open Sans Light"/>
                <a:ea typeface="Open Sans Light"/>
                <a:cs typeface="Open Sans Light"/>
              </a:rPr>
              <a:t>Ruolo del docente tutor e del docente orientatore</a:t>
            </a:r>
          </a:p>
          <a:p>
            <a:pPr marL="285750" marR="0" lvl="0" indent="-285750" algn="just" defTabSz="914400" rtl="0" eaLnBrk="1" fontAlgn="base" latinLnBrk="0" hangingPunct="1">
              <a:lnSpc>
                <a:spcPct val="120000"/>
              </a:lnSpc>
              <a:spcBef>
                <a:spcPct val="0"/>
              </a:spcBef>
              <a:spcAft>
                <a:spcPts val="1200"/>
              </a:spcAft>
              <a:buClrTx/>
              <a:buSzTx/>
              <a:buFont typeface="Wingdings" panose="05000000000000000000" pitchFamily="2" charset="2"/>
              <a:buChar char="ü"/>
              <a:tabLst/>
              <a:defRPr/>
            </a:pPr>
            <a:r>
              <a:rPr kumimoji="0" lang="it-IT" sz="1400" i="0" u="none" strike="noStrike" kern="0" cap="none" spc="0" normalizeH="0" baseline="0" noProof="0" dirty="0">
                <a:ln>
                  <a:noFill/>
                </a:ln>
                <a:solidFill>
                  <a:prstClr val="black"/>
                </a:solidFill>
                <a:effectLst/>
                <a:uLnTx/>
                <a:uFillTx/>
                <a:latin typeface="Open Sans Light"/>
                <a:ea typeface="Open Sans Light"/>
                <a:cs typeface="Open Sans Light"/>
              </a:rPr>
              <a:t>Modalità di nomina e attivazione dell’incarico</a:t>
            </a:r>
          </a:p>
          <a:p>
            <a:pPr marL="285750" marR="0" lvl="0" indent="-285750" algn="just" defTabSz="914400" rtl="0" eaLnBrk="1" fontAlgn="base" latinLnBrk="0" hangingPunct="1">
              <a:lnSpc>
                <a:spcPct val="120000"/>
              </a:lnSpc>
              <a:spcBef>
                <a:spcPct val="0"/>
              </a:spcBef>
              <a:spcAft>
                <a:spcPts val="1200"/>
              </a:spcAft>
              <a:buClrTx/>
              <a:buSzTx/>
              <a:buFont typeface="Wingdings" panose="05000000000000000000" pitchFamily="2" charset="2"/>
              <a:buChar char="ü"/>
              <a:tabLst/>
              <a:defRPr/>
            </a:pPr>
            <a:r>
              <a:rPr kumimoji="0" lang="it-IT" sz="1400" b="1" i="0" u="none" strike="noStrike" kern="0" cap="none" spc="0" normalizeH="0" baseline="0" noProof="0" dirty="0">
                <a:ln>
                  <a:noFill/>
                </a:ln>
                <a:solidFill>
                  <a:prstClr val="black"/>
                </a:solidFill>
                <a:effectLst/>
                <a:uLnTx/>
                <a:uFillTx/>
                <a:latin typeface="Open Sans Light"/>
                <a:ea typeface="Open Sans Light"/>
                <a:cs typeface="Open Sans Light"/>
              </a:rPr>
              <a:t>Principali richieste di chiarimento delle Scuole</a:t>
            </a:r>
          </a:p>
          <a:p>
            <a:pPr marL="285750" marR="0" lvl="0" indent="-285750" algn="just" defTabSz="914400" rtl="0" eaLnBrk="1" fontAlgn="base" latinLnBrk="0" hangingPunct="1">
              <a:lnSpc>
                <a:spcPct val="120000"/>
              </a:lnSpc>
              <a:spcBef>
                <a:spcPct val="0"/>
              </a:spcBef>
              <a:spcAft>
                <a:spcPts val="1200"/>
              </a:spcAft>
              <a:buClrTx/>
              <a:buSzTx/>
              <a:buFont typeface="Wingdings" panose="05000000000000000000" pitchFamily="2" charset="2"/>
              <a:buChar char="ü"/>
              <a:tabLst/>
              <a:defRPr/>
            </a:pPr>
            <a:r>
              <a:rPr kumimoji="0" lang="it-IT" sz="1400" b="0"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UNICA: abilitazione e </a:t>
            </a:r>
            <a:r>
              <a:rPr kumimoji="0" lang="it-IT" sz="1400" b="0" i="0" u="none" strike="noStrike" kern="0" cap="none" spc="0" normalizeH="0" baseline="0" noProof="0" dirty="0" err="1">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fun</a:t>
            </a:r>
            <a:r>
              <a:rPr kumimoji="0" lang="it-IT" sz="1400" b="0"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zioni</a:t>
            </a:r>
          </a:p>
          <a:p>
            <a:pPr marL="285750" marR="0" lvl="0" indent="-285750" algn="just" defTabSz="914400" rtl="0" eaLnBrk="1" fontAlgn="base" latinLnBrk="0" hangingPunct="1">
              <a:lnSpc>
                <a:spcPct val="120000"/>
              </a:lnSpc>
              <a:spcBef>
                <a:spcPct val="0"/>
              </a:spcBef>
              <a:spcAft>
                <a:spcPts val="1200"/>
              </a:spcAft>
              <a:buClrTx/>
              <a:buSzTx/>
              <a:buFont typeface="Wingdings" panose="05000000000000000000" pitchFamily="2" charset="2"/>
              <a:buChar char="ü"/>
              <a:tabLst/>
              <a:defRPr/>
            </a:pPr>
            <a:r>
              <a:rPr kumimoji="0" lang="it-IT" sz="1400" b="0" i="0" u="none" strike="noStrike" kern="0" cap="none" spc="0" normalizeH="0" baseline="0" noProof="0" dirty="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nclusioni</a:t>
            </a:r>
          </a:p>
        </p:txBody>
      </p:sp>
      <p:pic>
        <p:nvPicPr>
          <p:cNvPr id="10" name="Picture 2">
            <a:extLst>
              <a:ext uri="{FF2B5EF4-FFF2-40B4-BE49-F238E27FC236}">
                <a16:creationId xmlns:a16="http://schemas.microsoft.com/office/drawing/2014/main" id="{624CC880-2EE6-4103-8334-184DB2FA6C96}"/>
              </a:ext>
            </a:extLst>
          </p:cNvPr>
          <p:cNvPicPr>
            <a:picLocks noChangeAspect="1"/>
          </p:cNvPicPr>
          <p:nvPr/>
        </p:nvPicPr>
        <p:blipFill rotWithShape="1">
          <a:blip r:embed="rId5"/>
          <a:srcRect l="50937"/>
          <a:stretch/>
        </p:blipFill>
        <p:spPr>
          <a:xfrm>
            <a:off x="6210300" y="0"/>
            <a:ext cx="5981700" cy="6858000"/>
          </a:xfrm>
          <a:prstGeom prst="rect">
            <a:avLst/>
          </a:prstGeom>
          <a:effectLst>
            <a:outerShdw blurRad="50800" dist="38100" dir="10800000" algn="r" rotWithShape="0">
              <a:prstClr val="black">
                <a:alpha val="40000"/>
              </a:prstClr>
            </a:outerShdw>
          </a:effectLst>
        </p:spPr>
      </p:pic>
    </p:spTree>
    <p:extLst>
      <p:ext uri="{BB962C8B-B14F-4D97-AF65-F5344CB8AC3E}">
        <p14:creationId xmlns:p14="http://schemas.microsoft.com/office/powerpoint/2010/main" val="833492133"/>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9" name="Rectangle 27">
            <a:extLst>
              <a:ext uri="{FF2B5EF4-FFF2-40B4-BE49-F238E27FC236}">
                <a16:creationId xmlns:a16="http://schemas.microsoft.com/office/drawing/2014/main" id="{D4AD7BC7-19A1-69A6-1713-07528DCEE1CD}"/>
              </a:ext>
            </a:extLst>
          </p:cNvPr>
          <p:cNvSpPr/>
          <p:nvPr/>
        </p:nvSpPr>
        <p:spPr>
          <a:xfrm>
            <a:off x="1234200" y="1360800"/>
            <a:ext cx="9723600" cy="896727"/>
          </a:xfrm>
          <a:prstGeom prst="rect">
            <a:avLst/>
          </a:prstGeom>
          <a:solidFill>
            <a:schemeClr val="bg1"/>
          </a:solidFill>
          <a:ln w="19050">
            <a:solidFill>
              <a:srgbClr val="A6DAE9"/>
            </a:solidFill>
          </a:ln>
        </p:spPr>
        <p:style>
          <a:lnRef idx="2">
            <a:schemeClr val="accent1">
              <a:shade val="50000"/>
            </a:schemeClr>
          </a:lnRef>
          <a:fillRef idx="1">
            <a:schemeClr val="accent1"/>
          </a:fillRef>
          <a:effectRef idx="0">
            <a:schemeClr val="accent1"/>
          </a:effectRef>
          <a:fontRef idx="minor">
            <a:schemeClr val="lt1"/>
          </a:fontRef>
        </p:style>
        <p:txBody>
          <a:bodyPr lIns="216000" tIns="108000" rIns="216000" bIns="108000" rtlCol="0" anchor="ctr"/>
          <a:lstStyle/>
          <a:p>
            <a:pPr marL="0" marR="0" lvl="0" indent="0" algn="ctr" defTabSz="914400" rtl="0" eaLnBrk="1" fontAlgn="auto" latinLnBrk="0" hangingPunct="1">
              <a:lnSpc>
                <a:spcPct val="120000"/>
              </a:lnSpc>
              <a:spcBef>
                <a:spcPts val="300"/>
              </a:spcBef>
              <a:spcAft>
                <a:spcPts val="300"/>
              </a:spcAft>
              <a:buClrTx/>
              <a:buSzTx/>
              <a:buFontTx/>
              <a:buNone/>
              <a:tabLst/>
              <a:defRPr/>
            </a:pPr>
            <a:r>
              <a:rPr kumimoji="0" lang="it-IT" sz="1600" b="1" i="1"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Qual è il ruolo del docente tutor nella progettazione dei moduli di orientamento da 30 ore?</a:t>
            </a:r>
          </a:p>
        </p:txBody>
      </p:sp>
      <p:sp>
        <p:nvSpPr>
          <p:cNvPr id="2" name="Titolo 1">
            <a:extLst>
              <a:ext uri="{FF2B5EF4-FFF2-40B4-BE49-F238E27FC236}">
                <a16:creationId xmlns:a16="http://schemas.microsoft.com/office/drawing/2014/main" id="{F46E2FDE-BF7B-883C-1214-B89AF8AC25EC}"/>
              </a:ext>
            </a:extLst>
          </p:cNvPr>
          <p:cNvSpPr txBox="1">
            <a:spLocks/>
          </p:cNvSpPr>
          <p:nvPr/>
        </p:nvSpPr>
        <p:spPr>
          <a:xfrm>
            <a:off x="228600" y="176586"/>
            <a:ext cx="11124959" cy="659634"/>
          </a:xfrm>
          <a:prstGeom prst="rect">
            <a:avLst/>
          </a:prstGeom>
        </p:spPr>
        <p:txBody>
          <a:bodyPr vert="horz" lIns="91440" tIns="45720" rIns="91440" bIns="45720" rtlCol="0" anchor="ctr">
            <a:noAutofit/>
          </a:bodyPr>
          <a:lstStyle>
            <a:lvl1pPr algn="l" defTabSz="914400" rtl="0" eaLnBrk="1" latinLnBrk="0" hangingPunct="1">
              <a:lnSpc>
                <a:spcPct val="90000"/>
              </a:lnSpc>
              <a:spcBef>
                <a:spcPct val="0"/>
              </a:spcBef>
              <a:buNone/>
              <a:defRPr sz="4400" kern="1200">
                <a:solidFill>
                  <a:schemeClr val="tx1"/>
                </a:solidFill>
                <a:latin typeface="+mj-lt"/>
                <a:ea typeface="+mj-ea"/>
                <a:cs typeface="+mj-cs"/>
              </a:defRPr>
            </a:lvl1pPr>
          </a:lstStyle>
          <a:p>
            <a:r>
              <a:rPr lang="it-IT" sz="2200" b="1" dirty="0">
                <a:latin typeface="Open Sans"/>
                <a:ea typeface="Open Sans"/>
                <a:cs typeface="Open Sans"/>
              </a:rPr>
              <a:t>Principali richieste di chiarimento delle Scuole (1/9)</a:t>
            </a:r>
            <a:endParaRPr lang="it-IT" sz="2000" b="1" i="1" dirty="0"/>
          </a:p>
        </p:txBody>
      </p:sp>
      <p:sp>
        <p:nvSpPr>
          <p:cNvPr id="81" name="Rectangle 27">
            <a:extLst>
              <a:ext uri="{FF2B5EF4-FFF2-40B4-BE49-F238E27FC236}">
                <a16:creationId xmlns:a16="http://schemas.microsoft.com/office/drawing/2014/main" id="{857BA48E-8023-9F58-DC20-7E6F63F21941}"/>
              </a:ext>
            </a:extLst>
          </p:cNvPr>
          <p:cNvSpPr/>
          <p:nvPr/>
        </p:nvSpPr>
        <p:spPr>
          <a:xfrm>
            <a:off x="1234200" y="3067282"/>
            <a:ext cx="9723601" cy="2916986"/>
          </a:xfrm>
          <a:prstGeom prst="rect">
            <a:avLst/>
          </a:prstGeom>
          <a:solidFill>
            <a:schemeClr val="bg1"/>
          </a:solidFill>
          <a:ln w="19050">
            <a:solidFill>
              <a:srgbClr val="DAE3F3"/>
            </a:solidFill>
          </a:ln>
        </p:spPr>
        <p:style>
          <a:lnRef idx="2">
            <a:schemeClr val="accent1">
              <a:shade val="50000"/>
            </a:schemeClr>
          </a:lnRef>
          <a:fillRef idx="1">
            <a:schemeClr val="accent1"/>
          </a:fillRef>
          <a:effectRef idx="0">
            <a:schemeClr val="accent1"/>
          </a:effectRef>
          <a:fontRef idx="minor">
            <a:schemeClr val="lt1"/>
          </a:fontRef>
        </p:style>
        <p:txBody>
          <a:bodyPr lIns="216000" tIns="108000" rIns="216000" bIns="108000" rtlCol="0" anchor="ctr"/>
          <a:lstStyle/>
          <a:p>
            <a:pPr marL="0" marR="0" lvl="0" indent="0" algn="just" defTabSz="914400" rtl="0" eaLnBrk="1" fontAlgn="auto" latinLnBrk="0" hangingPunct="1">
              <a:lnSpc>
                <a:spcPct val="120000"/>
              </a:lnSpc>
              <a:spcBef>
                <a:spcPts val="300"/>
              </a:spcBef>
              <a:spcAft>
                <a:spcPts val="300"/>
              </a:spcAft>
              <a:buClrTx/>
              <a:buSzTx/>
              <a:buFontTx/>
              <a:buNone/>
              <a:tabLst/>
              <a:defRPr/>
            </a:pPr>
            <a:r>
              <a:rPr kumimoji="0" lang="it-IT" sz="1400" b="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rPr>
              <a:t>Come previsto all’interno dell’Allegato </a:t>
            </a:r>
            <a:r>
              <a:rPr lang="it-IT" sz="14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B alla nota prot. n. 2790 dell’11 ottobre 2023: «</a:t>
            </a:r>
            <a:r>
              <a:rPr lang="it-IT" sz="1400" b="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Compete al Collegio dei docenti la progettazione dei percorsi di orientamento</a:t>
            </a:r>
            <a:r>
              <a:rPr lang="it-IT" sz="14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 da inserire all’interno del curricolo della scuola e da esplicitare nel Piano triennale dell’offerta formativa in fase di aggiornamento annuale del documento (…) </a:t>
            </a:r>
            <a:r>
              <a:rPr lang="it-IT" sz="1400" b="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L’individuazione dei moduli di orientamento formativo deve coinvolgere tutti i docenti del singolo Consiglio di classe </a:t>
            </a:r>
            <a:r>
              <a:rPr lang="it-IT" sz="14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o di più Consigli di classe per progetti aperti a più classi, così come è opportuno che la loro realizzazione coinvolga il maggior numero di docenti proprio per favorire la condivisione e la partecipazione».</a:t>
            </a:r>
          </a:p>
          <a:p>
            <a:pPr marL="0" marR="0" lvl="0" indent="0" algn="just" defTabSz="914400" rtl="0" eaLnBrk="1" fontAlgn="auto" latinLnBrk="0" hangingPunct="1">
              <a:lnSpc>
                <a:spcPct val="120000"/>
              </a:lnSpc>
              <a:spcBef>
                <a:spcPts val="300"/>
              </a:spcBef>
              <a:spcAft>
                <a:spcPts val="300"/>
              </a:spcAft>
              <a:buClrTx/>
              <a:buSzTx/>
              <a:buFontTx/>
              <a:buNone/>
              <a:tabLst/>
              <a:defRPr/>
            </a:pPr>
            <a:r>
              <a:rPr lang="it-IT" sz="14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Il coinvolgimento del docente tutor, come del docente orientatore, si limita perciò, nel </a:t>
            </a:r>
            <a:r>
              <a:rPr lang="it-IT" sz="1400" b="1">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fornire supporto al Collegio dei docenti nella progettazione e nel monitoraggio dei percorsi di orientamento </a:t>
            </a:r>
            <a:r>
              <a:rPr lang="it-IT" sz="1400">
                <a:solidFill>
                  <a:prstClr val="black"/>
                </a:solidFill>
                <a:latin typeface="Open Sans Light" panose="020B0306030504020204" pitchFamily="34" charset="0"/>
                <a:ea typeface="Open Sans Light" panose="020B0306030504020204" pitchFamily="34" charset="0"/>
                <a:cs typeface="Open Sans Light" panose="020B0306030504020204" pitchFamily="34" charset="0"/>
              </a:rPr>
              <a:t>da attivare nell’istituto.</a:t>
            </a:r>
            <a:endParaRPr kumimoji="0" lang="it-IT" sz="1400" i="0" u="none" strike="noStrike" kern="1200" cap="none" spc="0" normalizeH="0" baseline="0" noProof="0">
              <a:ln>
                <a:noFill/>
              </a:ln>
              <a:solidFill>
                <a:prstClr val="black"/>
              </a:solidFill>
              <a:effectLst/>
              <a:uLnTx/>
              <a:uFillTx/>
              <a:latin typeface="Open Sans Light" panose="020B0306030504020204" pitchFamily="34" charset="0"/>
              <a:ea typeface="Open Sans Light" panose="020B0306030504020204" pitchFamily="34" charset="0"/>
              <a:cs typeface="Open Sans Light" panose="020B0306030504020204" pitchFamily="34" charset="0"/>
            </a:endParaRPr>
          </a:p>
        </p:txBody>
      </p:sp>
      <p:grpSp>
        <p:nvGrpSpPr>
          <p:cNvPr id="52" name="Group 424">
            <a:extLst>
              <a:ext uri="{FF2B5EF4-FFF2-40B4-BE49-F238E27FC236}">
                <a16:creationId xmlns:a16="http://schemas.microsoft.com/office/drawing/2014/main" id="{26F232B4-2E80-F9D5-1807-4111C4F5E05F}"/>
              </a:ext>
            </a:extLst>
          </p:cNvPr>
          <p:cNvGrpSpPr/>
          <p:nvPr/>
        </p:nvGrpSpPr>
        <p:grpSpPr>
          <a:xfrm>
            <a:off x="10746000" y="5495910"/>
            <a:ext cx="684000" cy="684000"/>
            <a:chOff x="4579938" y="4308475"/>
            <a:chExt cx="1112838" cy="1112838"/>
          </a:xfrm>
        </p:grpSpPr>
        <p:sp>
          <p:nvSpPr>
            <p:cNvPr id="53" name="Freeform 23">
              <a:extLst>
                <a:ext uri="{FF2B5EF4-FFF2-40B4-BE49-F238E27FC236}">
                  <a16:creationId xmlns:a16="http://schemas.microsoft.com/office/drawing/2014/main" id="{7E704782-2B18-954C-DDB8-A4BC6E8E35CF}"/>
                </a:ext>
              </a:extLst>
            </p:cNvPr>
            <p:cNvSpPr>
              <a:spLocks/>
            </p:cNvSpPr>
            <p:nvPr/>
          </p:nvSpPr>
          <p:spPr bwMode="auto">
            <a:xfrm>
              <a:off x="4579938" y="4308475"/>
              <a:ext cx="1112838" cy="1112838"/>
            </a:xfrm>
            <a:custGeom>
              <a:avLst/>
              <a:gdLst>
                <a:gd name="T0" fmla="*/ 332 w 701"/>
                <a:gd name="T1" fmla="*/ 701 h 701"/>
                <a:gd name="T2" fmla="*/ 280 w 701"/>
                <a:gd name="T3" fmla="*/ 694 h 701"/>
                <a:gd name="T4" fmla="*/ 230 w 701"/>
                <a:gd name="T5" fmla="*/ 680 h 701"/>
                <a:gd name="T6" fmla="*/ 184 w 701"/>
                <a:gd name="T7" fmla="*/ 659 h 701"/>
                <a:gd name="T8" fmla="*/ 141 w 701"/>
                <a:gd name="T9" fmla="*/ 631 h 701"/>
                <a:gd name="T10" fmla="*/ 103 w 701"/>
                <a:gd name="T11" fmla="*/ 598 h 701"/>
                <a:gd name="T12" fmla="*/ 69 w 701"/>
                <a:gd name="T13" fmla="*/ 560 h 701"/>
                <a:gd name="T14" fmla="*/ 42 w 701"/>
                <a:gd name="T15" fmla="*/ 518 h 701"/>
                <a:gd name="T16" fmla="*/ 21 w 701"/>
                <a:gd name="T17" fmla="*/ 471 h 701"/>
                <a:gd name="T18" fmla="*/ 8 w 701"/>
                <a:gd name="T19" fmla="*/ 421 h 701"/>
                <a:gd name="T20" fmla="*/ 0 w 701"/>
                <a:gd name="T21" fmla="*/ 369 h 701"/>
                <a:gd name="T22" fmla="*/ 0 w 701"/>
                <a:gd name="T23" fmla="*/ 333 h 701"/>
                <a:gd name="T24" fmla="*/ 8 w 701"/>
                <a:gd name="T25" fmla="*/ 280 h 701"/>
                <a:gd name="T26" fmla="*/ 21 w 701"/>
                <a:gd name="T27" fmla="*/ 231 h 701"/>
                <a:gd name="T28" fmla="*/ 42 w 701"/>
                <a:gd name="T29" fmla="*/ 184 h 701"/>
                <a:gd name="T30" fmla="*/ 69 w 701"/>
                <a:gd name="T31" fmla="*/ 141 h 701"/>
                <a:gd name="T32" fmla="*/ 103 w 701"/>
                <a:gd name="T33" fmla="*/ 102 h 701"/>
                <a:gd name="T34" fmla="*/ 141 w 701"/>
                <a:gd name="T35" fmla="*/ 70 h 701"/>
                <a:gd name="T36" fmla="*/ 184 w 701"/>
                <a:gd name="T37" fmla="*/ 42 h 701"/>
                <a:gd name="T38" fmla="*/ 230 w 701"/>
                <a:gd name="T39" fmla="*/ 21 h 701"/>
                <a:gd name="T40" fmla="*/ 280 w 701"/>
                <a:gd name="T41" fmla="*/ 7 h 701"/>
                <a:gd name="T42" fmla="*/ 332 w 701"/>
                <a:gd name="T43" fmla="*/ 0 h 701"/>
                <a:gd name="T44" fmla="*/ 369 w 701"/>
                <a:gd name="T45" fmla="*/ 0 h 701"/>
                <a:gd name="T46" fmla="*/ 421 w 701"/>
                <a:gd name="T47" fmla="*/ 7 h 701"/>
                <a:gd name="T48" fmla="*/ 472 w 701"/>
                <a:gd name="T49" fmla="*/ 21 h 701"/>
                <a:gd name="T50" fmla="*/ 517 w 701"/>
                <a:gd name="T51" fmla="*/ 42 h 701"/>
                <a:gd name="T52" fmla="*/ 560 w 701"/>
                <a:gd name="T53" fmla="*/ 70 h 701"/>
                <a:gd name="T54" fmla="*/ 599 w 701"/>
                <a:gd name="T55" fmla="*/ 102 h 701"/>
                <a:gd name="T56" fmla="*/ 632 w 701"/>
                <a:gd name="T57" fmla="*/ 141 h 701"/>
                <a:gd name="T58" fmla="*/ 659 w 701"/>
                <a:gd name="T59" fmla="*/ 184 h 701"/>
                <a:gd name="T60" fmla="*/ 680 w 701"/>
                <a:gd name="T61" fmla="*/ 231 h 701"/>
                <a:gd name="T62" fmla="*/ 694 w 701"/>
                <a:gd name="T63" fmla="*/ 280 h 701"/>
                <a:gd name="T64" fmla="*/ 701 w 701"/>
                <a:gd name="T65" fmla="*/ 333 h 701"/>
                <a:gd name="T66" fmla="*/ 701 w 701"/>
                <a:gd name="T67" fmla="*/ 369 h 701"/>
                <a:gd name="T68" fmla="*/ 694 w 701"/>
                <a:gd name="T69" fmla="*/ 421 h 701"/>
                <a:gd name="T70" fmla="*/ 680 w 701"/>
                <a:gd name="T71" fmla="*/ 471 h 701"/>
                <a:gd name="T72" fmla="*/ 659 w 701"/>
                <a:gd name="T73" fmla="*/ 518 h 701"/>
                <a:gd name="T74" fmla="*/ 632 w 701"/>
                <a:gd name="T75" fmla="*/ 560 h 701"/>
                <a:gd name="T76" fmla="*/ 599 w 701"/>
                <a:gd name="T77" fmla="*/ 598 h 701"/>
                <a:gd name="T78" fmla="*/ 560 w 701"/>
                <a:gd name="T79" fmla="*/ 631 h 701"/>
                <a:gd name="T80" fmla="*/ 517 w 701"/>
                <a:gd name="T81" fmla="*/ 659 h 701"/>
                <a:gd name="T82" fmla="*/ 472 w 701"/>
                <a:gd name="T83" fmla="*/ 680 h 701"/>
                <a:gd name="T84" fmla="*/ 421 w 701"/>
                <a:gd name="T85" fmla="*/ 694 h 701"/>
                <a:gd name="T86" fmla="*/ 369 w 701"/>
                <a:gd name="T87" fmla="*/ 701 h 701"/>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1">
                  <a:moveTo>
                    <a:pt x="351" y="701"/>
                  </a:moveTo>
                  <a:lnTo>
                    <a:pt x="351" y="701"/>
                  </a:lnTo>
                  <a:lnTo>
                    <a:pt x="332" y="701"/>
                  </a:lnTo>
                  <a:lnTo>
                    <a:pt x="315" y="699"/>
                  </a:lnTo>
                  <a:lnTo>
                    <a:pt x="298" y="697"/>
                  </a:lnTo>
                  <a:lnTo>
                    <a:pt x="280" y="694"/>
                  </a:lnTo>
                  <a:lnTo>
                    <a:pt x="263" y="689"/>
                  </a:lnTo>
                  <a:lnTo>
                    <a:pt x="247" y="686"/>
                  </a:lnTo>
                  <a:lnTo>
                    <a:pt x="230" y="680"/>
                  </a:lnTo>
                  <a:lnTo>
                    <a:pt x="214" y="673"/>
                  </a:lnTo>
                  <a:lnTo>
                    <a:pt x="199" y="666"/>
                  </a:lnTo>
                  <a:lnTo>
                    <a:pt x="184" y="659"/>
                  </a:lnTo>
                  <a:lnTo>
                    <a:pt x="169" y="650"/>
                  </a:lnTo>
                  <a:lnTo>
                    <a:pt x="155" y="641"/>
                  </a:lnTo>
                  <a:lnTo>
                    <a:pt x="141" y="631"/>
                  </a:lnTo>
                  <a:lnTo>
                    <a:pt x="127" y="620"/>
                  </a:lnTo>
                  <a:lnTo>
                    <a:pt x="115" y="611"/>
                  </a:lnTo>
                  <a:lnTo>
                    <a:pt x="103" y="598"/>
                  </a:lnTo>
                  <a:lnTo>
                    <a:pt x="92" y="586"/>
                  </a:lnTo>
                  <a:lnTo>
                    <a:pt x="81" y="573"/>
                  </a:lnTo>
                  <a:lnTo>
                    <a:pt x="69" y="560"/>
                  </a:lnTo>
                  <a:lnTo>
                    <a:pt x="60" y="546"/>
                  </a:lnTo>
                  <a:lnTo>
                    <a:pt x="51" y="533"/>
                  </a:lnTo>
                  <a:lnTo>
                    <a:pt x="42" y="518"/>
                  </a:lnTo>
                  <a:lnTo>
                    <a:pt x="35" y="502"/>
                  </a:lnTo>
                  <a:lnTo>
                    <a:pt x="28" y="487"/>
                  </a:lnTo>
                  <a:lnTo>
                    <a:pt x="21" y="471"/>
                  </a:lnTo>
                  <a:lnTo>
                    <a:pt x="16" y="455"/>
                  </a:lnTo>
                  <a:lnTo>
                    <a:pt x="11" y="438"/>
                  </a:lnTo>
                  <a:lnTo>
                    <a:pt x="8" y="421"/>
                  </a:lnTo>
                  <a:lnTo>
                    <a:pt x="4" y="403"/>
                  </a:lnTo>
                  <a:lnTo>
                    <a:pt x="2" y="386"/>
                  </a:lnTo>
                  <a:lnTo>
                    <a:pt x="0" y="369"/>
                  </a:lnTo>
                  <a:lnTo>
                    <a:pt x="0" y="350"/>
                  </a:lnTo>
                  <a:lnTo>
                    <a:pt x="0" y="350"/>
                  </a:lnTo>
                  <a:lnTo>
                    <a:pt x="0" y="333"/>
                  </a:lnTo>
                  <a:lnTo>
                    <a:pt x="2" y="314"/>
                  </a:lnTo>
                  <a:lnTo>
                    <a:pt x="4" y="297"/>
                  </a:lnTo>
                  <a:lnTo>
                    <a:pt x="8" y="280"/>
                  </a:lnTo>
                  <a:lnTo>
                    <a:pt x="11" y="263"/>
                  </a:lnTo>
                  <a:lnTo>
                    <a:pt x="16" y="247"/>
                  </a:lnTo>
                  <a:lnTo>
                    <a:pt x="21" y="231"/>
                  </a:lnTo>
                  <a:lnTo>
                    <a:pt x="28" y="215"/>
                  </a:lnTo>
                  <a:lnTo>
                    <a:pt x="35" y="198"/>
                  </a:lnTo>
                  <a:lnTo>
                    <a:pt x="42" y="184"/>
                  </a:lnTo>
                  <a:lnTo>
                    <a:pt x="51" y="169"/>
                  </a:lnTo>
                  <a:lnTo>
                    <a:pt x="60" y="154"/>
                  </a:lnTo>
                  <a:lnTo>
                    <a:pt x="69" y="141"/>
                  </a:lnTo>
                  <a:lnTo>
                    <a:pt x="81" y="127"/>
                  </a:lnTo>
                  <a:lnTo>
                    <a:pt x="92" y="115"/>
                  </a:lnTo>
                  <a:lnTo>
                    <a:pt x="103" y="102"/>
                  </a:lnTo>
                  <a:lnTo>
                    <a:pt x="115" y="91"/>
                  </a:lnTo>
                  <a:lnTo>
                    <a:pt x="127" y="80"/>
                  </a:lnTo>
                  <a:lnTo>
                    <a:pt x="141" y="70"/>
                  </a:lnTo>
                  <a:lnTo>
                    <a:pt x="155" y="60"/>
                  </a:lnTo>
                  <a:lnTo>
                    <a:pt x="169" y="50"/>
                  </a:lnTo>
                  <a:lnTo>
                    <a:pt x="184" y="42"/>
                  </a:lnTo>
                  <a:lnTo>
                    <a:pt x="199" y="34"/>
                  </a:lnTo>
                  <a:lnTo>
                    <a:pt x="214" y="27"/>
                  </a:lnTo>
                  <a:lnTo>
                    <a:pt x="230" y="21"/>
                  </a:lnTo>
                  <a:lnTo>
                    <a:pt x="247" y="16"/>
                  </a:lnTo>
                  <a:lnTo>
                    <a:pt x="263" y="11"/>
                  </a:lnTo>
                  <a:lnTo>
                    <a:pt x="280" y="7"/>
                  </a:lnTo>
                  <a:lnTo>
                    <a:pt x="298" y="4"/>
                  </a:lnTo>
                  <a:lnTo>
                    <a:pt x="315" y="2"/>
                  </a:lnTo>
                  <a:lnTo>
                    <a:pt x="332" y="0"/>
                  </a:lnTo>
                  <a:lnTo>
                    <a:pt x="351" y="0"/>
                  </a:lnTo>
                  <a:lnTo>
                    <a:pt x="351" y="0"/>
                  </a:lnTo>
                  <a:lnTo>
                    <a:pt x="369" y="0"/>
                  </a:lnTo>
                  <a:lnTo>
                    <a:pt x="386" y="2"/>
                  </a:lnTo>
                  <a:lnTo>
                    <a:pt x="404" y="4"/>
                  </a:lnTo>
                  <a:lnTo>
                    <a:pt x="421" y="7"/>
                  </a:lnTo>
                  <a:lnTo>
                    <a:pt x="438" y="11"/>
                  </a:lnTo>
                  <a:lnTo>
                    <a:pt x="456" y="16"/>
                  </a:lnTo>
                  <a:lnTo>
                    <a:pt x="472" y="21"/>
                  </a:lnTo>
                  <a:lnTo>
                    <a:pt x="488" y="27"/>
                  </a:lnTo>
                  <a:lnTo>
                    <a:pt x="502" y="34"/>
                  </a:lnTo>
                  <a:lnTo>
                    <a:pt x="517" y="42"/>
                  </a:lnTo>
                  <a:lnTo>
                    <a:pt x="532" y="50"/>
                  </a:lnTo>
                  <a:lnTo>
                    <a:pt x="547" y="60"/>
                  </a:lnTo>
                  <a:lnTo>
                    <a:pt x="560" y="70"/>
                  </a:lnTo>
                  <a:lnTo>
                    <a:pt x="574" y="80"/>
                  </a:lnTo>
                  <a:lnTo>
                    <a:pt x="586" y="91"/>
                  </a:lnTo>
                  <a:lnTo>
                    <a:pt x="599" y="102"/>
                  </a:lnTo>
                  <a:lnTo>
                    <a:pt x="610" y="115"/>
                  </a:lnTo>
                  <a:lnTo>
                    <a:pt x="621" y="127"/>
                  </a:lnTo>
                  <a:lnTo>
                    <a:pt x="632" y="141"/>
                  </a:lnTo>
                  <a:lnTo>
                    <a:pt x="642" y="154"/>
                  </a:lnTo>
                  <a:lnTo>
                    <a:pt x="650" y="169"/>
                  </a:lnTo>
                  <a:lnTo>
                    <a:pt x="659" y="184"/>
                  </a:lnTo>
                  <a:lnTo>
                    <a:pt x="666" y="198"/>
                  </a:lnTo>
                  <a:lnTo>
                    <a:pt x="674" y="215"/>
                  </a:lnTo>
                  <a:lnTo>
                    <a:pt x="680" y="231"/>
                  </a:lnTo>
                  <a:lnTo>
                    <a:pt x="685" y="247"/>
                  </a:lnTo>
                  <a:lnTo>
                    <a:pt x="690" y="263"/>
                  </a:lnTo>
                  <a:lnTo>
                    <a:pt x="694" y="280"/>
                  </a:lnTo>
                  <a:lnTo>
                    <a:pt x="697" y="297"/>
                  </a:lnTo>
                  <a:lnTo>
                    <a:pt x="700" y="314"/>
                  </a:lnTo>
                  <a:lnTo>
                    <a:pt x="701" y="333"/>
                  </a:lnTo>
                  <a:lnTo>
                    <a:pt x="701" y="350"/>
                  </a:lnTo>
                  <a:lnTo>
                    <a:pt x="701" y="350"/>
                  </a:lnTo>
                  <a:lnTo>
                    <a:pt x="701" y="369"/>
                  </a:lnTo>
                  <a:lnTo>
                    <a:pt x="700" y="386"/>
                  </a:lnTo>
                  <a:lnTo>
                    <a:pt x="697" y="403"/>
                  </a:lnTo>
                  <a:lnTo>
                    <a:pt x="694" y="421"/>
                  </a:lnTo>
                  <a:lnTo>
                    <a:pt x="690" y="438"/>
                  </a:lnTo>
                  <a:lnTo>
                    <a:pt x="685" y="455"/>
                  </a:lnTo>
                  <a:lnTo>
                    <a:pt x="680" y="471"/>
                  </a:lnTo>
                  <a:lnTo>
                    <a:pt x="674" y="487"/>
                  </a:lnTo>
                  <a:lnTo>
                    <a:pt x="666" y="502"/>
                  </a:lnTo>
                  <a:lnTo>
                    <a:pt x="659" y="518"/>
                  </a:lnTo>
                  <a:lnTo>
                    <a:pt x="650" y="533"/>
                  </a:lnTo>
                  <a:lnTo>
                    <a:pt x="642" y="546"/>
                  </a:lnTo>
                  <a:lnTo>
                    <a:pt x="632" y="560"/>
                  </a:lnTo>
                  <a:lnTo>
                    <a:pt x="621" y="573"/>
                  </a:lnTo>
                  <a:lnTo>
                    <a:pt x="610" y="586"/>
                  </a:lnTo>
                  <a:lnTo>
                    <a:pt x="599" y="598"/>
                  </a:lnTo>
                  <a:lnTo>
                    <a:pt x="586" y="611"/>
                  </a:lnTo>
                  <a:lnTo>
                    <a:pt x="574" y="620"/>
                  </a:lnTo>
                  <a:lnTo>
                    <a:pt x="560" y="631"/>
                  </a:lnTo>
                  <a:lnTo>
                    <a:pt x="547" y="641"/>
                  </a:lnTo>
                  <a:lnTo>
                    <a:pt x="532" y="650"/>
                  </a:lnTo>
                  <a:lnTo>
                    <a:pt x="517" y="659"/>
                  </a:lnTo>
                  <a:lnTo>
                    <a:pt x="502" y="666"/>
                  </a:lnTo>
                  <a:lnTo>
                    <a:pt x="488" y="673"/>
                  </a:lnTo>
                  <a:lnTo>
                    <a:pt x="472" y="680"/>
                  </a:lnTo>
                  <a:lnTo>
                    <a:pt x="456" y="686"/>
                  </a:lnTo>
                  <a:lnTo>
                    <a:pt x="438" y="689"/>
                  </a:lnTo>
                  <a:lnTo>
                    <a:pt x="421" y="694"/>
                  </a:lnTo>
                  <a:lnTo>
                    <a:pt x="404" y="697"/>
                  </a:lnTo>
                  <a:lnTo>
                    <a:pt x="386" y="699"/>
                  </a:lnTo>
                  <a:lnTo>
                    <a:pt x="369" y="701"/>
                  </a:lnTo>
                  <a:lnTo>
                    <a:pt x="351" y="701"/>
                  </a:lnTo>
                  <a:lnTo>
                    <a:pt x="351" y="701"/>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4" name="Freeform 324">
              <a:extLst>
                <a:ext uri="{FF2B5EF4-FFF2-40B4-BE49-F238E27FC236}">
                  <a16:creationId xmlns:a16="http://schemas.microsoft.com/office/drawing/2014/main" id="{48A8746C-F2DB-6D16-F319-CA1D0D9D1165}"/>
                </a:ext>
              </a:extLst>
            </p:cNvPr>
            <p:cNvSpPr>
              <a:spLocks/>
            </p:cNvSpPr>
            <p:nvPr/>
          </p:nvSpPr>
          <p:spPr bwMode="auto">
            <a:xfrm>
              <a:off x="4878388" y="4570413"/>
              <a:ext cx="809625" cy="850900"/>
            </a:xfrm>
            <a:custGeom>
              <a:avLst/>
              <a:gdLst>
                <a:gd name="T0" fmla="*/ 358 w 510"/>
                <a:gd name="T1" fmla="*/ 77 h 536"/>
                <a:gd name="T2" fmla="*/ 358 w 510"/>
                <a:gd name="T3" fmla="*/ 77 h 536"/>
                <a:gd name="T4" fmla="*/ 345 w 510"/>
                <a:gd name="T5" fmla="*/ 66 h 536"/>
                <a:gd name="T6" fmla="*/ 345 w 510"/>
                <a:gd name="T7" fmla="*/ 66 h 536"/>
                <a:gd name="T8" fmla="*/ 340 w 510"/>
                <a:gd name="T9" fmla="*/ 61 h 536"/>
                <a:gd name="T10" fmla="*/ 334 w 510"/>
                <a:gd name="T11" fmla="*/ 58 h 536"/>
                <a:gd name="T12" fmla="*/ 275 w 510"/>
                <a:gd name="T13" fmla="*/ 0 h 536"/>
                <a:gd name="T14" fmla="*/ 275 w 510"/>
                <a:gd name="T15" fmla="*/ 0 h 536"/>
                <a:gd name="T16" fmla="*/ 275 w 510"/>
                <a:gd name="T17" fmla="*/ 0 h 536"/>
                <a:gd name="T18" fmla="*/ 71 w 510"/>
                <a:gd name="T19" fmla="*/ 0 h 536"/>
                <a:gd name="T20" fmla="*/ 0 w 510"/>
                <a:gd name="T21" fmla="*/ 73 h 536"/>
                <a:gd name="T22" fmla="*/ 0 w 510"/>
                <a:gd name="T23" fmla="*/ 146 h 536"/>
                <a:gd name="T24" fmla="*/ 0 w 510"/>
                <a:gd name="T25" fmla="*/ 174 h 536"/>
                <a:gd name="T26" fmla="*/ 0 w 510"/>
                <a:gd name="T27" fmla="*/ 376 h 536"/>
                <a:gd name="T28" fmla="*/ 0 w 510"/>
                <a:gd name="T29" fmla="*/ 376 h 536"/>
                <a:gd name="T30" fmla="*/ 0 w 510"/>
                <a:gd name="T31" fmla="*/ 376 h 536"/>
                <a:gd name="T32" fmla="*/ 0 w 510"/>
                <a:gd name="T33" fmla="*/ 376 h 536"/>
                <a:gd name="T34" fmla="*/ 0 w 510"/>
                <a:gd name="T35" fmla="*/ 376 h 536"/>
                <a:gd name="T36" fmla="*/ 159 w 510"/>
                <a:gd name="T37" fmla="*/ 536 h 536"/>
                <a:gd name="T38" fmla="*/ 159 w 510"/>
                <a:gd name="T39" fmla="*/ 536 h 536"/>
                <a:gd name="T40" fmla="*/ 163 w 510"/>
                <a:gd name="T41" fmla="*/ 536 h 536"/>
                <a:gd name="T42" fmla="*/ 163 w 510"/>
                <a:gd name="T43" fmla="*/ 536 h 536"/>
                <a:gd name="T44" fmla="*/ 179 w 510"/>
                <a:gd name="T45" fmla="*/ 536 h 536"/>
                <a:gd name="T46" fmla="*/ 196 w 510"/>
                <a:gd name="T47" fmla="*/ 534 h 536"/>
                <a:gd name="T48" fmla="*/ 212 w 510"/>
                <a:gd name="T49" fmla="*/ 532 h 536"/>
                <a:gd name="T50" fmla="*/ 228 w 510"/>
                <a:gd name="T51" fmla="*/ 529 h 536"/>
                <a:gd name="T52" fmla="*/ 244 w 510"/>
                <a:gd name="T53" fmla="*/ 526 h 536"/>
                <a:gd name="T54" fmla="*/ 259 w 510"/>
                <a:gd name="T55" fmla="*/ 522 h 536"/>
                <a:gd name="T56" fmla="*/ 290 w 510"/>
                <a:gd name="T57" fmla="*/ 512 h 536"/>
                <a:gd name="T58" fmla="*/ 318 w 510"/>
                <a:gd name="T59" fmla="*/ 500 h 536"/>
                <a:gd name="T60" fmla="*/ 345 w 510"/>
                <a:gd name="T61" fmla="*/ 484 h 536"/>
                <a:gd name="T62" fmla="*/ 371 w 510"/>
                <a:gd name="T63" fmla="*/ 466 h 536"/>
                <a:gd name="T64" fmla="*/ 396 w 510"/>
                <a:gd name="T65" fmla="*/ 447 h 536"/>
                <a:gd name="T66" fmla="*/ 418 w 510"/>
                <a:gd name="T67" fmla="*/ 426 h 536"/>
                <a:gd name="T68" fmla="*/ 438 w 510"/>
                <a:gd name="T69" fmla="*/ 402 h 536"/>
                <a:gd name="T70" fmla="*/ 456 w 510"/>
                <a:gd name="T71" fmla="*/ 376 h 536"/>
                <a:gd name="T72" fmla="*/ 472 w 510"/>
                <a:gd name="T73" fmla="*/ 351 h 536"/>
                <a:gd name="T74" fmla="*/ 486 w 510"/>
                <a:gd name="T75" fmla="*/ 322 h 536"/>
                <a:gd name="T76" fmla="*/ 496 w 510"/>
                <a:gd name="T77" fmla="*/ 293 h 536"/>
                <a:gd name="T78" fmla="*/ 504 w 510"/>
                <a:gd name="T79" fmla="*/ 260 h 536"/>
                <a:gd name="T80" fmla="*/ 508 w 510"/>
                <a:gd name="T81" fmla="*/ 246 h 536"/>
                <a:gd name="T82" fmla="*/ 510 w 510"/>
                <a:gd name="T83" fmla="*/ 230 h 536"/>
                <a:gd name="T84" fmla="*/ 358 w 510"/>
                <a:gd name="T85" fmla="*/ 77 h 53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Lst>
              <a:rect l="0" t="0" r="r" b="b"/>
              <a:pathLst>
                <a:path w="510" h="536">
                  <a:moveTo>
                    <a:pt x="358" y="77"/>
                  </a:moveTo>
                  <a:lnTo>
                    <a:pt x="358" y="77"/>
                  </a:lnTo>
                  <a:lnTo>
                    <a:pt x="345" y="66"/>
                  </a:lnTo>
                  <a:lnTo>
                    <a:pt x="345" y="66"/>
                  </a:lnTo>
                  <a:lnTo>
                    <a:pt x="340" y="61"/>
                  </a:lnTo>
                  <a:lnTo>
                    <a:pt x="334" y="58"/>
                  </a:lnTo>
                  <a:lnTo>
                    <a:pt x="275" y="0"/>
                  </a:lnTo>
                  <a:lnTo>
                    <a:pt x="275" y="0"/>
                  </a:lnTo>
                  <a:lnTo>
                    <a:pt x="275" y="0"/>
                  </a:lnTo>
                  <a:lnTo>
                    <a:pt x="71" y="0"/>
                  </a:lnTo>
                  <a:lnTo>
                    <a:pt x="0" y="73"/>
                  </a:lnTo>
                  <a:lnTo>
                    <a:pt x="0" y="146"/>
                  </a:lnTo>
                  <a:lnTo>
                    <a:pt x="0" y="174"/>
                  </a:lnTo>
                  <a:lnTo>
                    <a:pt x="0" y="376"/>
                  </a:lnTo>
                  <a:lnTo>
                    <a:pt x="0" y="376"/>
                  </a:lnTo>
                  <a:lnTo>
                    <a:pt x="0" y="376"/>
                  </a:lnTo>
                  <a:lnTo>
                    <a:pt x="0" y="376"/>
                  </a:lnTo>
                  <a:lnTo>
                    <a:pt x="0" y="376"/>
                  </a:lnTo>
                  <a:lnTo>
                    <a:pt x="159" y="536"/>
                  </a:lnTo>
                  <a:lnTo>
                    <a:pt x="159" y="536"/>
                  </a:lnTo>
                  <a:lnTo>
                    <a:pt x="163" y="536"/>
                  </a:lnTo>
                  <a:lnTo>
                    <a:pt x="163" y="536"/>
                  </a:lnTo>
                  <a:lnTo>
                    <a:pt x="179" y="536"/>
                  </a:lnTo>
                  <a:lnTo>
                    <a:pt x="196" y="534"/>
                  </a:lnTo>
                  <a:lnTo>
                    <a:pt x="212" y="532"/>
                  </a:lnTo>
                  <a:lnTo>
                    <a:pt x="228" y="529"/>
                  </a:lnTo>
                  <a:lnTo>
                    <a:pt x="244" y="526"/>
                  </a:lnTo>
                  <a:lnTo>
                    <a:pt x="259" y="522"/>
                  </a:lnTo>
                  <a:lnTo>
                    <a:pt x="290" y="512"/>
                  </a:lnTo>
                  <a:lnTo>
                    <a:pt x="318" y="500"/>
                  </a:lnTo>
                  <a:lnTo>
                    <a:pt x="345" y="484"/>
                  </a:lnTo>
                  <a:lnTo>
                    <a:pt x="371" y="466"/>
                  </a:lnTo>
                  <a:lnTo>
                    <a:pt x="396" y="447"/>
                  </a:lnTo>
                  <a:lnTo>
                    <a:pt x="418" y="426"/>
                  </a:lnTo>
                  <a:lnTo>
                    <a:pt x="438" y="402"/>
                  </a:lnTo>
                  <a:lnTo>
                    <a:pt x="456" y="376"/>
                  </a:lnTo>
                  <a:lnTo>
                    <a:pt x="472" y="351"/>
                  </a:lnTo>
                  <a:lnTo>
                    <a:pt x="486" y="322"/>
                  </a:lnTo>
                  <a:lnTo>
                    <a:pt x="496" y="293"/>
                  </a:lnTo>
                  <a:lnTo>
                    <a:pt x="504" y="260"/>
                  </a:lnTo>
                  <a:lnTo>
                    <a:pt x="508" y="246"/>
                  </a:lnTo>
                  <a:lnTo>
                    <a:pt x="510" y="230"/>
                  </a:lnTo>
                  <a:lnTo>
                    <a:pt x="358" y="77"/>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5" name="Freeform 325">
              <a:extLst>
                <a:ext uri="{FF2B5EF4-FFF2-40B4-BE49-F238E27FC236}">
                  <a16:creationId xmlns:a16="http://schemas.microsoft.com/office/drawing/2014/main" id="{4DF299B7-2BA6-0B97-6B2C-9EDC1DE65547}"/>
                </a:ext>
              </a:extLst>
            </p:cNvPr>
            <p:cNvSpPr>
              <a:spLocks/>
            </p:cNvSpPr>
            <p:nvPr/>
          </p:nvSpPr>
          <p:spPr bwMode="auto">
            <a:xfrm>
              <a:off x="4878388" y="4570413"/>
              <a:ext cx="436563" cy="596900"/>
            </a:xfrm>
            <a:custGeom>
              <a:avLst/>
              <a:gdLst>
                <a:gd name="T0" fmla="*/ 0 w 275"/>
                <a:gd name="T1" fmla="*/ 376 h 376"/>
                <a:gd name="T2" fmla="*/ 0 w 275"/>
                <a:gd name="T3" fmla="*/ 174 h 376"/>
                <a:gd name="T4" fmla="*/ 0 w 275"/>
                <a:gd name="T5" fmla="*/ 73 h 376"/>
                <a:gd name="T6" fmla="*/ 71 w 275"/>
                <a:gd name="T7" fmla="*/ 0 h 376"/>
                <a:gd name="T8" fmla="*/ 275 w 275"/>
                <a:gd name="T9" fmla="*/ 0 h 376"/>
                <a:gd name="T10" fmla="*/ 275 w 275"/>
                <a:gd name="T11" fmla="*/ 75 h 376"/>
                <a:gd name="T12" fmla="*/ 275 w 275"/>
                <a:gd name="T13" fmla="*/ 174 h 376"/>
                <a:gd name="T14" fmla="*/ 275 w 275"/>
                <a:gd name="T15" fmla="*/ 376 h 376"/>
                <a:gd name="T16" fmla="*/ 0 w 275"/>
                <a:gd name="T17" fmla="*/ 376 h 37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275" h="376">
                  <a:moveTo>
                    <a:pt x="0" y="376"/>
                  </a:moveTo>
                  <a:lnTo>
                    <a:pt x="0" y="174"/>
                  </a:lnTo>
                  <a:lnTo>
                    <a:pt x="0" y="73"/>
                  </a:lnTo>
                  <a:lnTo>
                    <a:pt x="71" y="0"/>
                  </a:lnTo>
                  <a:lnTo>
                    <a:pt x="275" y="0"/>
                  </a:lnTo>
                  <a:lnTo>
                    <a:pt x="275" y="75"/>
                  </a:lnTo>
                  <a:lnTo>
                    <a:pt x="275" y="174"/>
                  </a:lnTo>
                  <a:lnTo>
                    <a:pt x="275" y="376"/>
                  </a:lnTo>
                  <a:lnTo>
                    <a:pt x="0" y="376"/>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6" name="Freeform 326">
              <a:extLst>
                <a:ext uri="{FF2B5EF4-FFF2-40B4-BE49-F238E27FC236}">
                  <a16:creationId xmlns:a16="http://schemas.microsoft.com/office/drawing/2014/main" id="{C9B8407B-CDE5-E963-3602-3FD12E161E78}"/>
                </a:ext>
              </a:extLst>
            </p:cNvPr>
            <p:cNvSpPr>
              <a:spLocks/>
            </p:cNvSpPr>
            <p:nvPr/>
          </p:nvSpPr>
          <p:spPr bwMode="auto">
            <a:xfrm>
              <a:off x="4878388" y="4570413"/>
              <a:ext cx="112713" cy="115888"/>
            </a:xfrm>
            <a:custGeom>
              <a:avLst/>
              <a:gdLst>
                <a:gd name="T0" fmla="*/ 71 w 71"/>
                <a:gd name="T1" fmla="*/ 73 h 73"/>
                <a:gd name="T2" fmla="*/ 0 w 71"/>
                <a:gd name="T3" fmla="*/ 73 h 73"/>
                <a:gd name="T4" fmla="*/ 71 w 71"/>
                <a:gd name="T5" fmla="*/ 0 h 73"/>
                <a:gd name="T6" fmla="*/ 71 w 71"/>
                <a:gd name="T7" fmla="*/ 73 h 73"/>
              </a:gdLst>
              <a:ahLst/>
              <a:cxnLst>
                <a:cxn ang="0">
                  <a:pos x="T0" y="T1"/>
                </a:cxn>
                <a:cxn ang="0">
                  <a:pos x="T2" y="T3"/>
                </a:cxn>
                <a:cxn ang="0">
                  <a:pos x="T4" y="T5"/>
                </a:cxn>
                <a:cxn ang="0">
                  <a:pos x="T6" y="T7"/>
                </a:cxn>
              </a:cxnLst>
              <a:rect l="0" t="0" r="r" b="b"/>
              <a:pathLst>
                <a:path w="71" h="73">
                  <a:moveTo>
                    <a:pt x="71" y="73"/>
                  </a:moveTo>
                  <a:lnTo>
                    <a:pt x="0" y="73"/>
                  </a:lnTo>
                  <a:lnTo>
                    <a:pt x="71" y="0"/>
                  </a:lnTo>
                  <a:lnTo>
                    <a:pt x="71" y="73"/>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7" name="Freeform 327">
              <a:extLst>
                <a:ext uri="{FF2B5EF4-FFF2-40B4-BE49-F238E27FC236}">
                  <a16:creationId xmlns:a16="http://schemas.microsoft.com/office/drawing/2014/main" id="{E1BB922C-B6A9-FBF3-9423-A58B9D2AC9A2}"/>
                </a:ext>
              </a:extLst>
            </p:cNvPr>
            <p:cNvSpPr>
              <a:spLocks/>
            </p:cNvSpPr>
            <p:nvPr/>
          </p:nvSpPr>
          <p:spPr bwMode="auto">
            <a:xfrm>
              <a:off x="4878388" y="4686300"/>
              <a:ext cx="112713" cy="115888"/>
            </a:xfrm>
            <a:custGeom>
              <a:avLst/>
              <a:gdLst>
                <a:gd name="T0" fmla="*/ 0 w 71"/>
                <a:gd name="T1" fmla="*/ 0 h 73"/>
                <a:gd name="T2" fmla="*/ 71 w 71"/>
                <a:gd name="T3" fmla="*/ 0 h 73"/>
                <a:gd name="T4" fmla="*/ 0 w 71"/>
                <a:gd name="T5" fmla="*/ 73 h 73"/>
                <a:gd name="T6" fmla="*/ 0 w 71"/>
                <a:gd name="T7" fmla="*/ 0 h 73"/>
              </a:gdLst>
              <a:ahLst/>
              <a:cxnLst>
                <a:cxn ang="0">
                  <a:pos x="T0" y="T1"/>
                </a:cxn>
                <a:cxn ang="0">
                  <a:pos x="T2" y="T3"/>
                </a:cxn>
                <a:cxn ang="0">
                  <a:pos x="T4" y="T5"/>
                </a:cxn>
                <a:cxn ang="0">
                  <a:pos x="T6" y="T7"/>
                </a:cxn>
              </a:cxnLst>
              <a:rect l="0" t="0" r="r" b="b"/>
              <a:pathLst>
                <a:path w="71" h="73">
                  <a:moveTo>
                    <a:pt x="0" y="0"/>
                  </a:moveTo>
                  <a:lnTo>
                    <a:pt x="71" y="0"/>
                  </a:lnTo>
                  <a:lnTo>
                    <a:pt x="0" y="73"/>
                  </a:lnTo>
                  <a:lnTo>
                    <a:pt x="0" y="0"/>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8" name="Freeform 328">
              <a:extLst>
                <a:ext uri="{FF2B5EF4-FFF2-40B4-BE49-F238E27FC236}">
                  <a16:creationId xmlns:a16="http://schemas.microsoft.com/office/drawing/2014/main" id="{6A14559F-31A2-76F4-1767-BDA16B8833A1}"/>
                </a:ext>
              </a:extLst>
            </p:cNvPr>
            <p:cNvSpPr>
              <a:spLocks/>
            </p:cNvSpPr>
            <p:nvPr/>
          </p:nvSpPr>
          <p:spPr bwMode="auto">
            <a:xfrm>
              <a:off x="5011738" y="4929188"/>
              <a:ext cx="179388" cy="182563"/>
            </a:xfrm>
            <a:custGeom>
              <a:avLst/>
              <a:gdLst>
                <a:gd name="T0" fmla="*/ 18 w 113"/>
                <a:gd name="T1" fmla="*/ 43 h 115"/>
                <a:gd name="T2" fmla="*/ 18 w 113"/>
                <a:gd name="T3" fmla="*/ 43 h 115"/>
                <a:gd name="T4" fmla="*/ 21 w 113"/>
                <a:gd name="T5" fmla="*/ 49 h 115"/>
                <a:gd name="T6" fmla="*/ 22 w 113"/>
                <a:gd name="T7" fmla="*/ 55 h 115"/>
                <a:gd name="T8" fmla="*/ 21 w 113"/>
                <a:gd name="T9" fmla="*/ 63 h 115"/>
                <a:gd name="T10" fmla="*/ 19 w 113"/>
                <a:gd name="T11" fmla="*/ 71 h 115"/>
                <a:gd name="T12" fmla="*/ 16 w 113"/>
                <a:gd name="T13" fmla="*/ 80 h 115"/>
                <a:gd name="T14" fmla="*/ 12 w 113"/>
                <a:gd name="T15" fmla="*/ 89 h 115"/>
                <a:gd name="T16" fmla="*/ 6 w 113"/>
                <a:gd name="T17" fmla="*/ 97 h 115"/>
                <a:gd name="T18" fmla="*/ 0 w 113"/>
                <a:gd name="T19" fmla="*/ 106 h 115"/>
                <a:gd name="T20" fmla="*/ 2 w 113"/>
                <a:gd name="T21" fmla="*/ 108 h 115"/>
                <a:gd name="T22" fmla="*/ 2 w 113"/>
                <a:gd name="T23" fmla="*/ 108 h 115"/>
                <a:gd name="T24" fmla="*/ 48 w 113"/>
                <a:gd name="T25" fmla="*/ 63 h 115"/>
                <a:gd name="T26" fmla="*/ 48 w 113"/>
                <a:gd name="T27" fmla="*/ 63 h 115"/>
                <a:gd name="T28" fmla="*/ 47 w 113"/>
                <a:gd name="T29" fmla="*/ 59 h 115"/>
                <a:gd name="T30" fmla="*/ 49 w 113"/>
                <a:gd name="T31" fmla="*/ 55 h 115"/>
                <a:gd name="T32" fmla="*/ 49 w 113"/>
                <a:gd name="T33" fmla="*/ 55 h 115"/>
                <a:gd name="T34" fmla="*/ 50 w 113"/>
                <a:gd name="T35" fmla="*/ 54 h 115"/>
                <a:gd name="T36" fmla="*/ 53 w 113"/>
                <a:gd name="T37" fmla="*/ 54 h 115"/>
                <a:gd name="T38" fmla="*/ 55 w 113"/>
                <a:gd name="T39" fmla="*/ 54 h 115"/>
                <a:gd name="T40" fmla="*/ 58 w 113"/>
                <a:gd name="T41" fmla="*/ 55 h 115"/>
                <a:gd name="T42" fmla="*/ 58 w 113"/>
                <a:gd name="T43" fmla="*/ 55 h 115"/>
                <a:gd name="T44" fmla="*/ 59 w 113"/>
                <a:gd name="T45" fmla="*/ 58 h 115"/>
                <a:gd name="T46" fmla="*/ 59 w 113"/>
                <a:gd name="T47" fmla="*/ 60 h 115"/>
                <a:gd name="T48" fmla="*/ 59 w 113"/>
                <a:gd name="T49" fmla="*/ 63 h 115"/>
                <a:gd name="T50" fmla="*/ 58 w 113"/>
                <a:gd name="T51" fmla="*/ 64 h 115"/>
                <a:gd name="T52" fmla="*/ 58 w 113"/>
                <a:gd name="T53" fmla="*/ 64 h 115"/>
                <a:gd name="T54" fmla="*/ 54 w 113"/>
                <a:gd name="T55" fmla="*/ 67 h 115"/>
                <a:gd name="T56" fmla="*/ 50 w 113"/>
                <a:gd name="T57" fmla="*/ 65 h 115"/>
                <a:gd name="T58" fmla="*/ 5 w 113"/>
                <a:gd name="T59" fmla="*/ 111 h 115"/>
                <a:gd name="T60" fmla="*/ 5 w 113"/>
                <a:gd name="T61" fmla="*/ 111 h 115"/>
                <a:gd name="T62" fmla="*/ 7 w 113"/>
                <a:gd name="T63" fmla="*/ 115 h 115"/>
                <a:gd name="T64" fmla="*/ 7 w 113"/>
                <a:gd name="T65" fmla="*/ 115 h 115"/>
                <a:gd name="T66" fmla="*/ 16 w 113"/>
                <a:gd name="T67" fmla="*/ 107 h 115"/>
                <a:gd name="T68" fmla="*/ 24 w 113"/>
                <a:gd name="T69" fmla="*/ 102 h 115"/>
                <a:gd name="T70" fmla="*/ 33 w 113"/>
                <a:gd name="T71" fmla="*/ 97 h 115"/>
                <a:gd name="T72" fmla="*/ 42 w 113"/>
                <a:gd name="T73" fmla="*/ 94 h 115"/>
                <a:gd name="T74" fmla="*/ 50 w 113"/>
                <a:gd name="T75" fmla="*/ 92 h 115"/>
                <a:gd name="T76" fmla="*/ 58 w 113"/>
                <a:gd name="T77" fmla="*/ 91 h 115"/>
                <a:gd name="T78" fmla="*/ 65 w 113"/>
                <a:gd name="T79" fmla="*/ 92 h 115"/>
                <a:gd name="T80" fmla="*/ 71 w 113"/>
                <a:gd name="T81" fmla="*/ 95 h 115"/>
                <a:gd name="T82" fmla="*/ 71 w 113"/>
                <a:gd name="T83" fmla="*/ 95 h 115"/>
                <a:gd name="T84" fmla="*/ 80 w 113"/>
                <a:gd name="T85" fmla="*/ 81 h 115"/>
                <a:gd name="T86" fmla="*/ 90 w 113"/>
                <a:gd name="T87" fmla="*/ 67 h 115"/>
                <a:gd name="T88" fmla="*/ 90 w 113"/>
                <a:gd name="T89" fmla="*/ 67 h 115"/>
                <a:gd name="T90" fmla="*/ 102 w 113"/>
                <a:gd name="T91" fmla="*/ 54 h 115"/>
                <a:gd name="T92" fmla="*/ 113 w 113"/>
                <a:gd name="T93" fmla="*/ 43 h 115"/>
                <a:gd name="T94" fmla="*/ 113 w 113"/>
                <a:gd name="T95" fmla="*/ 43 h 115"/>
                <a:gd name="T96" fmla="*/ 102 w 113"/>
                <a:gd name="T97" fmla="*/ 34 h 115"/>
                <a:gd name="T98" fmla="*/ 90 w 113"/>
                <a:gd name="T99" fmla="*/ 23 h 115"/>
                <a:gd name="T100" fmla="*/ 90 w 113"/>
                <a:gd name="T101" fmla="*/ 23 h 115"/>
                <a:gd name="T102" fmla="*/ 80 w 113"/>
                <a:gd name="T103" fmla="*/ 12 h 115"/>
                <a:gd name="T104" fmla="*/ 70 w 113"/>
                <a:gd name="T105" fmla="*/ 0 h 115"/>
                <a:gd name="T106" fmla="*/ 70 w 113"/>
                <a:gd name="T107" fmla="*/ 0 h 115"/>
                <a:gd name="T108" fmla="*/ 59 w 113"/>
                <a:gd name="T109" fmla="*/ 12 h 115"/>
                <a:gd name="T110" fmla="*/ 47 w 113"/>
                <a:gd name="T111" fmla="*/ 23 h 115"/>
                <a:gd name="T112" fmla="*/ 47 w 113"/>
                <a:gd name="T113" fmla="*/ 23 h 115"/>
                <a:gd name="T114" fmla="*/ 33 w 113"/>
                <a:gd name="T115" fmla="*/ 33 h 115"/>
                <a:gd name="T116" fmla="*/ 18 w 113"/>
                <a:gd name="T117" fmla="*/ 43 h 115"/>
                <a:gd name="T118" fmla="*/ 18 w 113"/>
                <a:gd name="T119" fmla="*/ 43 h 11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Lst>
              <a:rect l="0" t="0" r="r" b="b"/>
              <a:pathLst>
                <a:path w="113" h="115">
                  <a:moveTo>
                    <a:pt x="18" y="43"/>
                  </a:moveTo>
                  <a:lnTo>
                    <a:pt x="18" y="43"/>
                  </a:lnTo>
                  <a:lnTo>
                    <a:pt x="21" y="49"/>
                  </a:lnTo>
                  <a:lnTo>
                    <a:pt x="22" y="55"/>
                  </a:lnTo>
                  <a:lnTo>
                    <a:pt x="21" y="63"/>
                  </a:lnTo>
                  <a:lnTo>
                    <a:pt x="19" y="71"/>
                  </a:lnTo>
                  <a:lnTo>
                    <a:pt x="16" y="80"/>
                  </a:lnTo>
                  <a:lnTo>
                    <a:pt x="12" y="89"/>
                  </a:lnTo>
                  <a:lnTo>
                    <a:pt x="6" y="97"/>
                  </a:lnTo>
                  <a:lnTo>
                    <a:pt x="0" y="106"/>
                  </a:lnTo>
                  <a:lnTo>
                    <a:pt x="2" y="108"/>
                  </a:lnTo>
                  <a:lnTo>
                    <a:pt x="2" y="108"/>
                  </a:lnTo>
                  <a:lnTo>
                    <a:pt x="48" y="63"/>
                  </a:lnTo>
                  <a:lnTo>
                    <a:pt x="48" y="63"/>
                  </a:lnTo>
                  <a:lnTo>
                    <a:pt x="47" y="59"/>
                  </a:lnTo>
                  <a:lnTo>
                    <a:pt x="49" y="55"/>
                  </a:lnTo>
                  <a:lnTo>
                    <a:pt x="49" y="55"/>
                  </a:lnTo>
                  <a:lnTo>
                    <a:pt x="50" y="54"/>
                  </a:lnTo>
                  <a:lnTo>
                    <a:pt x="53" y="54"/>
                  </a:lnTo>
                  <a:lnTo>
                    <a:pt x="55" y="54"/>
                  </a:lnTo>
                  <a:lnTo>
                    <a:pt x="58" y="55"/>
                  </a:lnTo>
                  <a:lnTo>
                    <a:pt x="58" y="55"/>
                  </a:lnTo>
                  <a:lnTo>
                    <a:pt x="59" y="58"/>
                  </a:lnTo>
                  <a:lnTo>
                    <a:pt x="59" y="60"/>
                  </a:lnTo>
                  <a:lnTo>
                    <a:pt x="59" y="63"/>
                  </a:lnTo>
                  <a:lnTo>
                    <a:pt x="58" y="64"/>
                  </a:lnTo>
                  <a:lnTo>
                    <a:pt x="58" y="64"/>
                  </a:lnTo>
                  <a:lnTo>
                    <a:pt x="54" y="67"/>
                  </a:lnTo>
                  <a:lnTo>
                    <a:pt x="50" y="65"/>
                  </a:lnTo>
                  <a:lnTo>
                    <a:pt x="5" y="111"/>
                  </a:lnTo>
                  <a:lnTo>
                    <a:pt x="5" y="111"/>
                  </a:lnTo>
                  <a:lnTo>
                    <a:pt x="7" y="115"/>
                  </a:lnTo>
                  <a:lnTo>
                    <a:pt x="7" y="115"/>
                  </a:lnTo>
                  <a:lnTo>
                    <a:pt x="16" y="107"/>
                  </a:lnTo>
                  <a:lnTo>
                    <a:pt x="24" y="102"/>
                  </a:lnTo>
                  <a:lnTo>
                    <a:pt x="33" y="97"/>
                  </a:lnTo>
                  <a:lnTo>
                    <a:pt x="42" y="94"/>
                  </a:lnTo>
                  <a:lnTo>
                    <a:pt x="50" y="92"/>
                  </a:lnTo>
                  <a:lnTo>
                    <a:pt x="58" y="91"/>
                  </a:lnTo>
                  <a:lnTo>
                    <a:pt x="65" y="92"/>
                  </a:lnTo>
                  <a:lnTo>
                    <a:pt x="71" y="95"/>
                  </a:lnTo>
                  <a:lnTo>
                    <a:pt x="71" y="95"/>
                  </a:lnTo>
                  <a:lnTo>
                    <a:pt x="80" y="81"/>
                  </a:lnTo>
                  <a:lnTo>
                    <a:pt x="90" y="67"/>
                  </a:lnTo>
                  <a:lnTo>
                    <a:pt x="90" y="67"/>
                  </a:lnTo>
                  <a:lnTo>
                    <a:pt x="102" y="54"/>
                  </a:lnTo>
                  <a:lnTo>
                    <a:pt x="113" y="43"/>
                  </a:lnTo>
                  <a:lnTo>
                    <a:pt x="113" y="43"/>
                  </a:lnTo>
                  <a:lnTo>
                    <a:pt x="102" y="34"/>
                  </a:lnTo>
                  <a:lnTo>
                    <a:pt x="90" y="23"/>
                  </a:lnTo>
                  <a:lnTo>
                    <a:pt x="90" y="23"/>
                  </a:lnTo>
                  <a:lnTo>
                    <a:pt x="80" y="12"/>
                  </a:lnTo>
                  <a:lnTo>
                    <a:pt x="70" y="0"/>
                  </a:lnTo>
                  <a:lnTo>
                    <a:pt x="70" y="0"/>
                  </a:lnTo>
                  <a:lnTo>
                    <a:pt x="59" y="12"/>
                  </a:lnTo>
                  <a:lnTo>
                    <a:pt x="47" y="23"/>
                  </a:lnTo>
                  <a:lnTo>
                    <a:pt x="47" y="23"/>
                  </a:lnTo>
                  <a:lnTo>
                    <a:pt x="33" y="33"/>
                  </a:lnTo>
                  <a:lnTo>
                    <a:pt x="18" y="43"/>
                  </a:lnTo>
                  <a:lnTo>
                    <a:pt x="18" y="43"/>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9" name="Freeform 329">
              <a:extLst>
                <a:ext uri="{FF2B5EF4-FFF2-40B4-BE49-F238E27FC236}">
                  <a16:creationId xmlns:a16="http://schemas.microsoft.com/office/drawing/2014/main" id="{F78B52AC-E4D8-123D-4A8C-5B64E9521F3A}"/>
                </a:ext>
              </a:extLst>
            </p:cNvPr>
            <p:cNvSpPr>
              <a:spLocks/>
            </p:cNvSpPr>
            <p:nvPr/>
          </p:nvSpPr>
          <p:spPr bwMode="auto">
            <a:xfrm>
              <a:off x="5124450" y="4735513"/>
              <a:ext cx="260350" cy="261938"/>
            </a:xfrm>
            <a:custGeom>
              <a:avLst/>
              <a:gdLst>
                <a:gd name="T0" fmla="*/ 156 w 164"/>
                <a:gd name="T1" fmla="*/ 45 h 165"/>
                <a:gd name="T2" fmla="*/ 156 w 164"/>
                <a:gd name="T3" fmla="*/ 45 h 165"/>
                <a:gd name="T4" fmla="*/ 159 w 164"/>
                <a:gd name="T5" fmla="*/ 41 h 165"/>
                <a:gd name="T6" fmla="*/ 162 w 164"/>
                <a:gd name="T7" fmla="*/ 36 h 165"/>
                <a:gd name="T8" fmla="*/ 164 w 164"/>
                <a:gd name="T9" fmla="*/ 31 h 165"/>
                <a:gd name="T10" fmla="*/ 164 w 164"/>
                <a:gd name="T11" fmla="*/ 24 h 165"/>
                <a:gd name="T12" fmla="*/ 164 w 164"/>
                <a:gd name="T13" fmla="*/ 20 h 165"/>
                <a:gd name="T14" fmla="*/ 162 w 164"/>
                <a:gd name="T15" fmla="*/ 16 h 165"/>
                <a:gd name="T16" fmla="*/ 159 w 164"/>
                <a:gd name="T17" fmla="*/ 11 h 165"/>
                <a:gd name="T18" fmla="*/ 157 w 164"/>
                <a:gd name="T19" fmla="*/ 7 h 165"/>
                <a:gd name="T20" fmla="*/ 153 w 164"/>
                <a:gd name="T21" fmla="*/ 5 h 165"/>
                <a:gd name="T22" fmla="*/ 148 w 164"/>
                <a:gd name="T23" fmla="*/ 2 h 165"/>
                <a:gd name="T24" fmla="*/ 145 w 164"/>
                <a:gd name="T25" fmla="*/ 1 h 165"/>
                <a:gd name="T26" fmla="*/ 140 w 164"/>
                <a:gd name="T27" fmla="*/ 0 h 165"/>
                <a:gd name="T28" fmla="*/ 135 w 164"/>
                <a:gd name="T29" fmla="*/ 0 h 165"/>
                <a:gd name="T30" fmla="*/ 129 w 164"/>
                <a:gd name="T31" fmla="*/ 2 h 165"/>
                <a:gd name="T32" fmla="*/ 124 w 164"/>
                <a:gd name="T33" fmla="*/ 5 h 165"/>
                <a:gd name="T34" fmla="*/ 119 w 164"/>
                <a:gd name="T35" fmla="*/ 8 h 165"/>
                <a:gd name="T36" fmla="*/ 119 w 164"/>
                <a:gd name="T37" fmla="*/ 8 h 165"/>
                <a:gd name="T38" fmla="*/ 0 w 164"/>
                <a:gd name="T39" fmla="*/ 123 h 165"/>
                <a:gd name="T40" fmla="*/ 0 w 164"/>
                <a:gd name="T41" fmla="*/ 123 h 165"/>
                <a:gd name="T42" fmla="*/ 42 w 164"/>
                <a:gd name="T43" fmla="*/ 165 h 165"/>
                <a:gd name="T44" fmla="*/ 42 w 164"/>
                <a:gd name="T45" fmla="*/ 165 h 165"/>
                <a:gd name="T46" fmla="*/ 156 w 164"/>
                <a:gd name="T47" fmla="*/ 45 h 165"/>
                <a:gd name="T48" fmla="*/ 156 w 164"/>
                <a:gd name="T49" fmla="*/ 45 h 16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164" h="165">
                  <a:moveTo>
                    <a:pt x="156" y="45"/>
                  </a:moveTo>
                  <a:lnTo>
                    <a:pt x="156" y="45"/>
                  </a:lnTo>
                  <a:lnTo>
                    <a:pt x="159" y="41"/>
                  </a:lnTo>
                  <a:lnTo>
                    <a:pt x="162" y="36"/>
                  </a:lnTo>
                  <a:lnTo>
                    <a:pt x="164" y="31"/>
                  </a:lnTo>
                  <a:lnTo>
                    <a:pt x="164" y="24"/>
                  </a:lnTo>
                  <a:lnTo>
                    <a:pt x="164" y="20"/>
                  </a:lnTo>
                  <a:lnTo>
                    <a:pt x="162" y="16"/>
                  </a:lnTo>
                  <a:lnTo>
                    <a:pt x="159" y="11"/>
                  </a:lnTo>
                  <a:lnTo>
                    <a:pt x="157" y="7"/>
                  </a:lnTo>
                  <a:lnTo>
                    <a:pt x="153" y="5"/>
                  </a:lnTo>
                  <a:lnTo>
                    <a:pt x="148" y="2"/>
                  </a:lnTo>
                  <a:lnTo>
                    <a:pt x="145" y="1"/>
                  </a:lnTo>
                  <a:lnTo>
                    <a:pt x="140" y="0"/>
                  </a:lnTo>
                  <a:lnTo>
                    <a:pt x="135" y="0"/>
                  </a:lnTo>
                  <a:lnTo>
                    <a:pt x="129" y="2"/>
                  </a:lnTo>
                  <a:lnTo>
                    <a:pt x="124" y="5"/>
                  </a:lnTo>
                  <a:lnTo>
                    <a:pt x="119" y="8"/>
                  </a:lnTo>
                  <a:lnTo>
                    <a:pt x="119" y="8"/>
                  </a:lnTo>
                  <a:lnTo>
                    <a:pt x="0" y="123"/>
                  </a:lnTo>
                  <a:lnTo>
                    <a:pt x="0" y="123"/>
                  </a:lnTo>
                  <a:lnTo>
                    <a:pt x="42" y="165"/>
                  </a:lnTo>
                  <a:lnTo>
                    <a:pt x="42" y="165"/>
                  </a:lnTo>
                  <a:lnTo>
                    <a:pt x="156" y="45"/>
                  </a:lnTo>
                  <a:lnTo>
                    <a:pt x="156" y="45"/>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0" name="Freeform 330">
              <a:extLst>
                <a:ext uri="{FF2B5EF4-FFF2-40B4-BE49-F238E27FC236}">
                  <a16:creationId xmlns:a16="http://schemas.microsoft.com/office/drawing/2014/main" id="{40301C22-6954-2AEB-ED3C-FBD84ACED07D}"/>
                </a:ext>
              </a:extLst>
            </p:cNvPr>
            <p:cNvSpPr>
              <a:spLocks/>
            </p:cNvSpPr>
            <p:nvPr/>
          </p:nvSpPr>
          <p:spPr bwMode="auto">
            <a:xfrm>
              <a:off x="5113338" y="4929188"/>
              <a:ext cx="77788" cy="77788"/>
            </a:xfrm>
            <a:custGeom>
              <a:avLst/>
              <a:gdLst>
                <a:gd name="T0" fmla="*/ 49 w 49"/>
                <a:gd name="T1" fmla="*/ 43 h 49"/>
                <a:gd name="T2" fmla="*/ 6 w 49"/>
                <a:gd name="T3" fmla="*/ 0 h 49"/>
                <a:gd name="T4" fmla="*/ 0 w 49"/>
                <a:gd name="T5" fmla="*/ 6 h 49"/>
                <a:gd name="T6" fmla="*/ 43 w 49"/>
                <a:gd name="T7" fmla="*/ 49 h 49"/>
                <a:gd name="T8" fmla="*/ 49 w 49"/>
                <a:gd name="T9" fmla="*/ 43 h 49"/>
              </a:gdLst>
              <a:ahLst/>
              <a:cxnLst>
                <a:cxn ang="0">
                  <a:pos x="T0" y="T1"/>
                </a:cxn>
                <a:cxn ang="0">
                  <a:pos x="T2" y="T3"/>
                </a:cxn>
                <a:cxn ang="0">
                  <a:pos x="T4" y="T5"/>
                </a:cxn>
                <a:cxn ang="0">
                  <a:pos x="T6" y="T7"/>
                </a:cxn>
                <a:cxn ang="0">
                  <a:pos x="T8" y="T9"/>
                </a:cxn>
              </a:cxnLst>
              <a:rect l="0" t="0" r="r" b="b"/>
              <a:pathLst>
                <a:path w="49" h="49">
                  <a:moveTo>
                    <a:pt x="49" y="43"/>
                  </a:moveTo>
                  <a:lnTo>
                    <a:pt x="6" y="0"/>
                  </a:lnTo>
                  <a:lnTo>
                    <a:pt x="0" y="6"/>
                  </a:lnTo>
                  <a:lnTo>
                    <a:pt x="43" y="49"/>
                  </a:lnTo>
                  <a:lnTo>
                    <a:pt x="49" y="43"/>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1" name="Freeform 331">
              <a:extLst>
                <a:ext uri="{FF2B5EF4-FFF2-40B4-BE49-F238E27FC236}">
                  <a16:creationId xmlns:a16="http://schemas.microsoft.com/office/drawing/2014/main" id="{6FF01319-CCD1-A01E-96A2-077571AD17CE}"/>
                </a:ext>
              </a:extLst>
            </p:cNvPr>
            <p:cNvSpPr>
              <a:spLocks/>
            </p:cNvSpPr>
            <p:nvPr/>
          </p:nvSpPr>
          <p:spPr bwMode="auto">
            <a:xfrm>
              <a:off x="5214938" y="4660900"/>
              <a:ext cx="246063" cy="246063"/>
            </a:xfrm>
            <a:custGeom>
              <a:avLst/>
              <a:gdLst>
                <a:gd name="T0" fmla="*/ 52 w 155"/>
                <a:gd name="T1" fmla="*/ 155 h 155"/>
                <a:gd name="T2" fmla="*/ 148 w 155"/>
                <a:gd name="T3" fmla="*/ 59 h 155"/>
                <a:gd name="T4" fmla="*/ 148 w 155"/>
                <a:gd name="T5" fmla="*/ 59 h 155"/>
                <a:gd name="T6" fmla="*/ 150 w 155"/>
                <a:gd name="T7" fmla="*/ 55 h 155"/>
                <a:gd name="T8" fmla="*/ 153 w 155"/>
                <a:gd name="T9" fmla="*/ 50 h 155"/>
                <a:gd name="T10" fmla="*/ 154 w 155"/>
                <a:gd name="T11" fmla="*/ 46 h 155"/>
                <a:gd name="T12" fmla="*/ 155 w 155"/>
                <a:gd name="T13" fmla="*/ 41 h 155"/>
                <a:gd name="T14" fmla="*/ 154 w 155"/>
                <a:gd name="T15" fmla="*/ 36 h 155"/>
                <a:gd name="T16" fmla="*/ 153 w 155"/>
                <a:gd name="T17" fmla="*/ 31 h 155"/>
                <a:gd name="T18" fmla="*/ 150 w 155"/>
                <a:gd name="T19" fmla="*/ 26 h 155"/>
                <a:gd name="T20" fmla="*/ 147 w 155"/>
                <a:gd name="T21" fmla="*/ 21 h 155"/>
                <a:gd name="T22" fmla="*/ 133 w 155"/>
                <a:gd name="T23" fmla="*/ 9 h 155"/>
                <a:gd name="T24" fmla="*/ 133 w 155"/>
                <a:gd name="T25" fmla="*/ 9 h 155"/>
                <a:gd name="T26" fmla="*/ 130 w 155"/>
                <a:gd name="T27" fmla="*/ 5 h 155"/>
                <a:gd name="T28" fmla="*/ 125 w 155"/>
                <a:gd name="T29" fmla="*/ 2 h 155"/>
                <a:gd name="T30" fmla="*/ 120 w 155"/>
                <a:gd name="T31" fmla="*/ 1 h 155"/>
                <a:gd name="T32" fmla="*/ 115 w 155"/>
                <a:gd name="T33" fmla="*/ 0 h 155"/>
                <a:gd name="T34" fmla="*/ 110 w 155"/>
                <a:gd name="T35" fmla="*/ 1 h 155"/>
                <a:gd name="T36" fmla="*/ 105 w 155"/>
                <a:gd name="T37" fmla="*/ 2 h 155"/>
                <a:gd name="T38" fmla="*/ 100 w 155"/>
                <a:gd name="T39" fmla="*/ 5 h 155"/>
                <a:gd name="T40" fmla="*/ 96 w 155"/>
                <a:gd name="T41" fmla="*/ 7 h 155"/>
                <a:gd name="T42" fmla="*/ 0 w 155"/>
                <a:gd name="T43" fmla="*/ 104 h 155"/>
                <a:gd name="T44" fmla="*/ 52 w 155"/>
                <a:gd name="T45" fmla="*/ 155 h 1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155" h="155">
                  <a:moveTo>
                    <a:pt x="52" y="155"/>
                  </a:moveTo>
                  <a:lnTo>
                    <a:pt x="148" y="59"/>
                  </a:lnTo>
                  <a:lnTo>
                    <a:pt x="148" y="59"/>
                  </a:lnTo>
                  <a:lnTo>
                    <a:pt x="150" y="55"/>
                  </a:lnTo>
                  <a:lnTo>
                    <a:pt x="153" y="50"/>
                  </a:lnTo>
                  <a:lnTo>
                    <a:pt x="154" y="46"/>
                  </a:lnTo>
                  <a:lnTo>
                    <a:pt x="155" y="41"/>
                  </a:lnTo>
                  <a:lnTo>
                    <a:pt x="154" y="36"/>
                  </a:lnTo>
                  <a:lnTo>
                    <a:pt x="153" y="31"/>
                  </a:lnTo>
                  <a:lnTo>
                    <a:pt x="150" y="26"/>
                  </a:lnTo>
                  <a:lnTo>
                    <a:pt x="147" y="21"/>
                  </a:lnTo>
                  <a:lnTo>
                    <a:pt x="133" y="9"/>
                  </a:lnTo>
                  <a:lnTo>
                    <a:pt x="133" y="9"/>
                  </a:lnTo>
                  <a:lnTo>
                    <a:pt x="130" y="5"/>
                  </a:lnTo>
                  <a:lnTo>
                    <a:pt x="125" y="2"/>
                  </a:lnTo>
                  <a:lnTo>
                    <a:pt x="120" y="1"/>
                  </a:lnTo>
                  <a:lnTo>
                    <a:pt x="115" y="0"/>
                  </a:lnTo>
                  <a:lnTo>
                    <a:pt x="110" y="1"/>
                  </a:lnTo>
                  <a:lnTo>
                    <a:pt x="105" y="2"/>
                  </a:lnTo>
                  <a:lnTo>
                    <a:pt x="100" y="5"/>
                  </a:lnTo>
                  <a:lnTo>
                    <a:pt x="96" y="7"/>
                  </a:lnTo>
                  <a:lnTo>
                    <a:pt x="0" y="104"/>
                  </a:lnTo>
                  <a:lnTo>
                    <a:pt x="52" y="155"/>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2" name="Freeform 332">
              <a:extLst>
                <a:ext uri="{FF2B5EF4-FFF2-40B4-BE49-F238E27FC236}">
                  <a16:creationId xmlns:a16="http://schemas.microsoft.com/office/drawing/2014/main" id="{39DFA602-FAEC-F527-FDC8-05B85138BD62}"/>
                </a:ext>
              </a:extLst>
            </p:cNvPr>
            <p:cNvSpPr>
              <a:spLocks/>
            </p:cNvSpPr>
            <p:nvPr/>
          </p:nvSpPr>
          <p:spPr bwMode="auto">
            <a:xfrm>
              <a:off x="5214938" y="4668838"/>
              <a:ext cx="236538" cy="117475"/>
            </a:xfrm>
            <a:custGeom>
              <a:avLst/>
              <a:gdLst>
                <a:gd name="T0" fmla="*/ 148 w 149"/>
                <a:gd name="T1" fmla="*/ 59 h 74"/>
                <a:gd name="T2" fmla="*/ 96 w 149"/>
                <a:gd name="T3" fmla="*/ 7 h 74"/>
                <a:gd name="T4" fmla="*/ 96 w 149"/>
                <a:gd name="T5" fmla="*/ 7 h 74"/>
                <a:gd name="T6" fmla="*/ 93 w 149"/>
                <a:gd name="T7" fmla="*/ 5 h 74"/>
                <a:gd name="T8" fmla="*/ 89 w 149"/>
                <a:gd name="T9" fmla="*/ 2 h 74"/>
                <a:gd name="T10" fmla="*/ 84 w 149"/>
                <a:gd name="T11" fmla="*/ 1 h 74"/>
                <a:gd name="T12" fmla="*/ 80 w 149"/>
                <a:gd name="T13" fmla="*/ 0 h 74"/>
                <a:gd name="T14" fmla="*/ 75 w 149"/>
                <a:gd name="T15" fmla="*/ 0 h 74"/>
                <a:gd name="T16" fmla="*/ 72 w 149"/>
                <a:gd name="T17" fmla="*/ 1 h 74"/>
                <a:gd name="T18" fmla="*/ 68 w 149"/>
                <a:gd name="T19" fmla="*/ 2 h 74"/>
                <a:gd name="T20" fmla="*/ 64 w 149"/>
                <a:gd name="T21" fmla="*/ 6 h 74"/>
                <a:gd name="T22" fmla="*/ 9 w 149"/>
                <a:gd name="T23" fmla="*/ 60 h 74"/>
                <a:gd name="T24" fmla="*/ 9 w 149"/>
                <a:gd name="T25" fmla="*/ 60 h 74"/>
                <a:gd name="T26" fmla="*/ 0 w 149"/>
                <a:gd name="T27" fmla="*/ 70 h 74"/>
                <a:gd name="T28" fmla="*/ 0 w 149"/>
                <a:gd name="T29" fmla="*/ 70 h 74"/>
                <a:gd name="T30" fmla="*/ 6 w 149"/>
                <a:gd name="T31" fmla="*/ 73 h 74"/>
                <a:gd name="T32" fmla="*/ 12 w 149"/>
                <a:gd name="T33" fmla="*/ 74 h 74"/>
                <a:gd name="T34" fmla="*/ 19 w 149"/>
                <a:gd name="T35" fmla="*/ 73 h 74"/>
                <a:gd name="T36" fmla="*/ 22 w 149"/>
                <a:gd name="T37" fmla="*/ 70 h 74"/>
                <a:gd name="T38" fmla="*/ 22 w 149"/>
                <a:gd name="T39" fmla="*/ 70 h 74"/>
                <a:gd name="T40" fmla="*/ 25 w 149"/>
                <a:gd name="T41" fmla="*/ 65 h 74"/>
                <a:gd name="T42" fmla="*/ 25 w 149"/>
                <a:gd name="T43" fmla="*/ 62 h 74"/>
                <a:gd name="T44" fmla="*/ 73 w 149"/>
                <a:gd name="T45" fmla="*/ 13 h 74"/>
                <a:gd name="T46" fmla="*/ 73 w 149"/>
                <a:gd name="T47" fmla="*/ 13 h 74"/>
                <a:gd name="T48" fmla="*/ 76 w 149"/>
                <a:gd name="T49" fmla="*/ 11 h 74"/>
                <a:gd name="T50" fmla="*/ 80 w 149"/>
                <a:gd name="T51" fmla="*/ 11 h 74"/>
                <a:gd name="T52" fmla="*/ 85 w 149"/>
                <a:gd name="T53" fmla="*/ 11 h 74"/>
                <a:gd name="T54" fmla="*/ 90 w 149"/>
                <a:gd name="T55" fmla="*/ 15 h 74"/>
                <a:gd name="T56" fmla="*/ 141 w 149"/>
                <a:gd name="T57" fmla="*/ 66 h 74"/>
                <a:gd name="T58" fmla="*/ 141 w 149"/>
                <a:gd name="T59" fmla="*/ 66 h 74"/>
                <a:gd name="T60" fmla="*/ 143 w 149"/>
                <a:gd name="T61" fmla="*/ 68 h 74"/>
                <a:gd name="T62" fmla="*/ 144 w 149"/>
                <a:gd name="T63" fmla="*/ 68 h 74"/>
                <a:gd name="T64" fmla="*/ 147 w 149"/>
                <a:gd name="T65" fmla="*/ 68 h 74"/>
                <a:gd name="T66" fmla="*/ 148 w 149"/>
                <a:gd name="T67" fmla="*/ 66 h 74"/>
                <a:gd name="T68" fmla="*/ 148 w 149"/>
                <a:gd name="T69" fmla="*/ 66 h 74"/>
                <a:gd name="T70" fmla="*/ 149 w 149"/>
                <a:gd name="T71" fmla="*/ 65 h 74"/>
                <a:gd name="T72" fmla="*/ 149 w 149"/>
                <a:gd name="T73" fmla="*/ 63 h 74"/>
                <a:gd name="T74" fmla="*/ 149 w 149"/>
                <a:gd name="T75" fmla="*/ 60 h 74"/>
                <a:gd name="T76" fmla="*/ 148 w 149"/>
                <a:gd name="T77" fmla="*/ 59 h 74"/>
                <a:gd name="T78" fmla="*/ 148 w 149"/>
                <a:gd name="T79" fmla="*/ 59 h 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49" h="74">
                  <a:moveTo>
                    <a:pt x="148" y="59"/>
                  </a:moveTo>
                  <a:lnTo>
                    <a:pt x="96" y="7"/>
                  </a:lnTo>
                  <a:lnTo>
                    <a:pt x="96" y="7"/>
                  </a:lnTo>
                  <a:lnTo>
                    <a:pt x="93" y="5"/>
                  </a:lnTo>
                  <a:lnTo>
                    <a:pt x="89" y="2"/>
                  </a:lnTo>
                  <a:lnTo>
                    <a:pt x="84" y="1"/>
                  </a:lnTo>
                  <a:lnTo>
                    <a:pt x="80" y="0"/>
                  </a:lnTo>
                  <a:lnTo>
                    <a:pt x="75" y="0"/>
                  </a:lnTo>
                  <a:lnTo>
                    <a:pt x="72" y="1"/>
                  </a:lnTo>
                  <a:lnTo>
                    <a:pt x="68" y="2"/>
                  </a:lnTo>
                  <a:lnTo>
                    <a:pt x="64" y="6"/>
                  </a:lnTo>
                  <a:lnTo>
                    <a:pt x="9" y="60"/>
                  </a:lnTo>
                  <a:lnTo>
                    <a:pt x="9" y="60"/>
                  </a:lnTo>
                  <a:lnTo>
                    <a:pt x="0" y="70"/>
                  </a:lnTo>
                  <a:lnTo>
                    <a:pt x="0" y="70"/>
                  </a:lnTo>
                  <a:lnTo>
                    <a:pt x="6" y="73"/>
                  </a:lnTo>
                  <a:lnTo>
                    <a:pt x="12" y="74"/>
                  </a:lnTo>
                  <a:lnTo>
                    <a:pt x="19" y="73"/>
                  </a:lnTo>
                  <a:lnTo>
                    <a:pt x="22" y="70"/>
                  </a:lnTo>
                  <a:lnTo>
                    <a:pt x="22" y="70"/>
                  </a:lnTo>
                  <a:lnTo>
                    <a:pt x="25" y="65"/>
                  </a:lnTo>
                  <a:lnTo>
                    <a:pt x="25" y="62"/>
                  </a:lnTo>
                  <a:lnTo>
                    <a:pt x="73" y="13"/>
                  </a:lnTo>
                  <a:lnTo>
                    <a:pt x="73" y="13"/>
                  </a:lnTo>
                  <a:lnTo>
                    <a:pt x="76" y="11"/>
                  </a:lnTo>
                  <a:lnTo>
                    <a:pt x="80" y="11"/>
                  </a:lnTo>
                  <a:lnTo>
                    <a:pt x="85" y="11"/>
                  </a:lnTo>
                  <a:lnTo>
                    <a:pt x="90" y="15"/>
                  </a:lnTo>
                  <a:lnTo>
                    <a:pt x="141" y="66"/>
                  </a:lnTo>
                  <a:lnTo>
                    <a:pt x="141" y="66"/>
                  </a:lnTo>
                  <a:lnTo>
                    <a:pt x="143" y="68"/>
                  </a:lnTo>
                  <a:lnTo>
                    <a:pt x="144" y="68"/>
                  </a:lnTo>
                  <a:lnTo>
                    <a:pt x="147" y="68"/>
                  </a:lnTo>
                  <a:lnTo>
                    <a:pt x="148" y="66"/>
                  </a:lnTo>
                  <a:lnTo>
                    <a:pt x="148" y="66"/>
                  </a:lnTo>
                  <a:lnTo>
                    <a:pt x="149" y="65"/>
                  </a:lnTo>
                  <a:lnTo>
                    <a:pt x="149" y="63"/>
                  </a:lnTo>
                  <a:lnTo>
                    <a:pt x="149" y="60"/>
                  </a:lnTo>
                  <a:lnTo>
                    <a:pt x="148" y="59"/>
                  </a:lnTo>
                  <a:lnTo>
                    <a:pt x="148" y="59"/>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grpSp>
        <p:nvGrpSpPr>
          <p:cNvPr id="3" name="Group 406">
            <a:extLst>
              <a:ext uri="{FF2B5EF4-FFF2-40B4-BE49-F238E27FC236}">
                <a16:creationId xmlns:a16="http://schemas.microsoft.com/office/drawing/2014/main" id="{4CC18B6A-AB3D-8CD0-FD5E-1AAE09147405}"/>
              </a:ext>
            </a:extLst>
          </p:cNvPr>
          <p:cNvGrpSpPr/>
          <p:nvPr/>
        </p:nvGrpSpPr>
        <p:grpSpPr>
          <a:xfrm>
            <a:off x="910387" y="1467163"/>
            <a:ext cx="684000" cy="684000"/>
            <a:chOff x="3144838" y="0"/>
            <a:chExt cx="1112838" cy="1114425"/>
          </a:xfrm>
        </p:grpSpPr>
        <p:sp>
          <p:nvSpPr>
            <p:cNvPr id="4" name="Freeform 7">
              <a:extLst>
                <a:ext uri="{FF2B5EF4-FFF2-40B4-BE49-F238E27FC236}">
                  <a16:creationId xmlns:a16="http://schemas.microsoft.com/office/drawing/2014/main" id="{7AB6E9AC-F9FB-9071-497E-4D7CB1B59C1D}"/>
                </a:ext>
              </a:extLst>
            </p:cNvPr>
            <p:cNvSpPr>
              <a:spLocks/>
            </p:cNvSpPr>
            <p:nvPr/>
          </p:nvSpPr>
          <p:spPr bwMode="auto">
            <a:xfrm>
              <a:off x="3144838" y="0"/>
              <a:ext cx="1112838" cy="1114425"/>
            </a:xfrm>
            <a:custGeom>
              <a:avLst/>
              <a:gdLst>
                <a:gd name="T0" fmla="*/ 332 w 701"/>
                <a:gd name="T1" fmla="*/ 701 h 702"/>
                <a:gd name="T2" fmla="*/ 280 w 701"/>
                <a:gd name="T3" fmla="*/ 695 h 702"/>
                <a:gd name="T4" fmla="*/ 230 w 701"/>
                <a:gd name="T5" fmla="*/ 680 h 702"/>
                <a:gd name="T6" fmla="*/ 183 w 701"/>
                <a:gd name="T7" fmla="*/ 659 h 702"/>
                <a:gd name="T8" fmla="*/ 141 w 701"/>
                <a:gd name="T9" fmla="*/ 632 h 702"/>
                <a:gd name="T10" fmla="*/ 103 w 701"/>
                <a:gd name="T11" fmla="*/ 598 h 702"/>
                <a:gd name="T12" fmla="*/ 69 w 701"/>
                <a:gd name="T13" fmla="*/ 561 h 702"/>
                <a:gd name="T14" fmla="*/ 42 w 701"/>
                <a:gd name="T15" fmla="*/ 518 h 702"/>
                <a:gd name="T16" fmla="*/ 21 w 701"/>
                <a:gd name="T17" fmla="*/ 471 h 702"/>
                <a:gd name="T18" fmla="*/ 7 w 701"/>
                <a:gd name="T19" fmla="*/ 422 h 702"/>
                <a:gd name="T20" fmla="*/ 0 w 701"/>
                <a:gd name="T21" fmla="*/ 369 h 702"/>
                <a:gd name="T22" fmla="*/ 0 w 701"/>
                <a:gd name="T23" fmla="*/ 333 h 702"/>
                <a:gd name="T24" fmla="*/ 7 w 701"/>
                <a:gd name="T25" fmla="*/ 280 h 702"/>
                <a:gd name="T26" fmla="*/ 21 w 701"/>
                <a:gd name="T27" fmla="*/ 231 h 702"/>
                <a:gd name="T28" fmla="*/ 42 w 701"/>
                <a:gd name="T29" fmla="*/ 184 h 702"/>
                <a:gd name="T30" fmla="*/ 69 w 701"/>
                <a:gd name="T31" fmla="*/ 142 h 702"/>
                <a:gd name="T32" fmla="*/ 103 w 701"/>
                <a:gd name="T33" fmla="*/ 104 h 702"/>
                <a:gd name="T34" fmla="*/ 141 w 701"/>
                <a:gd name="T35" fmla="*/ 70 h 702"/>
                <a:gd name="T36" fmla="*/ 183 w 701"/>
                <a:gd name="T37" fmla="*/ 43 h 702"/>
                <a:gd name="T38" fmla="*/ 230 w 701"/>
                <a:gd name="T39" fmla="*/ 22 h 702"/>
                <a:gd name="T40" fmla="*/ 280 w 701"/>
                <a:gd name="T41" fmla="*/ 7 h 702"/>
                <a:gd name="T42" fmla="*/ 332 w 701"/>
                <a:gd name="T43" fmla="*/ 1 h 702"/>
                <a:gd name="T44" fmla="*/ 368 w 701"/>
                <a:gd name="T45" fmla="*/ 1 h 702"/>
                <a:gd name="T46" fmla="*/ 421 w 701"/>
                <a:gd name="T47" fmla="*/ 7 h 702"/>
                <a:gd name="T48" fmla="*/ 470 w 701"/>
                <a:gd name="T49" fmla="*/ 22 h 702"/>
                <a:gd name="T50" fmla="*/ 517 w 701"/>
                <a:gd name="T51" fmla="*/ 43 h 702"/>
                <a:gd name="T52" fmla="*/ 560 w 701"/>
                <a:gd name="T53" fmla="*/ 70 h 702"/>
                <a:gd name="T54" fmla="*/ 599 w 701"/>
                <a:gd name="T55" fmla="*/ 104 h 702"/>
                <a:gd name="T56" fmla="*/ 631 w 701"/>
                <a:gd name="T57" fmla="*/ 142 h 702"/>
                <a:gd name="T58" fmla="*/ 659 w 701"/>
                <a:gd name="T59" fmla="*/ 184 h 702"/>
                <a:gd name="T60" fmla="*/ 680 w 701"/>
                <a:gd name="T61" fmla="*/ 231 h 702"/>
                <a:gd name="T62" fmla="*/ 693 w 701"/>
                <a:gd name="T63" fmla="*/ 280 h 702"/>
                <a:gd name="T64" fmla="*/ 701 w 701"/>
                <a:gd name="T65" fmla="*/ 333 h 702"/>
                <a:gd name="T66" fmla="*/ 701 w 701"/>
                <a:gd name="T67" fmla="*/ 369 h 702"/>
                <a:gd name="T68" fmla="*/ 693 w 701"/>
                <a:gd name="T69" fmla="*/ 422 h 702"/>
                <a:gd name="T70" fmla="*/ 680 w 701"/>
                <a:gd name="T71" fmla="*/ 471 h 702"/>
                <a:gd name="T72" fmla="*/ 659 w 701"/>
                <a:gd name="T73" fmla="*/ 518 h 702"/>
                <a:gd name="T74" fmla="*/ 631 w 701"/>
                <a:gd name="T75" fmla="*/ 561 h 702"/>
                <a:gd name="T76" fmla="*/ 599 w 701"/>
                <a:gd name="T77" fmla="*/ 598 h 702"/>
                <a:gd name="T78" fmla="*/ 560 w 701"/>
                <a:gd name="T79" fmla="*/ 632 h 702"/>
                <a:gd name="T80" fmla="*/ 517 w 701"/>
                <a:gd name="T81" fmla="*/ 659 h 702"/>
                <a:gd name="T82" fmla="*/ 470 w 701"/>
                <a:gd name="T83" fmla="*/ 680 h 702"/>
                <a:gd name="T84" fmla="*/ 421 w 701"/>
                <a:gd name="T85" fmla="*/ 695 h 702"/>
                <a:gd name="T86" fmla="*/ 368 w 701"/>
                <a:gd name="T87" fmla="*/ 701 h 70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701" h="702">
                  <a:moveTo>
                    <a:pt x="351" y="702"/>
                  </a:moveTo>
                  <a:lnTo>
                    <a:pt x="351" y="702"/>
                  </a:lnTo>
                  <a:lnTo>
                    <a:pt x="332" y="701"/>
                  </a:lnTo>
                  <a:lnTo>
                    <a:pt x="315" y="699"/>
                  </a:lnTo>
                  <a:lnTo>
                    <a:pt x="298" y="697"/>
                  </a:lnTo>
                  <a:lnTo>
                    <a:pt x="280" y="695"/>
                  </a:lnTo>
                  <a:lnTo>
                    <a:pt x="263" y="691"/>
                  </a:lnTo>
                  <a:lnTo>
                    <a:pt x="246" y="686"/>
                  </a:lnTo>
                  <a:lnTo>
                    <a:pt x="230" y="680"/>
                  </a:lnTo>
                  <a:lnTo>
                    <a:pt x="214" y="674"/>
                  </a:lnTo>
                  <a:lnTo>
                    <a:pt x="199" y="667"/>
                  </a:lnTo>
                  <a:lnTo>
                    <a:pt x="183" y="659"/>
                  </a:lnTo>
                  <a:lnTo>
                    <a:pt x="168" y="651"/>
                  </a:lnTo>
                  <a:lnTo>
                    <a:pt x="155" y="641"/>
                  </a:lnTo>
                  <a:lnTo>
                    <a:pt x="141" y="632"/>
                  </a:lnTo>
                  <a:lnTo>
                    <a:pt x="127" y="622"/>
                  </a:lnTo>
                  <a:lnTo>
                    <a:pt x="115" y="611"/>
                  </a:lnTo>
                  <a:lnTo>
                    <a:pt x="103" y="598"/>
                  </a:lnTo>
                  <a:lnTo>
                    <a:pt x="90" y="587"/>
                  </a:lnTo>
                  <a:lnTo>
                    <a:pt x="81" y="574"/>
                  </a:lnTo>
                  <a:lnTo>
                    <a:pt x="69" y="561"/>
                  </a:lnTo>
                  <a:lnTo>
                    <a:pt x="60" y="546"/>
                  </a:lnTo>
                  <a:lnTo>
                    <a:pt x="51" y="533"/>
                  </a:lnTo>
                  <a:lnTo>
                    <a:pt x="42" y="518"/>
                  </a:lnTo>
                  <a:lnTo>
                    <a:pt x="35" y="503"/>
                  </a:lnTo>
                  <a:lnTo>
                    <a:pt x="27" y="487"/>
                  </a:lnTo>
                  <a:lnTo>
                    <a:pt x="21" y="471"/>
                  </a:lnTo>
                  <a:lnTo>
                    <a:pt x="15" y="455"/>
                  </a:lnTo>
                  <a:lnTo>
                    <a:pt x="11" y="439"/>
                  </a:lnTo>
                  <a:lnTo>
                    <a:pt x="7" y="422"/>
                  </a:lnTo>
                  <a:lnTo>
                    <a:pt x="4" y="405"/>
                  </a:lnTo>
                  <a:lnTo>
                    <a:pt x="2" y="387"/>
                  </a:lnTo>
                  <a:lnTo>
                    <a:pt x="0" y="369"/>
                  </a:lnTo>
                  <a:lnTo>
                    <a:pt x="0" y="352"/>
                  </a:lnTo>
                  <a:lnTo>
                    <a:pt x="0" y="352"/>
                  </a:lnTo>
                  <a:lnTo>
                    <a:pt x="0" y="333"/>
                  </a:lnTo>
                  <a:lnTo>
                    <a:pt x="2" y="316"/>
                  </a:lnTo>
                  <a:lnTo>
                    <a:pt x="4" y="297"/>
                  </a:lnTo>
                  <a:lnTo>
                    <a:pt x="7" y="280"/>
                  </a:lnTo>
                  <a:lnTo>
                    <a:pt x="11" y="264"/>
                  </a:lnTo>
                  <a:lnTo>
                    <a:pt x="15" y="247"/>
                  </a:lnTo>
                  <a:lnTo>
                    <a:pt x="21" y="231"/>
                  </a:lnTo>
                  <a:lnTo>
                    <a:pt x="27" y="215"/>
                  </a:lnTo>
                  <a:lnTo>
                    <a:pt x="35" y="199"/>
                  </a:lnTo>
                  <a:lnTo>
                    <a:pt x="42" y="184"/>
                  </a:lnTo>
                  <a:lnTo>
                    <a:pt x="51" y="169"/>
                  </a:lnTo>
                  <a:lnTo>
                    <a:pt x="60" y="155"/>
                  </a:lnTo>
                  <a:lnTo>
                    <a:pt x="69" y="142"/>
                  </a:lnTo>
                  <a:lnTo>
                    <a:pt x="81" y="128"/>
                  </a:lnTo>
                  <a:lnTo>
                    <a:pt x="90" y="116"/>
                  </a:lnTo>
                  <a:lnTo>
                    <a:pt x="103" y="104"/>
                  </a:lnTo>
                  <a:lnTo>
                    <a:pt x="115" y="91"/>
                  </a:lnTo>
                  <a:lnTo>
                    <a:pt x="127" y="80"/>
                  </a:lnTo>
                  <a:lnTo>
                    <a:pt x="141" y="70"/>
                  </a:lnTo>
                  <a:lnTo>
                    <a:pt x="155" y="60"/>
                  </a:lnTo>
                  <a:lnTo>
                    <a:pt x="168" y="52"/>
                  </a:lnTo>
                  <a:lnTo>
                    <a:pt x="183" y="43"/>
                  </a:lnTo>
                  <a:lnTo>
                    <a:pt x="199" y="35"/>
                  </a:lnTo>
                  <a:lnTo>
                    <a:pt x="214" y="28"/>
                  </a:lnTo>
                  <a:lnTo>
                    <a:pt x="230" y="22"/>
                  </a:lnTo>
                  <a:lnTo>
                    <a:pt x="246" y="16"/>
                  </a:lnTo>
                  <a:lnTo>
                    <a:pt x="263" y="11"/>
                  </a:lnTo>
                  <a:lnTo>
                    <a:pt x="280" y="7"/>
                  </a:lnTo>
                  <a:lnTo>
                    <a:pt x="298" y="5"/>
                  </a:lnTo>
                  <a:lnTo>
                    <a:pt x="315" y="2"/>
                  </a:lnTo>
                  <a:lnTo>
                    <a:pt x="332" y="1"/>
                  </a:lnTo>
                  <a:lnTo>
                    <a:pt x="351" y="0"/>
                  </a:lnTo>
                  <a:lnTo>
                    <a:pt x="351" y="0"/>
                  </a:lnTo>
                  <a:lnTo>
                    <a:pt x="368" y="1"/>
                  </a:lnTo>
                  <a:lnTo>
                    <a:pt x="386" y="2"/>
                  </a:lnTo>
                  <a:lnTo>
                    <a:pt x="404" y="5"/>
                  </a:lnTo>
                  <a:lnTo>
                    <a:pt x="421" y="7"/>
                  </a:lnTo>
                  <a:lnTo>
                    <a:pt x="438" y="11"/>
                  </a:lnTo>
                  <a:lnTo>
                    <a:pt x="454" y="16"/>
                  </a:lnTo>
                  <a:lnTo>
                    <a:pt x="470" y="22"/>
                  </a:lnTo>
                  <a:lnTo>
                    <a:pt x="486" y="28"/>
                  </a:lnTo>
                  <a:lnTo>
                    <a:pt x="502" y="35"/>
                  </a:lnTo>
                  <a:lnTo>
                    <a:pt x="517" y="43"/>
                  </a:lnTo>
                  <a:lnTo>
                    <a:pt x="532" y="52"/>
                  </a:lnTo>
                  <a:lnTo>
                    <a:pt x="547" y="60"/>
                  </a:lnTo>
                  <a:lnTo>
                    <a:pt x="560" y="70"/>
                  </a:lnTo>
                  <a:lnTo>
                    <a:pt x="574" y="80"/>
                  </a:lnTo>
                  <a:lnTo>
                    <a:pt x="586" y="91"/>
                  </a:lnTo>
                  <a:lnTo>
                    <a:pt x="599" y="104"/>
                  </a:lnTo>
                  <a:lnTo>
                    <a:pt x="610" y="116"/>
                  </a:lnTo>
                  <a:lnTo>
                    <a:pt x="621" y="128"/>
                  </a:lnTo>
                  <a:lnTo>
                    <a:pt x="631" y="142"/>
                  </a:lnTo>
                  <a:lnTo>
                    <a:pt x="640" y="155"/>
                  </a:lnTo>
                  <a:lnTo>
                    <a:pt x="650" y="169"/>
                  </a:lnTo>
                  <a:lnTo>
                    <a:pt x="659" y="184"/>
                  </a:lnTo>
                  <a:lnTo>
                    <a:pt x="666" y="199"/>
                  </a:lnTo>
                  <a:lnTo>
                    <a:pt x="674" y="215"/>
                  </a:lnTo>
                  <a:lnTo>
                    <a:pt x="680" y="231"/>
                  </a:lnTo>
                  <a:lnTo>
                    <a:pt x="685" y="247"/>
                  </a:lnTo>
                  <a:lnTo>
                    <a:pt x="690" y="264"/>
                  </a:lnTo>
                  <a:lnTo>
                    <a:pt x="693" y="280"/>
                  </a:lnTo>
                  <a:lnTo>
                    <a:pt x="697" y="297"/>
                  </a:lnTo>
                  <a:lnTo>
                    <a:pt x="698" y="316"/>
                  </a:lnTo>
                  <a:lnTo>
                    <a:pt x="701" y="333"/>
                  </a:lnTo>
                  <a:lnTo>
                    <a:pt x="701" y="352"/>
                  </a:lnTo>
                  <a:lnTo>
                    <a:pt x="701" y="352"/>
                  </a:lnTo>
                  <a:lnTo>
                    <a:pt x="701" y="369"/>
                  </a:lnTo>
                  <a:lnTo>
                    <a:pt x="698" y="387"/>
                  </a:lnTo>
                  <a:lnTo>
                    <a:pt x="697" y="405"/>
                  </a:lnTo>
                  <a:lnTo>
                    <a:pt x="693" y="422"/>
                  </a:lnTo>
                  <a:lnTo>
                    <a:pt x="690" y="439"/>
                  </a:lnTo>
                  <a:lnTo>
                    <a:pt x="685" y="455"/>
                  </a:lnTo>
                  <a:lnTo>
                    <a:pt x="680" y="471"/>
                  </a:lnTo>
                  <a:lnTo>
                    <a:pt x="674" y="487"/>
                  </a:lnTo>
                  <a:lnTo>
                    <a:pt x="666" y="503"/>
                  </a:lnTo>
                  <a:lnTo>
                    <a:pt x="659" y="518"/>
                  </a:lnTo>
                  <a:lnTo>
                    <a:pt x="650" y="533"/>
                  </a:lnTo>
                  <a:lnTo>
                    <a:pt x="640" y="546"/>
                  </a:lnTo>
                  <a:lnTo>
                    <a:pt x="631" y="561"/>
                  </a:lnTo>
                  <a:lnTo>
                    <a:pt x="621" y="574"/>
                  </a:lnTo>
                  <a:lnTo>
                    <a:pt x="610" y="587"/>
                  </a:lnTo>
                  <a:lnTo>
                    <a:pt x="599" y="598"/>
                  </a:lnTo>
                  <a:lnTo>
                    <a:pt x="586" y="611"/>
                  </a:lnTo>
                  <a:lnTo>
                    <a:pt x="574" y="622"/>
                  </a:lnTo>
                  <a:lnTo>
                    <a:pt x="560" y="632"/>
                  </a:lnTo>
                  <a:lnTo>
                    <a:pt x="547" y="641"/>
                  </a:lnTo>
                  <a:lnTo>
                    <a:pt x="532" y="651"/>
                  </a:lnTo>
                  <a:lnTo>
                    <a:pt x="517" y="659"/>
                  </a:lnTo>
                  <a:lnTo>
                    <a:pt x="502" y="667"/>
                  </a:lnTo>
                  <a:lnTo>
                    <a:pt x="486" y="674"/>
                  </a:lnTo>
                  <a:lnTo>
                    <a:pt x="470" y="680"/>
                  </a:lnTo>
                  <a:lnTo>
                    <a:pt x="454" y="686"/>
                  </a:lnTo>
                  <a:lnTo>
                    <a:pt x="438" y="691"/>
                  </a:lnTo>
                  <a:lnTo>
                    <a:pt x="421" y="695"/>
                  </a:lnTo>
                  <a:lnTo>
                    <a:pt x="404" y="697"/>
                  </a:lnTo>
                  <a:lnTo>
                    <a:pt x="386" y="699"/>
                  </a:lnTo>
                  <a:lnTo>
                    <a:pt x="368" y="701"/>
                  </a:lnTo>
                  <a:lnTo>
                    <a:pt x="351" y="702"/>
                  </a:lnTo>
                  <a:lnTo>
                    <a:pt x="351" y="702"/>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5" name="Freeform 202">
              <a:extLst>
                <a:ext uri="{FF2B5EF4-FFF2-40B4-BE49-F238E27FC236}">
                  <a16:creationId xmlns:a16="http://schemas.microsoft.com/office/drawing/2014/main" id="{0FD3203E-5D9C-9BF1-D7CB-F13BD33C2CFC}"/>
                </a:ext>
              </a:extLst>
            </p:cNvPr>
            <p:cNvSpPr>
              <a:spLocks/>
            </p:cNvSpPr>
            <p:nvPr/>
          </p:nvSpPr>
          <p:spPr bwMode="auto">
            <a:xfrm>
              <a:off x="3392488" y="244475"/>
              <a:ext cx="841375" cy="844550"/>
            </a:xfrm>
            <a:custGeom>
              <a:avLst/>
              <a:gdLst>
                <a:gd name="T0" fmla="*/ 343 w 530"/>
                <a:gd name="T1" fmla="*/ 110 h 532"/>
                <a:gd name="T2" fmla="*/ 340 w 530"/>
                <a:gd name="T3" fmla="*/ 109 h 532"/>
                <a:gd name="T4" fmla="*/ 311 w 530"/>
                <a:gd name="T5" fmla="*/ 79 h 532"/>
                <a:gd name="T6" fmla="*/ 277 w 530"/>
                <a:gd name="T7" fmla="*/ 58 h 532"/>
                <a:gd name="T8" fmla="*/ 275 w 530"/>
                <a:gd name="T9" fmla="*/ 58 h 532"/>
                <a:gd name="T10" fmla="*/ 269 w 530"/>
                <a:gd name="T11" fmla="*/ 59 h 532"/>
                <a:gd name="T12" fmla="*/ 260 w 530"/>
                <a:gd name="T13" fmla="*/ 72 h 532"/>
                <a:gd name="T14" fmla="*/ 234 w 530"/>
                <a:gd name="T15" fmla="*/ 46 h 532"/>
                <a:gd name="T16" fmla="*/ 229 w 530"/>
                <a:gd name="T17" fmla="*/ 40 h 532"/>
                <a:gd name="T18" fmla="*/ 208 w 530"/>
                <a:gd name="T19" fmla="*/ 24 h 532"/>
                <a:gd name="T20" fmla="*/ 185 w 530"/>
                <a:gd name="T21" fmla="*/ 11 h 532"/>
                <a:gd name="T22" fmla="*/ 160 w 530"/>
                <a:gd name="T23" fmla="*/ 4 h 532"/>
                <a:gd name="T24" fmla="*/ 134 w 530"/>
                <a:gd name="T25" fmla="*/ 0 h 532"/>
                <a:gd name="T26" fmla="*/ 121 w 530"/>
                <a:gd name="T27" fmla="*/ 1 h 532"/>
                <a:gd name="T28" fmla="*/ 95 w 530"/>
                <a:gd name="T29" fmla="*/ 6 h 532"/>
                <a:gd name="T30" fmla="*/ 70 w 530"/>
                <a:gd name="T31" fmla="*/ 16 h 532"/>
                <a:gd name="T32" fmla="*/ 49 w 530"/>
                <a:gd name="T33" fmla="*/ 31 h 532"/>
                <a:gd name="T34" fmla="*/ 39 w 530"/>
                <a:gd name="T35" fmla="*/ 40 h 532"/>
                <a:gd name="T36" fmla="*/ 22 w 530"/>
                <a:gd name="T37" fmla="*/ 61 h 532"/>
                <a:gd name="T38" fmla="*/ 10 w 530"/>
                <a:gd name="T39" fmla="*/ 84 h 532"/>
                <a:gd name="T40" fmla="*/ 2 w 530"/>
                <a:gd name="T41" fmla="*/ 109 h 532"/>
                <a:gd name="T42" fmla="*/ 0 w 530"/>
                <a:gd name="T43" fmla="*/ 135 h 532"/>
                <a:gd name="T44" fmla="*/ 0 w 530"/>
                <a:gd name="T45" fmla="*/ 149 h 532"/>
                <a:gd name="T46" fmla="*/ 6 w 530"/>
                <a:gd name="T47" fmla="*/ 177 h 532"/>
                <a:gd name="T48" fmla="*/ 17 w 530"/>
                <a:gd name="T49" fmla="*/ 201 h 532"/>
                <a:gd name="T50" fmla="*/ 33 w 530"/>
                <a:gd name="T51" fmla="*/ 223 h 532"/>
                <a:gd name="T52" fmla="*/ 74 w 530"/>
                <a:gd name="T53" fmla="*/ 264 h 532"/>
                <a:gd name="T54" fmla="*/ 63 w 530"/>
                <a:gd name="T55" fmla="*/ 270 h 532"/>
                <a:gd name="T56" fmla="*/ 59 w 530"/>
                <a:gd name="T57" fmla="*/ 275 h 532"/>
                <a:gd name="T58" fmla="*/ 59 w 530"/>
                <a:gd name="T59" fmla="*/ 283 h 532"/>
                <a:gd name="T60" fmla="*/ 76 w 530"/>
                <a:gd name="T61" fmla="*/ 312 h 532"/>
                <a:gd name="T62" fmla="*/ 79 w 530"/>
                <a:gd name="T63" fmla="*/ 315 h 532"/>
                <a:gd name="T64" fmla="*/ 296 w 530"/>
                <a:gd name="T65" fmla="*/ 532 h 532"/>
                <a:gd name="T66" fmla="*/ 336 w 530"/>
                <a:gd name="T67" fmla="*/ 517 h 532"/>
                <a:gd name="T68" fmla="*/ 375 w 530"/>
                <a:gd name="T69" fmla="*/ 496 h 532"/>
                <a:gd name="T70" fmla="*/ 410 w 530"/>
                <a:gd name="T71" fmla="*/ 473 h 532"/>
                <a:gd name="T72" fmla="*/ 443 w 530"/>
                <a:gd name="T73" fmla="*/ 443 h 532"/>
                <a:gd name="T74" fmla="*/ 471 w 530"/>
                <a:gd name="T75" fmla="*/ 411 h 532"/>
                <a:gd name="T76" fmla="*/ 494 w 530"/>
                <a:gd name="T77" fmla="*/ 375 h 532"/>
                <a:gd name="T78" fmla="*/ 514 w 530"/>
                <a:gd name="T79" fmla="*/ 337 h 532"/>
                <a:gd name="T80" fmla="*/ 530 w 530"/>
                <a:gd name="T81" fmla="*/ 296 h 5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530" h="532">
                  <a:moveTo>
                    <a:pt x="343" y="110"/>
                  </a:moveTo>
                  <a:lnTo>
                    <a:pt x="343" y="110"/>
                  </a:lnTo>
                  <a:lnTo>
                    <a:pt x="343" y="110"/>
                  </a:lnTo>
                  <a:lnTo>
                    <a:pt x="340" y="109"/>
                  </a:lnTo>
                  <a:lnTo>
                    <a:pt x="311" y="79"/>
                  </a:lnTo>
                  <a:lnTo>
                    <a:pt x="311" y="79"/>
                  </a:lnTo>
                  <a:lnTo>
                    <a:pt x="307" y="75"/>
                  </a:lnTo>
                  <a:lnTo>
                    <a:pt x="277" y="58"/>
                  </a:lnTo>
                  <a:lnTo>
                    <a:pt x="277" y="58"/>
                  </a:lnTo>
                  <a:lnTo>
                    <a:pt x="275" y="58"/>
                  </a:lnTo>
                  <a:lnTo>
                    <a:pt x="271" y="58"/>
                  </a:lnTo>
                  <a:lnTo>
                    <a:pt x="269" y="59"/>
                  </a:lnTo>
                  <a:lnTo>
                    <a:pt x="266" y="62"/>
                  </a:lnTo>
                  <a:lnTo>
                    <a:pt x="260" y="72"/>
                  </a:lnTo>
                  <a:lnTo>
                    <a:pt x="234" y="46"/>
                  </a:lnTo>
                  <a:lnTo>
                    <a:pt x="234" y="46"/>
                  </a:lnTo>
                  <a:lnTo>
                    <a:pt x="229" y="40"/>
                  </a:lnTo>
                  <a:lnTo>
                    <a:pt x="229" y="40"/>
                  </a:lnTo>
                  <a:lnTo>
                    <a:pt x="219" y="31"/>
                  </a:lnTo>
                  <a:lnTo>
                    <a:pt x="208" y="24"/>
                  </a:lnTo>
                  <a:lnTo>
                    <a:pt x="197" y="16"/>
                  </a:lnTo>
                  <a:lnTo>
                    <a:pt x="185" y="11"/>
                  </a:lnTo>
                  <a:lnTo>
                    <a:pt x="174" y="6"/>
                  </a:lnTo>
                  <a:lnTo>
                    <a:pt x="160" y="4"/>
                  </a:lnTo>
                  <a:lnTo>
                    <a:pt x="148" y="1"/>
                  </a:lnTo>
                  <a:lnTo>
                    <a:pt x="134" y="0"/>
                  </a:lnTo>
                  <a:lnTo>
                    <a:pt x="134" y="0"/>
                  </a:lnTo>
                  <a:lnTo>
                    <a:pt x="121" y="1"/>
                  </a:lnTo>
                  <a:lnTo>
                    <a:pt x="107" y="4"/>
                  </a:lnTo>
                  <a:lnTo>
                    <a:pt x="95" y="6"/>
                  </a:lnTo>
                  <a:lnTo>
                    <a:pt x="82" y="11"/>
                  </a:lnTo>
                  <a:lnTo>
                    <a:pt x="70" y="16"/>
                  </a:lnTo>
                  <a:lnTo>
                    <a:pt x="59" y="24"/>
                  </a:lnTo>
                  <a:lnTo>
                    <a:pt x="49" y="31"/>
                  </a:lnTo>
                  <a:lnTo>
                    <a:pt x="39" y="40"/>
                  </a:lnTo>
                  <a:lnTo>
                    <a:pt x="39" y="40"/>
                  </a:lnTo>
                  <a:lnTo>
                    <a:pt x="29" y="50"/>
                  </a:lnTo>
                  <a:lnTo>
                    <a:pt x="22" y="61"/>
                  </a:lnTo>
                  <a:lnTo>
                    <a:pt x="16" y="72"/>
                  </a:lnTo>
                  <a:lnTo>
                    <a:pt x="10" y="84"/>
                  </a:lnTo>
                  <a:lnTo>
                    <a:pt x="5" y="96"/>
                  </a:lnTo>
                  <a:lnTo>
                    <a:pt x="2" y="109"/>
                  </a:lnTo>
                  <a:lnTo>
                    <a:pt x="0" y="121"/>
                  </a:lnTo>
                  <a:lnTo>
                    <a:pt x="0" y="135"/>
                  </a:lnTo>
                  <a:lnTo>
                    <a:pt x="0" y="135"/>
                  </a:lnTo>
                  <a:lnTo>
                    <a:pt x="0" y="149"/>
                  </a:lnTo>
                  <a:lnTo>
                    <a:pt x="2" y="163"/>
                  </a:lnTo>
                  <a:lnTo>
                    <a:pt x="6" y="177"/>
                  </a:lnTo>
                  <a:lnTo>
                    <a:pt x="11" y="190"/>
                  </a:lnTo>
                  <a:lnTo>
                    <a:pt x="17" y="201"/>
                  </a:lnTo>
                  <a:lnTo>
                    <a:pt x="24" y="214"/>
                  </a:lnTo>
                  <a:lnTo>
                    <a:pt x="33" y="223"/>
                  </a:lnTo>
                  <a:lnTo>
                    <a:pt x="43" y="233"/>
                  </a:lnTo>
                  <a:lnTo>
                    <a:pt x="74" y="264"/>
                  </a:lnTo>
                  <a:lnTo>
                    <a:pt x="63" y="270"/>
                  </a:lnTo>
                  <a:lnTo>
                    <a:pt x="63" y="270"/>
                  </a:lnTo>
                  <a:lnTo>
                    <a:pt x="60" y="273"/>
                  </a:lnTo>
                  <a:lnTo>
                    <a:pt x="59" y="275"/>
                  </a:lnTo>
                  <a:lnTo>
                    <a:pt x="58" y="279"/>
                  </a:lnTo>
                  <a:lnTo>
                    <a:pt x="59" y="283"/>
                  </a:lnTo>
                  <a:lnTo>
                    <a:pt x="76" y="312"/>
                  </a:lnTo>
                  <a:lnTo>
                    <a:pt x="76" y="312"/>
                  </a:lnTo>
                  <a:lnTo>
                    <a:pt x="79" y="315"/>
                  </a:lnTo>
                  <a:lnTo>
                    <a:pt x="79" y="315"/>
                  </a:lnTo>
                  <a:lnTo>
                    <a:pt x="296" y="532"/>
                  </a:lnTo>
                  <a:lnTo>
                    <a:pt x="296" y="532"/>
                  </a:lnTo>
                  <a:lnTo>
                    <a:pt x="317" y="526"/>
                  </a:lnTo>
                  <a:lnTo>
                    <a:pt x="336" y="517"/>
                  </a:lnTo>
                  <a:lnTo>
                    <a:pt x="356" y="507"/>
                  </a:lnTo>
                  <a:lnTo>
                    <a:pt x="375" y="496"/>
                  </a:lnTo>
                  <a:lnTo>
                    <a:pt x="393" y="485"/>
                  </a:lnTo>
                  <a:lnTo>
                    <a:pt x="410" y="473"/>
                  </a:lnTo>
                  <a:lnTo>
                    <a:pt x="426" y="458"/>
                  </a:lnTo>
                  <a:lnTo>
                    <a:pt x="443" y="443"/>
                  </a:lnTo>
                  <a:lnTo>
                    <a:pt x="457" y="428"/>
                  </a:lnTo>
                  <a:lnTo>
                    <a:pt x="471" y="411"/>
                  </a:lnTo>
                  <a:lnTo>
                    <a:pt x="483" y="394"/>
                  </a:lnTo>
                  <a:lnTo>
                    <a:pt x="494" y="375"/>
                  </a:lnTo>
                  <a:lnTo>
                    <a:pt x="505" y="357"/>
                  </a:lnTo>
                  <a:lnTo>
                    <a:pt x="514" y="337"/>
                  </a:lnTo>
                  <a:lnTo>
                    <a:pt x="523" y="317"/>
                  </a:lnTo>
                  <a:lnTo>
                    <a:pt x="530" y="296"/>
                  </a:lnTo>
                  <a:lnTo>
                    <a:pt x="343" y="11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6" name="Freeform 203">
              <a:extLst>
                <a:ext uri="{FF2B5EF4-FFF2-40B4-BE49-F238E27FC236}">
                  <a16:creationId xmlns:a16="http://schemas.microsoft.com/office/drawing/2014/main" id="{C79D7E59-1C54-8596-D8B2-2C4816ACAC55}"/>
                </a:ext>
              </a:extLst>
            </p:cNvPr>
            <p:cNvSpPr>
              <a:spLocks noEditPoints="1"/>
            </p:cNvSpPr>
            <p:nvPr/>
          </p:nvSpPr>
          <p:spPr bwMode="auto">
            <a:xfrm>
              <a:off x="3462338" y="317500"/>
              <a:ext cx="528638" cy="528638"/>
            </a:xfrm>
            <a:custGeom>
              <a:avLst/>
              <a:gdLst>
                <a:gd name="T0" fmla="*/ 299 w 333"/>
                <a:gd name="T1" fmla="*/ 118 h 333"/>
                <a:gd name="T2" fmla="*/ 320 w 333"/>
                <a:gd name="T3" fmla="*/ 100 h 333"/>
                <a:gd name="T4" fmla="*/ 296 w 333"/>
                <a:gd name="T5" fmla="*/ 63 h 333"/>
                <a:gd name="T6" fmla="*/ 264 w 333"/>
                <a:gd name="T7" fmla="*/ 66 h 333"/>
                <a:gd name="T8" fmla="*/ 268 w 333"/>
                <a:gd name="T9" fmla="*/ 36 h 333"/>
                <a:gd name="T10" fmla="*/ 231 w 333"/>
                <a:gd name="T11" fmla="*/ 12 h 333"/>
                <a:gd name="T12" fmla="*/ 212 w 333"/>
                <a:gd name="T13" fmla="*/ 33 h 333"/>
                <a:gd name="T14" fmla="*/ 190 w 333"/>
                <a:gd name="T15" fmla="*/ 5 h 333"/>
                <a:gd name="T16" fmla="*/ 148 w 333"/>
                <a:gd name="T17" fmla="*/ 0 h 333"/>
                <a:gd name="T18" fmla="*/ 140 w 333"/>
                <a:gd name="T19" fmla="*/ 29 h 333"/>
                <a:gd name="T20" fmla="*/ 109 w 333"/>
                <a:gd name="T21" fmla="*/ 18 h 333"/>
                <a:gd name="T22" fmla="*/ 67 w 333"/>
                <a:gd name="T23" fmla="*/ 32 h 333"/>
                <a:gd name="T24" fmla="*/ 64 w 333"/>
                <a:gd name="T25" fmla="*/ 43 h 333"/>
                <a:gd name="T26" fmla="*/ 42 w 333"/>
                <a:gd name="T27" fmla="*/ 66 h 333"/>
                <a:gd name="T28" fmla="*/ 31 w 333"/>
                <a:gd name="T29" fmla="*/ 70 h 333"/>
                <a:gd name="T30" fmla="*/ 14 w 333"/>
                <a:gd name="T31" fmla="*/ 108 h 333"/>
                <a:gd name="T32" fmla="*/ 29 w 333"/>
                <a:gd name="T33" fmla="*/ 143 h 333"/>
                <a:gd name="T34" fmla="*/ 1 w 333"/>
                <a:gd name="T35" fmla="*/ 148 h 333"/>
                <a:gd name="T36" fmla="*/ 3 w 333"/>
                <a:gd name="T37" fmla="*/ 191 h 333"/>
                <a:gd name="T38" fmla="*/ 32 w 333"/>
                <a:gd name="T39" fmla="*/ 205 h 333"/>
                <a:gd name="T40" fmla="*/ 15 w 333"/>
                <a:gd name="T41" fmla="*/ 229 h 333"/>
                <a:gd name="T42" fmla="*/ 35 w 333"/>
                <a:gd name="T43" fmla="*/ 269 h 333"/>
                <a:gd name="T44" fmla="*/ 62 w 333"/>
                <a:gd name="T45" fmla="*/ 259 h 333"/>
                <a:gd name="T46" fmla="*/ 67 w 333"/>
                <a:gd name="T47" fmla="*/ 295 h 333"/>
                <a:gd name="T48" fmla="*/ 100 w 333"/>
                <a:gd name="T49" fmla="*/ 319 h 333"/>
                <a:gd name="T50" fmla="*/ 122 w 333"/>
                <a:gd name="T51" fmla="*/ 298 h 333"/>
                <a:gd name="T52" fmla="*/ 143 w 333"/>
                <a:gd name="T53" fmla="*/ 324 h 333"/>
                <a:gd name="T54" fmla="*/ 186 w 333"/>
                <a:gd name="T55" fmla="*/ 333 h 333"/>
                <a:gd name="T56" fmla="*/ 195 w 333"/>
                <a:gd name="T57" fmla="*/ 324 h 333"/>
                <a:gd name="T58" fmla="*/ 226 w 333"/>
                <a:gd name="T59" fmla="*/ 314 h 333"/>
                <a:gd name="T60" fmla="*/ 237 w 333"/>
                <a:gd name="T61" fmla="*/ 318 h 333"/>
                <a:gd name="T62" fmla="*/ 270 w 333"/>
                <a:gd name="T63" fmla="*/ 292 h 333"/>
                <a:gd name="T64" fmla="*/ 275 w 333"/>
                <a:gd name="T65" fmla="*/ 256 h 333"/>
                <a:gd name="T66" fmla="*/ 301 w 333"/>
                <a:gd name="T67" fmla="*/ 265 h 333"/>
                <a:gd name="T68" fmla="*/ 321 w 333"/>
                <a:gd name="T69" fmla="*/ 227 h 333"/>
                <a:gd name="T70" fmla="*/ 302 w 333"/>
                <a:gd name="T71" fmla="*/ 201 h 333"/>
                <a:gd name="T72" fmla="*/ 331 w 333"/>
                <a:gd name="T73" fmla="*/ 187 h 333"/>
                <a:gd name="T74" fmla="*/ 333 w 333"/>
                <a:gd name="T75" fmla="*/ 144 h 333"/>
                <a:gd name="T76" fmla="*/ 167 w 333"/>
                <a:gd name="T77" fmla="*/ 255 h 333"/>
                <a:gd name="T78" fmla="*/ 132 w 333"/>
                <a:gd name="T79" fmla="*/ 248 h 333"/>
                <a:gd name="T80" fmla="*/ 99 w 333"/>
                <a:gd name="T81" fmla="*/ 223 h 333"/>
                <a:gd name="T82" fmla="*/ 80 w 333"/>
                <a:gd name="T83" fmla="*/ 184 h 333"/>
                <a:gd name="T84" fmla="*/ 80 w 333"/>
                <a:gd name="T85" fmla="*/ 148 h 333"/>
                <a:gd name="T86" fmla="*/ 99 w 333"/>
                <a:gd name="T87" fmla="*/ 110 h 333"/>
                <a:gd name="T88" fmla="*/ 132 w 333"/>
                <a:gd name="T89" fmla="*/ 85 h 333"/>
                <a:gd name="T90" fmla="*/ 167 w 333"/>
                <a:gd name="T91" fmla="*/ 78 h 333"/>
                <a:gd name="T92" fmla="*/ 210 w 333"/>
                <a:gd name="T93" fmla="*/ 89 h 333"/>
                <a:gd name="T94" fmla="*/ 241 w 333"/>
                <a:gd name="T95" fmla="*/ 117 h 333"/>
                <a:gd name="T96" fmla="*/ 255 w 333"/>
                <a:gd name="T97" fmla="*/ 158 h 333"/>
                <a:gd name="T98" fmla="*/ 252 w 333"/>
                <a:gd name="T99" fmla="*/ 192 h 333"/>
                <a:gd name="T100" fmla="*/ 230 w 333"/>
                <a:gd name="T101" fmla="*/ 229 h 333"/>
                <a:gd name="T102" fmla="*/ 194 w 333"/>
                <a:gd name="T103" fmla="*/ 251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333" h="333">
                  <a:moveTo>
                    <a:pt x="325" y="139"/>
                  </a:moveTo>
                  <a:lnTo>
                    <a:pt x="305" y="139"/>
                  </a:lnTo>
                  <a:lnTo>
                    <a:pt x="305" y="139"/>
                  </a:lnTo>
                  <a:lnTo>
                    <a:pt x="302" y="128"/>
                  </a:lnTo>
                  <a:lnTo>
                    <a:pt x="299" y="118"/>
                  </a:lnTo>
                  <a:lnTo>
                    <a:pt x="316" y="108"/>
                  </a:lnTo>
                  <a:lnTo>
                    <a:pt x="316" y="108"/>
                  </a:lnTo>
                  <a:lnTo>
                    <a:pt x="318" y="106"/>
                  </a:lnTo>
                  <a:lnTo>
                    <a:pt x="320" y="102"/>
                  </a:lnTo>
                  <a:lnTo>
                    <a:pt x="320" y="100"/>
                  </a:lnTo>
                  <a:lnTo>
                    <a:pt x="318" y="96"/>
                  </a:lnTo>
                  <a:lnTo>
                    <a:pt x="301" y="66"/>
                  </a:lnTo>
                  <a:lnTo>
                    <a:pt x="301" y="66"/>
                  </a:lnTo>
                  <a:lnTo>
                    <a:pt x="299" y="64"/>
                  </a:lnTo>
                  <a:lnTo>
                    <a:pt x="296" y="63"/>
                  </a:lnTo>
                  <a:lnTo>
                    <a:pt x="292" y="63"/>
                  </a:lnTo>
                  <a:lnTo>
                    <a:pt x="290" y="64"/>
                  </a:lnTo>
                  <a:lnTo>
                    <a:pt x="271" y="74"/>
                  </a:lnTo>
                  <a:lnTo>
                    <a:pt x="271" y="74"/>
                  </a:lnTo>
                  <a:lnTo>
                    <a:pt x="264" y="66"/>
                  </a:lnTo>
                  <a:lnTo>
                    <a:pt x="257" y="59"/>
                  </a:lnTo>
                  <a:lnTo>
                    <a:pt x="267" y="42"/>
                  </a:lnTo>
                  <a:lnTo>
                    <a:pt x="267" y="42"/>
                  </a:lnTo>
                  <a:lnTo>
                    <a:pt x="268" y="38"/>
                  </a:lnTo>
                  <a:lnTo>
                    <a:pt x="268" y="36"/>
                  </a:lnTo>
                  <a:lnTo>
                    <a:pt x="265" y="32"/>
                  </a:lnTo>
                  <a:lnTo>
                    <a:pt x="263" y="29"/>
                  </a:lnTo>
                  <a:lnTo>
                    <a:pt x="233" y="12"/>
                  </a:lnTo>
                  <a:lnTo>
                    <a:pt x="233" y="12"/>
                  </a:lnTo>
                  <a:lnTo>
                    <a:pt x="231" y="12"/>
                  </a:lnTo>
                  <a:lnTo>
                    <a:pt x="227" y="12"/>
                  </a:lnTo>
                  <a:lnTo>
                    <a:pt x="225" y="13"/>
                  </a:lnTo>
                  <a:lnTo>
                    <a:pt x="222" y="16"/>
                  </a:lnTo>
                  <a:lnTo>
                    <a:pt x="212" y="33"/>
                  </a:lnTo>
                  <a:lnTo>
                    <a:pt x="212" y="33"/>
                  </a:lnTo>
                  <a:lnTo>
                    <a:pt x="201" y="31"/>
                  </a:lnTo>
                  <a:lnTo>
                    <a:pt x="191" y="28"/>
                  </a:lnTo>
                  <a:lnTo>
                    <a:pt x="191" y="8"/>
                  </a:lnTo>
                  <a:lnTo>
                    <a:pt x="191" y="8"/>
                  </a:lnTo>
                  <a:lnTo>
                    <a:pt x="190" y="5"/>
                  </a:lnTo>
                  <a:lnTo>
                    <a:pt x="188" y="2"/>
                  </a:lnTo>
                  <a:lnTo>
                    <a:pt x="185" y="1"/>
                  </a:lnTo>
                  <a:lnTo>
                    <a:pt x="183" y="0"/>
                  </a:lnTo>
                  <a:lnTo>
                    <a:pt x="148" y="0"/>
                  </a:lnTo>
                  <a:lnTo>
                    <a:pt x="148" y="0"/>
                  </a:lnTo>
                  <a:lnTo>
                    <a:pt x="144" y="1"/>
                  </a:lnTo>
                  <a:lnTo>
                    <a:pt x="142" y="2"/>
                  </a:lnTo>
                  <a:lnTo>
                    <a:pt x="140" y="5"/>
                  </a:lnTo>
                  <a:lnTo>
                    <a:pt x="140" y="8"/>
                  </a:lnTo>
                  <a:lnTo>
                    <a:pt x="140" y="29"/>
                  </a:lnTo>
                  <a:lnTo>
                    <a:pt x="140" y="29"/>
                  </a:lnTo>
                  <a:lnTo>
                    <a:pt x="128" y="32"/>
                  </a:lnTo>
                  <a:lnTo>
                    <a:pt x="119" y="34"/>
                  </a:lnTo>
                  <a:lnTo>
                    <a:pt x="109" y="18"/>
                  </a:lnTo>
                  <a:lnTo>
                    <a:pt x="109" y="18"/>
                  </a:lnTo>
                  <a:lnTo>
                    <a:pt x="106" y="15"/>
                  </a:lnTo>
                  <a:lnTo>
                    <a:pt x="104" y="13"/>
                  </a:lnTo>
                  <a:lnTo>
                    <a:pt x="100" y="13"/>
                  </a:lnTo>
                  <a:lnTo>
                    <a:pt x="96" y="15"/>
                  </a:lnTo>
                  <a:lnTo>
                    <a:pt x="67" y="32"/>
                  </a:lnTo>
                  <a:lnTo>
                    <a:pt x="67" y="32"/>
                  </a:lnTo>
                  <a:lnTo>
                    <a:pt x="64" y="34"/>
                  </a:lnTo>
                  <a:lnTo>
                    <a:pt x="63" y="37"/>
                  </a:lnTo>
                  <a:lnTo>
                    <a:pt x="63" y="41"/>
                  </a:lnTo>
                  <a:lnTo>
                    <a:pt x="64" y="43"/>
                  </a:lnTo>
                  <a:lnTo>
                    <a:pt x="74" y="62"/>
                  </a:lnTo>
                  <a:lnTo>
                    <a:pt x="74" y="62"/>
                  </a:lnTo>
                  <a:lnTo>
                    <a:pt x="67" y="69"/>
                  </a:lnTo>
                  <a:lnTo>
                    <a:pt x="59" y="76"/>
                  </a:lnTo>
                  <a:lnTo>
                    <a:pt x="42" y="66"/>
                  </a:lnTo>
                  <a:lnTo>
                    <a:pt x="42" y="66"/>
                  </a:lnTo>
                  <a:lnTo>
                    <a:pt x="40" y="65"/>
                  </a:lnTo>
                  <a:lnTo>
                    <a:pt x="36" y="66"/>
                  </a:lnTo>
                  <a:lnTo>
                    <a:pt x="32" y="68"/>
                  </a:lnTo>
                  <a:lnTo>
                    <a:pt x="31" y="70"/>
                  </a:lnTo>
                  <a:lnTo>
                    <a:pt x="14" y="100"/>
                  </a:lnTo>
                  <a:lnTo>
                    <a:pt x="14" y="100"/>
                  </a:lnTo>
                  <a:lnTo>
                    <a:pt x="12" y="102"/>
                  </a:lnTo>
                  <a:lnTo>
                    <a:pt x="12" y="106"/>
                  </a:lnTo>
                  <a:lnTo>
                    <a:pt x="14" y="108"/>
                  </a:lnTo>
                  <a:lnTo>
                    <a:pt x="16" y="111"/>
                  </a:lnTo>
                  <a:lnTo>
                    <a:pt x="35" y="122"/>
                  </a:lnTo>
                  <a:lnTo>
                    <a:pt x="35" y="122"/>
                  </a:lnTo>
                  <a:lnTo>
                    <a:pt x="31" y="132"/>
                  </a:lnTo>
                  <a:lnTo>
                    <a:pt x="29" y="143"/>
                  </a:lnTo>
                  <a:lnTo>
                    <a:pt x="9" y="143"/>
                  </a:lnTo>
                  <a:lnTo>
                    <a:pt x="9" y="143"/>
                  </a:lnTo>
                  <a:lnTo>
                    <a:pt x="6" y="143"/>
                  </a:lnTo>
                  <a:lnTo>
                    <a:pt x="3" y="145"/>
                  </a:lnTo>
                  <a:lnTo>
                    <a:pt x="1" y="148"/>
                  </a:lnTo>
                  <a:lnTo>
                    <a:pt x="0" y="152"/>
                  </a:lnTo>
                  <a:lnTo>
                    <a:pt x="0" y="185"/>
                  </a:lnTo>
                  <a:lnTo>
                    <a:pt x="0" y="185"/>
                  </a:lnTo>
                  <a:lnTo>
                    <a:pt x="1" y="189"/>
                  </a:lnTo>
                  <a:lnTo>
                    <a:pt x="3" y="191"/>
                  </a:lnTo>
                  <a:lnTo>
                    <a:pt x="6" y="194"/>
                  </a:lnTo>
                  <a:lnTo>
                    <a:pt x="9" y="194"/>
                  </a:lnTo>
                  <a:lnTo>
                    <a:pt x="30" y="194"/>
                  </a:lnTo>
                  <a:lnTo>
                    <a:pt x="30" y="194"/>
                  </a:lnTo>
                  <a:lnTo>
                    <a:pt x="32" y="205"/>
                  </a:lnTo>
                  <a:lnTo>
                    <a:pt x="36" y="214"/>
                  </a:lnTo>
                  <a:lnTo>
                    <a:pt x="19" y="224"/>
                  </a:lnTo>
                  <a:lnTo>
                    <a:pt x="19" y="224"/>
                  </a:lnTo>
                  <a:lnTo>
                    <a:pt x="16" y="227"/>
                  </a:lnTo>
                  <a:lnTo>
                    <a:pt x="15" y="229"/>
                  </a:lnTo>
                  <a:lnTo>
                    <a:pt x="14" y="233"/>
                  </a:lnTo>
                  <a:lnTo>
                    <a:pt x="15" y="237"/>
                  </a:lnTo>
                  <a:lnTo>
                    <a:pt x="32" y="266"/>
                  </a:lnTo>
                  <a:lnTo>
                    <a:pt x="32" y="266"/>
                  </a:lnTo>
                  <a:lnTo>
                    <a:pt x="35" y="269"/>
                  </a:lnTo>
                  <a:lnTo>
                    <a:pt x="37" y="270"/>
                  </a:lnTo>
                  <a:lnTo>
                    <a:pt x="41" y="270"/>
                  </a:lnTo>
                  <a:lnTo>
                    <a:pt x="45" y="269"/>
                  </a:lnTo>
                  <a:lnTo>
                    <a:pt x="62" y="259"/>
                  </a:lnTo>
                  <a:lnTo>
                    <a:pt x="62" y="259"/>
                  </a:lnTo>
                  <a:lnTo>
                    <a:pt x="69" y="266"/>
                  </a:lnTo>
                  <a:lnTo>
                    <a:pt x="78" y="274"/>
                  </a:lnTo>
                  <a:lnTo>
                    <a:pt x="68" y="291"/>
                  </a:lnTo>
                  <a:lnTo>
                    <a:pt x="68" y="291"/>
                  </a:lnTo>
                  <a:lnTo>
                    <a:pt x="67" y="295"/>
                  </a:lnTo>
                  <a:lnTo>
                    <a:pt x="67" y="297"/>
                  </a:lnTo>
                  <a:lnTo>
                    <a:pt x="68" y="301"/>
                  </a:lnTo>
                  <a:lnTo>
                    <a:pt x="70" y="302"/>
                  </a:lnTo>
                  <a:lnTo>
                    <a:pt x="100" y="319"/>
                  </a:lnTo>
                  <a:lnTo>
                    <a:pt x="100" y="319"/>
                  </a:lnTo>
                  <a:lnTo>
                    <a:pt x="104" y="321"/>
                  </a:lnTo>
                  <a:lnTo>
                    <a:pt x="106" y="321"/>
                  </a:lnTo>
                  <a:lnTo>
                    <a:pt x="110" y="319"/>
                  </a:lnTo>
                  <a:lnTo>
                    <a:pt x="112" y="317"/>
                  </a:lnTo>
                  <a:lnTo>
                    <a:pt x="122" y="298"/>
                  </a:lnTo>
                  <a:lnTo>
                    <a:pt x="122" y="298"/>
                  </a:lnTo>
                  <a:lnTo>
                    <a:pt x="132" y="302"/>
                  </a:lnTo>
                  <a:lnTo>
                    <a:pt x="143" y="305"/>
                  </a:lnTo>
                  <a:lnTo>
                    <a:pt x="143" y="324"/>
                  </a:lnTo>
                  <a:lnTo>
                    <a:pt x="143" y="324"/>
                  </a:lnTo>
                  <a:lnTo>
                    <a:pt x="144" y="327"/>
                  </a:lnTo>
                  <a:lnTo>
                    <a:pt x="146" y="330"/>
                  </a:lnTo>
                  <a:lnTo>
                    <a:pt x="148" y="332"/>
                  </a:lnTo>
                  <a:lnTo>
                    <a:pt x="152" y="333"/>
                  </a:lnTo>
                  <a:lnTo>
                    <a:pt x="186" y="333"/>
                  </a:lnTo>
                  <a:lnTo>
                    <a:pt x="186" y="333"/>
                  </a:lnTo>
                  <a:lnTo>
                    <a:pt x="189" y="332"/>
                  </a:lnTo>
                  <a:lnTo>
                    <a:pt x="193" y="330"/>
                  </a:lnTo>
                  <a:lnTo>
                    <a:pt x="194" y="327"/>
                  </a:lnTo>
                  <a:lnTo>
                    <a:pt x="195" y="324"/>
                  </a:lnTo>
                  <a:lnTo>
                    <a:pt x="195" y="303"/>
                  </a:lnTo>
                  <a:lnTo>
                    <a:pt x="195" y="303"/>
                  </a:lnTo>
                  <a:lnTo>
                    <a:pt x="205" y="301"/>
                  </a:lnTo>
                  <a:lnTo>
                    <a:pt x="216" y="297"/>
                  </a:lnTo>
                  <a:lnTo>
                    <a:pt x="226" y="314"/>
                  </a:lnTo>
                  <a:lnTo>
                    <a:pt x="226" y="314"/>
                  </a:lnTo>
                  <a:lnTo>
                    <a:pt x="227" y="317"/>
                  </a:lnTo>
                  <a:lnTo>
                    <a:pt x="231" y="319"/>
                  </a:lnTo>
                  <a:lnTo>
                    <a:pt x="233" y="319"/>
                  </a:lnTo>
                  <a:lnTo>
                    <a:pt x="237" y="318"/>
                  </a:lnTo>
                  <a:lnTo>
                    <a:pt x="267" y="301"/>
                  </a:lnTo>
                  <a:lnTo>
                    <a:pt x="267" y="301"/>
                  </a:lnTo>
                  <a:lnTo>
                    <a:pt x="269" y="298"/>
                  </a:lnTo>
                  <a:lnTo>
                    <a:pt x="270" y="296"/>
                  </a:lnTo>
                  <a:lnTo>
                    <a:pt x="270" y="292"/>
                  </a:lnTo>
                  <a:lnTo>
                    <a:pt x="270" y="288"/>
                  </a:lnTo>
                  <a:lnTo>
                    <a:pt x="259" y="271"/>
                  </a:lnTo>
                  <a:lnTo>
                    <a:pt x="259" y="271"/>
                  </a:lnTo>
                  <a:lnTo>
                    <a:pt x="268" y="264"/>
                  </a:lnTo>
                  <a:lnTo>
                    <a:pt x="275" y="256"/>
                  </a:lnTo>
                  <a:lnTo>
                    <a:pt x="291" y="266"/>
                  </a:lnTo>
                  <a:lnTo>
                    <a:pt x="291" y="266"/>
                  </a:lnTo>
                  <a:lnTo>
                    <a:pt x="295" y="266"/>
                  </a:lnTo>
                  <a:lnTo>
                    <a:pt x="299" y="266"/>
                  </a:lnTo>
                  <a:lnTo>
                    <a:pt x="301" y="265"/>
                  </a:lnTo>
                  <a:lnTo>
                    <a:pt x="304" y="263"/>
                  </a:lnTo>
                  <a:lnTo>
                    <a:pt x="321" y="233"/>
                  </a:lnTo>
                  <a:lnTo>
                    <a:pt x="321" y="233"/>
                  </a:lnTo>
                  <a:lnTo>
                    <a:pt x="322" y="229"/>
                  </a:lnTo>
                  <a:lnTo>
                    <a:pt x="321" y="227"/>
                  </a:lnTo>
                  <a:lnTo>
                    <a:pt x="320" y="223"/>
                  </a:lnTo>
                  <a:lnTo>
                    <a:pt x="317" y="221"/>
                  </a:lnTo>
                  <a:lnTo>
                    <a:pt x="300" y="211"/>
                  </a:lnTo>
                  <a:lnTo>
                    <a:pt x="300" y="211"/>
                  </a:lnTo>
                  <a:lnTo>
                    <a:pt x="302" y="201"/>
                  </a:lnTo>
                  <a:lnTo>
                    <a:pt x="305" y="190"/>
                  </a:lnTo>
                  <a:lnTo>
                    <a:pt x="325" y="190"/>
                  </a:lnTo>
                  <a:lnTo>
                    <a:pt x="325" y="190"/>
                  </a:lnTo>
                  <a:lnTo>
                    <a:pt x="328" y="190"/>
                  </a:lnTo>
                  <a:lnTo>
                    <a:pt x="331" y="187"/>
                  </a:lnTo>
                  <a:lnTo>
                    <a:pt x="333" y="185"/>
                  </a:lnTo>
                  <a:lnTo>
                    <a:pt x="333" y="181"/>
                  </a:lnTo>
                  <a:lnTo>
                    <a:pt x="333" y="148"/>
                  </a:lnTo>
                  <a:lnTo>
                    <a:pt x="333" y="148"/>
                  </a:lnTo>
                  <a:lnTo>
                    <a:pt x="333" y="144"/>
                  </a:lnTo>
                  <a:lnTo>
                    <a:pt x="331" y="142"/>
                  </a:lnTo>
                  <a:lnTo>
                    <a:pt x="328" y="139"/>
                  </a:lnTo>
                  <a:lnTo>
                    <a:pt x="325" y="139"/>
                  </a:lnTo>
                  <a:lnTo>
                    <a:pt x="325" y="139"/>
                  </a:lnTo>
                  <a:close/>
                  <a:moveTo>
                    <a:pt x="167" y="255"/>
                  </a:moveTo>
                  <a:lnTo>
                    <a:pt x="167" y="255"/>
                  </a:lnTo>
                  <a:lnTo>
                    <a:pt x="158" y="254"/>
                  </a:lnTo>
                  <a:lnTo>
                    <a:pt x="149" y="253"/>
                  </a:lnTo>
                  <a:lnTo>
                    <a:pt x="141" y="251"/>
                  </a:lnTo>
                  <a:lnTo>
                    <a:pt x="132" y="248"/>
                  </a:lnTo>
                  <a:lnTo>
                    <a:pt x="125" y="244"/>
                  </a:lnTo>
                  <a:lnTo>
                    <a:pt x="117" y="240"/>
                  </a:lnTo>
                  <a:lnTo>
                    <a:pt x="110" y="234"/>
                  </a:lnTo>
                  <a:lnTo>
                    <a:pt x="104" y="229"/>
                  </a:lnTo>
                  <a:lnTo>
                    <a:pt x="99" y="223"/>
                  </a:lnTo>
                  <a:lnTo>
                    <a:pt x="94" y="216"/>
                  </a:lnTo>
                  <a:lnTo>
                    <a:pt x="89" y="208"/>
                  </a:lnTo>
                  <a:lnTo>
                    <a:pt x="85" y="201"/>
                  </a:lnTo>
                  <a:lnTo>
                    <a:pt x="83" y="192"/>
                  </a:lnTo>
                  <a:lnTo>
                    <a:pt x="80" y="184"/>
                  </a:lnTo>
                  <a:lnTo>
                    <a:pt x="79" y="175"/>
                  </a:lnTo>
                  <a:lnTo>
                    <a:pt x="78" y="166"/>
                  </a:lnTo>
                  <a:lnTo>
                    <a:pt x="78" y="166"/>
                  </a:lnTo>
                  <a:lnTo>
                    <a:pt x="79" y="158"/>
                  </a:lnTo>
                  <a:lnTo>
                    <a:pt x="80" y="148"/>
                  </a:lnTo>
                  <a:lnTo>
                    <a:pt x="83" y="140"/>
                  </a:lnTo>
                  <a:lnTo>
                    <a:pt x="85" y="132"/>
                  </a:lnTo>
                  <a:lnTo>
                    <a:pt x="89" y="124"/>
                  </a:lnTo>
                  <a:lnTo>
                    <a:pt x="94" y="117"/>
                  </a:lnTo>
                  <a:lnTo>
                    <a:pt x="99" y="110"/>
                  </a:lnTo>
                  <a:lnTo>
                    <a:pt x="104" y="103"/>
                  </a:lnTo>
                  <a:lnTo>
                    <a:pt x="110" y="97"/>
                  </a:lnTo>
                  <a:lnTo>
                    <a:pt x="117" y="92"/>
                  </a:lnTo>
                  <a:lnTo>
                    <a:pt x="125" y="89"/>
                  </a:lnTo>
                  <a:lnTo>
                    <a:pt x="132" y="85"/>
                  </a:lnTo>
                  <a:lnTo>
                    <a:pt x="141" y="81"/>
                  </a:lnTo>
                  <a:lnTo>
                    <a:pt x="149" y="79"/>
                  </a:lnTo>
                  <a:lnTo>
                    <a:pt x="158" y="78"/>
                  </a:lnTo>
                  <a:lnTo>
                    <a:pt x="167" y="78"/>
                  </a:lnTo>
                  <a:lnTo>
                    <a:pt x="167" y="78"/>
                  </a:lnTo>
                  <a:lnTo>
                    <a:pt x="177" y="78"/>
                  </a:lnTo>
                  <a:lnTo>
                    <a:pt x="185" y="79"/>
                  </a:lnTo>
                  <a:lnTo>
                    <a:pt x="194" y="81"/>
                  </a:lnTo>
                  <a:lnTo>
                    <a:pt x="201" y="85"/>
                  </a:lnTo>
                  <a:lnTo>
                    <a:pt x="210" y="89"/>
                  </a:lnTo>
                  <a:lnTo>
                    <a:pt x="216" y="92"/>
                  </a:lnTo>
                  <a:lnTo>
                    <a:pt x="223" y="97"/>
                  </a:lnTo>
                  <a:lnTo>
                    <a:pt x="230" y="103"/>
                  </a:lnTo>
                  <a:lnTo>
                    <a:pt x="236" y="110"/>
                  </a:lnTo>
                  <a:lnTo>
                    <a:pt x="241" y="117"/>
                  </a:lnTo>
                  <a:lnTo>
                    <a:pt x="246" y="124"/>
                  </a:lnTo>
                  <a:lnTo>
                    <a:pt x="249" y="132"/>
                  </a:lnTo>
                  <a:lnTo>
                    <a:pt x="252" y="140"/>
                  </a:lnTo>
                  <a:lnTo>
                    <a:pt x="254" y="148"/>
                  </a:lnTo>
                  <a:lnTo>
                    <a:pt x="255" y="158"/>
                  </a:lnTo>
                  <a:lnTo>
                    <a:pt x="255" y="166"/>
                  </a:lnTo>
                  <a:lnTo>
                    <a:pt x="255" y="166"/>
                  </a:lnTo>
                  <a:lnTo>
                    <a:pt x="255" y="175"/>
                  </a:lnTo>
                  <a:lnTo>
                    <a:pt x="254" y="184"/>
                  </a:lnTo>
                  <a:lnTo>
                    <a:pt x="252" y="192"/>
                  </a:lnTo>
                  <a:lnTo>
                    <a:pt x="249" y="201"/>
                  </a:lnTo>
                  <a:lnTo>
                    <a:pt x="246" y="208"/>
                  </a:lnTo>
                  <a:lnTo>
                    <a:pt x="241" y="216"/>
                  </a:lnTo>
                  <a:lnTo>
                    <a:pt x="236" y="223"/>
                  </a:lnTo>
                  <a:lnTo>
                    <a:pt x="230" y="229"/>
                  </a:lnTo>
                  <a:lnTo>
                    <a:pt x="223" y="234"/>
                  </a:lnTo>
                  <a:lnTo>
                    <a:pt x="216" y="240"/>
                  </a:lnTo>
                  <a:lnTo>
                    <a:pt x="210" y="244"/>
                  </a:lnTo>
                  <a:lnTo>
                    <a:pt x="201" y="248"/>
                  </a:lnTo>
                  <a:lnTo>
                    <a:pt x="194" y="251"/>
                  </a:lnTo>
                  <a:lnTo>
                    <a:pt x="185" y="253"/>
                  </a:lnTo>
                  <a:lnTo>
                    <a:pt x="177" y="254"/>
                  </a:lnTo>
                  <a:lnTo>
                    <a:pt x="167" y="255"/>
                  </a:lnTo>
                  <a:lnTo>
                    <a:pt x="167" y="255"/>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7" name="Freeform 204">
              <a:extLst>
                <a:ext uri="{FF2B5EF4-FFF2-40B4-BE49-F238E27FC236}">
                  <a16:creationId xmlns:a16="http://schemas.microsoft.com/office/drawing/2014/main" id="{2FE90E7E-982A-6A25-2925-B9827DD94769}"/>
                </a:ext>
              </a:extLst>
            </p:cNvPr>
            <p:cNvSpPr>
              <a:spLocks/>
            </p:cNvSpPr>
            <p:nvPr/>
          </p:nvSpPr>
          <p:spPr bwMode="auto">
            <a:xfrm>
              <a:off x="3462338" y="317500"/>
              <a:ext cx="260350" cy="528638"/>
            </a:xfrm>
            <a:custGeom>
              <a:avLst/>
              <a:gdLst>
                <a:gd name="T0" fmla="*/ 156 w 164"/>
                <a:gd name="T1" fmla="*/ 254 h 333"/>
                <a:gd name="T2" fmla="*/ 131 w 164"/>
                <a:gd name="T3" fmla="*/ 247 h 333"/>
                <a:gd name="T4" fmla="*/ 110 w 164"/>
                <a:gd name="T5" fmla="*/ 234 h 333"/>
                <a:gd name="T6" fmla="*/ 93 w 164"/>
                <a:gd name="T7" fmla="*/ 214 h 333"/>
                <a:gd name="T8" fmla="*/ 82 w 164"/>
                <a:gd name="T9" fmla="*/ 192 h 333"/>
                <a:gd name="T10" fmla="*/ 78 w 164"/>
                <a:gd name="T11" fmla="*/ 166 h 333"/>
                <a:gd name="T12" fmla="*/ 80 w 164"/>
                <a:gd name="T13" fmla="*/ 149 h 333"/>
                <a:gd name="T14" fmla="*/ 89 w 164"/>
                <a:gd name="T15" fmla="*/ 124 h 333"/>
                <a:gd name="T16" fmla="*/ 104 w 164"/>
                <a:gd name="T17" fmla="*/ 105 h 333"/>
                <a:gd name="T18" fmla="*/ 123 w 164"/>
                <a:gd name="T19" fmla="*/ 89 h 333"/>
                <a:gd name="T20" fmla="*/ 147 w 164"/>
                <a:gd name="T21" fmla="*/ 80 h 333"/>
                <a:gd name="T22" fmla="*/ 164 w 164"/>
                <a:gd name="T23" fmla="*/ 0 h 333"/>
                <a:gd name="T24" fmla="*/ 144 w 164"/>
                <a:gd name="T25" fmla="*/ 1 h 333"/>
                <a:gd name="T26" fmla="*/ 140 w 164"/>
                <a:gd name="T27" fmla="*/ 8 h 333"/>
                <a:gd name="T28" fmla="*/ 128 w 164"/>
                <a:gd name="T29" fmla="*/ 32 h 333"/>
                <a:gd name="T30" fmla="*/ 109 w 164"/>
                <a:gd name="T31" fmla="*/ 18 h 333"/>
                <a:gd name="T32" fmla="*/ 100 w 164"/>
                <a:gd name="T33" fmla="*/ 13 h 333"/>
                <a:gd name="T34" fmla="*/ 67 w 164"/>
                <a:gd name="T35" fmla="*/ 32 h 333"/>
                <a:gd name="T36" fmla="*/ 63 w 164"/>
                <a:gd name="T37" fmla="*/ 41 h 333"/>
                <a:gd name="T38" fmla="*/ 74 w 164"/>
                <a:gd name="T39" fmla="*/ 62 h 333"/>
                <a:gd name="T40" fmla="*/ 42 w 164"/>
                <a:gd name="T41" fmla="*/ 66 h 333"/>
                <a:gd name="T42" fmla="*/ 36 w 164"/>
                <a:gd name="T43" fmla="*/ 66 h 333"/>
                <a:gd name="T44" fmla="*/ 14 w 164"/>
                <a:gd name="T45" fmla="*/ 100 h 333"/>
                <a:gd name="T46" fmla="*/ 12 w 164"/>
                <a:gd name="T47" fmla="*/ 106 h 333"/>
                <a:gd name="T48" fmla="*/ 35 w 164"/>
                <a:gd name="T49" fmla="*/ 122 h 333"/>
                <a:gd name="T50" fmla="*/ 29 w 164"/>
                <a:gd name="T51" fmla="*/ 143 h 333"/>
                <a:gd name="T52" fmla="*/ 6 w 164"/>
                <a:gd name="T53" fmla="*/ 143 h 333"/>
                <a:gd name="T54" fmla="*/ 0 w 164"/>
                <a:gd name="T55" fmla="*/ 152 h 333"/>
                <a:gd name="T56" fmla="*/ 1 w 164"/>
                <a:gd name="T57" fmla="*/ 189 h 333"/>
                <a:gd name="T58" fmla="*/ 9 w 164"/>
                <a:gd name="T59" fmla="*/ 194 h 333"/>
                <a:gd name="T60" fmla="*/ 32 w 164"/>
                <a:gd name="T61" fmla="*/ 205 h 333"/>
                <a:gd name="T62" fmla="*/ 19 w 164"/>
                <a:gd name="T63" fmla="*/ 224 h 333"/>
                <a:gd name="T64" fmla="*/ 14 w 164"/>
                <a:gd name="T65" fmla="*/ 233 h 333"/>
                <a:gd name="T66" fmla="*/ 32 w 164"/>
                <a:gd name="T67" fmla="*/ 266 h 333"/>
                <a:gd name="T68" fmla="*/ 41 w 164"/>
                <a:gd name="T69" fmla="*/ 270 h 333"/>
                <a:gd name="T70" fmla="*/ 62 w 164"/>
                <a:gd name="T71" fmla="*/ 259 h 333"/>
                <a:gd name="T72" fmla="*/ 68 w 164"/>
                <a:gd name="T73" fmla="*/ 291 h 333"/>
                <a:gd name="T74" fmla="*/ 67 w 164"/>
                <a:gd name="T75" fmla="*/ 297 h 333"/>
                <a:gd name="T76" fmla="*/ 100 w 164"/>
                <a:gd name="T77" fmla="*/ 319 h 333"/>
                <a:gd name="T78" fmla="*/ 106 w 164"/>
                <a:gd name="T79" fmla="*/ 321 h 333"/>
                <a:gd name="T80" fmla="*/ 122 w 164"/>
                <a:gd name="T81" fmla="*/ 298 h 333"/>
                <a:gd name="T82" fmla="*/ 143 w 164"/>
                <a:gd name="T83" fmla="*/ 305 h 333"/>
                <a:gd name="T84" fmla="*/ 144 w 164"/>
                <a:gd name="T85" fmla="*/ 327 h 333"/>
                <a:gd name="T86" fmla="*/ 152 w 164"/>
                <a:gd name="T87" fmla="*/ 333 h 33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64" h="333">
                  <a:moveTo>
                    <a:pt x="164" y="255"/>
                  </a:moveTo>
                  <a:lnTo>
                    <a:pt x="164" y="255"/>
                  </a:lnTo>
                  <a:lnTo>
                    <a:pt x="156" y="254"/>
                  </a:lnTo>
                  <a:lnTo>
                    <a:pt x="147" y="253"/>
                  </a:lnTo>
                  <a:lnTo>
                    <a:pt x="138" y="250"/>
                  </a:lnTo>
                  <a:lnTo>
                    <a:pt x="131" y="247"/>
                  </a:lnTo>
                  <a:lnTo>
                    <a:pt x="123" y="243"/>
                  </a:lnTo>
                  <a:lnTo>
                    <a:pt x="116" y="239"/>
                  </a:lnTo>
                  <a:lnTo>
                    <a:pt x="110" y="234"/>
                  </a:lnTo>
                  <a:lnTo>
                    <a:pt x="104" y="228"/>
                  </a:lnTo>
                  <a:lnTo>
                    <a:pt x="98" y="222"/>
                  </a:lnTo>
                  <a:lnTo>
                    <a:pt x="93" y="214"/>
                  </a:lnTo>
                  <a:lnTo>
                    <a:pt x="89" y="208"/>
                  </a:lnTo>
                  <a:lnTo>
                    <a:pt x="85" y="200"/>
                  </a:lnTo>
                  <a:lnTo>
                    <a:pt x="82" y="192"/>
                  </a:lnTo>
                  <a:lnTo>
                    <a:pt x="80" y="184"/>
                  </a:lnTo>
                  <a:lnTo>
                    <a:pt x="79" y="175"/>
                  </a:lnTo>
                  <a:lnTo>
                    <a:pt x="78" y="166"/>
                  </a:lnTo>
                  <a:lnTo>
                    <a:pt x="78" y="166"/>
                  </a:lnTo>
                  <a:lnTo>
                    <a:pt x="79" y="158"/>
                  </a:lnTo>
                  <a:lnTo>
                    <a:pt x="80" y="149"/>
                  </a:lnTo>
                  <a:lnTo>
                    <a:pt x="82" y="140"/>
                  </a:lnTo>
                  <a:lnTo>
                    <a:pt x="85" y="132"/>
                  </a:lnTo>
                  <a:lnTo>
                    <a:pt x="89" y="124"/>
                  </a:lnTo>
                  <a:lnTo>
                    <a:pt x="93" y="117"/>
                  </a:lnTo>
                  <a:lnTo>
                    <a:pt x="98" y="111"/>
                  </a:lnTo>
                  <a:lnTo>
                    <a:pt x="104" y="105"/>
                  </a:lnTo>
                  <a:lnTo>
                    <a:pt x="110" y="99"/>
                  </a:lnTo>
                  <a:lnTo>
                    <a:pt x="116" y="94"/>
                  </a:lnTo>
                  <a:lnTo>
                    <a:pt x="123" y="89"/>
                  </a:lnTo>
                  <a:lnTo>
                    <a:pt x="131" y="85"/>
                  </a:lnTo>
                  <a:lnTo>
                    <a:pt x="138" y="82"/>
                  </a:lnTo>
                  <a:lnTo>
                    <a:pt x="147" y="80"/>
                  </a:lnTo>
                  <a:lnTo>
                    <a:pt x="156" y="79"/>
                  </a:lnTo>
                  <a:lnTo>
                    <a:pt x="164" y="78"/>
                  </a:lnTo>
                  <a:lnTo>
                    <a:pt x="164" y="0"/>
                  </a:lnTo>
                  <a:lnTo>
                    <a:pt x="148" y="0"/>
                  </a:lnTo>
                  <a:lnTo>
                    <a:pt x="148" y="0"/>
                  </a:lnTo>
                  <a:lnTo>
                    <a:pt x="144" y="1"/>
                  </a:lnTo>
                  <a:lnTo>
                    <a:pt x="142" y="2"/>
                  </a:lnTo>
                  <a:lnTo>
                    <a:pt x="140" y="5"/>
                  </a:lnTo>
                  <a:lnTo>
                    <a:pt x="140" y="8"/>
                  </a:lnTo>
                  <a:lnTo>
                    <a:pt x="140" y="29"/>
                  </a:lnTo>
                  <a:lnTo>
                    <a:pt x="140" y="29"/>
                  </a:lnTo>
                  <a:lnTo>
                    <a:pt x="128" y="32"/>
                  </a:lnTo>
                  <a:lnTo>
                    <a:pt x="119" y="34"/>
                  </a:lnTo>
                  <a:lnTo>
                    <a:pt x="109" y="18"/>
                  </a:lnTo>
                  <a:lnTo>
                    <a:pt x="109" y="18"/>
                  </a:lnTo>
                  <a:lnTo>
                    <a:pt x="106" y="15"/>
                  </a:lnTo>
                  <a:lnTo>
                    <a:pt x="104" y="13"/>
                  </a:lnTo>
                  <a:lnTo>
                    <a:pt x="100" y="13"/>
                  </a:lnTo>
                  <a:lnTo>
                    <a:pt x="96" y="15"/>
                  </a:lnTo>
                  <a:lnTo>
                    <a:pt x="67" y="32"/>
                  </a:lnTo>
                  <a:lnTo>
                    <a:pt x="67" y="32"/>
                  </a:lnTo>
                  <a:lnTo>
                    <a:pt x="64" y="34"/>
                  </a:lnTo>
                  <a:lnTo>
                    <a:pt x="63" y="37"/>
                  </a:lnTo>
                  <a:lnTo>
                    <a:pt x="63" y="41"/>
                  </a:lnTo>
                  <a:lnTo>
                    <a:pt x="64" y="43"/>
                  </a:lnTo>
                  <a:lnTo>
                    <a:pt x="74" y="62"/>
                  </a:lnTo>
                  <a:lnTo>
                    <a:pt x="74" y="62"/>
                  </a:lnTo>
                  <a:lnTo>
                    <a:pt x="67" y="69"/>
                  </a:lnTo>
                  <a:lnTo>
                    <a:pt x="59" y="76"/>
                  </a:lnTo>
                  <a:lnTo>
                    <a:pt x="42" y="66"/>
                  </a:lnTo>
                  <a:lnTo>
                    <a:pt x="42" y="66"/>
                  </a:lnTo>
                  <a:lnTo>
                    <a:pt x="40" y="65"/>
                  </a:lnTo>
                  <a:lnTo>
                    <a:pt x="36" y="66"/>
                  </a:lnTo>
                  <a:lnTo>
                    <a:pt x="32" y="68"/>
                  </a:lnTo>
                  <a:lnTo>
                    <a:pt x="31" y="70"/>
                  </a:lnTo>
                  <a:lnTo>
                    <a:pt x="14" y="100"/>
                  </a:lnTo>
                  <a:lnTo>
                    <a:pt x="14" y="100"/>
                  </a:lnTo>
                  <a:lnTo>
                    <a:pt x="12" y="102"/>
                  </a:lnTo>
                  <a:lnTo>
                    <a:pt x="12" y="106"/>
                  </a:lnTo>
                  <a:lnTo>
                    <a:pt x="14" y="108"/>
                  </a:lnTo>
                  <a:lnTo>
                    <a:pt x="16" y="111"/>
                  </a:lnTo>
                  <a:lnTo>
                    <a:pt x="35" y="122"/>
                  </a:lnTo>
                  <a:lnTo>
                    <a:pt x="35" y="122"/>
                  </a:lnTo>
                  <a:lnTo>
                    <a:pt x="31" y="132"/>
                  </a:lnTo>
                  <a:lnTo>
                    <a:pt x="29" y="143"/>
                  </a:lnTo>
                  <a:lnTo>
                    <a:pt x="9" y="143"/>
                  </a:lnTo>
                  <a:lnTo>
                    <a:pt x="9" y="143"/>
                  </a:lnTo>
                  <a:lnTo>
                    <a:pt x="6" y="143"/>
                  </a:lnTo>
                  <a:lnTo>
                    <a:pt x="3" y="145"/>
                  </a:lnTo>
                  <a:lnTo>
                    <a:pt x="1" y="148"/>
                  </a:lnTo>
                  <a:lnTo>
                    <a:pt x="0" y="152"/>
                  </a:lnTo>
                  <a:lnTo>
                    <a:pt x="0" y="185"/>
                  </a:lnTo>
                  <a:lnTo>
                    <a:pt x="0" y="185"/>
                  </a:lnTo>
                  <a:lnTo>
                    <a:pt x="1" y="189"/>
                  </a:lnTo>
                  <a:lnTo>
                    <a:pt x="3" y="191"/>
                  </a:lnTo>
                  <a:lnTo>
                    <a:pt x="6" y="194"/>
                  </a:lnTo>
                  <a:lnTo>
                    <a:pt x="9" y="194"/>
                  </a:lnTo>
                  <a:lnTo>
                    <a:pt x="30" y="194"/>
                  </a:lnTo>
                  <a:lnTo>
                    <a:pt x="30" y="194"/>
                  </a:lnTo>
                  <a:lnTo>
                    <a:pt x="32" y="205"/>
                  </a:lnTo>
                  <a:lnTo>
                    <a:pt x="36" y="214"/>
                  </a:lnTo>
                  <a:lnTo>
                    <a:pt x="19" y="224"/>
                  </a:lnTo>
                  <a:lnTo>
                    <a:pt x="19" y="224"/>
                  </a:lnTo>
                  <a:lnTo>
                    <a:pt x="16" y="227"/>
                  </a:lnTo>
                  <a:lnTo>
                    <a:pt x="15" y="229"/>
                  </a:lnTo>
                  <a:lnTo>
                    <a:pt x="14" y="233"/>
                  </a:lnTo>
                  <a:lnTo>
                    <a:pt x="15" y="237"/>
                  </a:lnTo>
                  <a:lnTo>
                    <a:pt x="32" y="266"/>
                  </a:lnTo>
                  <a:lnTo>
                    <a:pt x="32" y="266"/>
                  </a:lnTo>
                  <a:lnTo>
                    <a:pt x="35" y="269"/>
                  </a:lnTo>
                  <a:lnTo>
                    <a:pt x="37" y="270"/>
                  </a:lnTo>
                  <a:lnTo>
                    <a:pt x="41" y="270"/>
                  </a:lnTo>
                  <a:lnTo>
                    <a:pt x="45" y="269"/>
                  </a:lnTo>
                  <a:lnTo>
                    <a:pt x="62" y="259"/>
                  </a:lnTo>
                  <a:lnTo>
                    <a:pt x="62" y="259"/>
                  </a:lnTo>
                  <a:lnTo>
                    <a:pt x="69" y="266"/>
                  </a:lnTo>
                  <a:lnTo>
                    <a:pt x="78" y="274"/>
                  </a:lnTo>
                  <a:lnTo>
                    <a:pt x="68" y="291"/>
                  </a:lnTo>
                  <a:lnTo>
                    <a:pt x="68" y="291"/>
                  </a:lnTo>
                  <a:lnTo>
                    <a:pt x="67" y="295"/>
                  </a:lnTo>
                  <a:lnTo>
                    <a:pt x="67" y="297"/>
                  </a:lnTo>
                  <a:lnTo>
                    <a:pt x="68" y="301"/>
                  </a:lnTo>
                  <a:lnTo>
                    <a:pt x="70" y="302"/>
                  </a:lnTo>
                  <a:lnTo>
                    <a:pt x="100" y="319"/>
                  </a:lnTo>
                  <a:lnTo>
                    <a:pt x="100" y="319"/>
                  </a:lnTo>
                  <a:lnTo>
                    <a:pt x="104" y="321"/>
                  </a:lnTo>
                  <a:lnTo>
                    <a:pt x="106" y="321"/>
                  </a:lnTo>
                  <a:lnTo>
                    <a:pt x="110" y="319"/>
                  </a:lnTo>
                  <a:lnTo>
                    <a:pt x="112" y="317"/>
                  </a:lnTo>
                  <a:lnTo>
                    <a:pt x="122" y="298"/>
                  </a:lnTo>
                  <a:lnTo>
                    <a:pt x="122" y="298"/>
                  </a:lnTo>
                  <a:lnTo>
                    <a:pt x="132" y="302"/>
                  </a:lnTo>
                  <a:lnTo>
                    <a:pt x="143" y="305"/>
                  </a:lnTo>
                  <a:lnTo>
                    <a:pt x="143" y="324"/>
                  </a:lnTo>
                  <a:lnTo>
                    <a:pt x="143" y="324"/>
                  </a:lnTo>
                  <a:lnTo>
                    <a:pt x="144" y="327"/>
                  </a:lnTo>
                  <a:lnTo>
                    <a:pt x="146" y="330"/>
                  </a:lnTo>
                  <a:lnTo>
                    <a:pt x="148" y="332"/>
                  </a:lnTo>
                  <a:lnTo>
                    <a:pt x="152" y="333"/>
                  </a:lnTo>
                  <a:lnTo>
                    <a:pt x="164" y="333"/>
                  </a:lnTo>
                  <a:lnTo>
                    <a:pt x="164" y="255"/>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8" name="Freeform 206">
              <a:extLst>
                <a:ext uri="{FF2B5EF4-FFF2-40B4-BE49-F238E27FC236}">
                  <a16:creationId xmlns:a16="http://schemas.microsoft.com/office/drawing/2014/main" id="{C25062F9-39EE-2C03-F049-E5FEB78FFD67}"/>
                </a:ext>
              </a:extLst>
            </p:cNvPr>
            <p:cNvSpPr>
              <a:spLocks noEditPoints="1"/>
            </p:cNvSpPr>
            <p:nvPr/>
          </p:nvSpPr>
          <p:spPr bwMode="auto">
            <a:xfrm>
              <a:off x="3556000" y="409575"/>
              <a:ext cx="342900" cy="344488"/>
            </a:xfrm>
            <a:custGeom>
              <a:avLst/>
              <a:gdLst>
                <a:gd name="T0" fmla="*/ 97 w 216"/>
                <a:gd name="T1" fmla="*/ 1 h 217"/>
                <a:gd name="T2" fmla="*/ 66 w 216"/>
                <a:gd name="T3" fmla="*/ 8 h 217"/>
                <a:gd name="T4" fmla="*/ 40 w 216"/>
                <a:gd name="T5" fmla="*/ 24 h 217"/>
                <a:gd name="T6" fmla="*/ 19 w 216"/>
                <a:gd name="T7" fmla="*/ 48 h 217"/>
                <a:gd name="T8" fmla="*/ 5 w 216"/>
                <a:gd name="T9" fmla="*/ 76 h 217"/>
                <a:gd name="T10" fmla="*/ 0 w 216"/>
                <a:gd name="T11" fmla="*/ 108 h 217"/>
                <a:gd name="T12" fmla="*/ 2 w 216"/>
                <a:gd name="T13" fmla="*/ 131 h 217"/>
                <a:gd name="T14" fmla="*/ 13 w 216"/>
                <a:gd name="T15" fmla="*/ 160 h 217"/>
                <a:gd name="T16" fmla="*/ 31 w 216"/>
                <a:gd name="T17" fmla="*/ 185 h 217"/>
                <a:gd name="T18" fmla="*/ 56 w 216"/>
                <a:gd name="T19" fmla="*/ 203 h 217"/>
                <a:gd name="T20" fmla="*/ 87 w 216"/>
                <a:gd name="T21" fmla="*/ 214 h 217"/>
                <a:gd name="T22" fmla="*/ 108 w 216"/>
                <a:gd name="T23" fmla="*/ 217 h 217"/>
                <a:gd name="T24" fmla="*/ 140 w 216"/>
                <a:gd name="T25" fmla="*/ 212 h 217"/>
                <a:gd name="T26" fmla="*/ 168 w 216"/>
                <a:gd name="T27" fmla="*/ 198 h 217"/>
                <a:gd name="T28" fmla="*/ 192 w 216"/>
                <a:gd name="T29" fmla="*/ 177 h 217"/>
                <a:gd name="T30" fmla="*/ 208 w 216"/>
                <a:gd name="T31" fmla="*/ 150 h 217"/>
                <a:gd name="T32" fmla="*/ 215 w 216"/>
                <a:gd name="T33" fmla="*/ 119 h 217"/>
                <a:gd name="T34" fmla="*/ 215 w 216"/>
                <a:gd name="T35" fmla="*/ 97 h 217"/>
                <a:gd name="T36" fmla="*/ 208 w 216"/>
                <a:gd name="T37" fmla="*/ 66 h 217"/>
                <a:gd name="T38" fmla="*/ 192 w 216"/>
                <a:gd name="T39" fmla="*/ 39 h 217"/>
                <a:gd name="T40" fmla="*/ 168 w 216"/>
                <a:gd name="T41" fmla="*/ 18 h 217"/>
                <a:gd name="T42" fmla="*/ 140 w 216"/>
                <a:gd name="T43" fmla="*/ 5 h 217"/>
                <a:gd name="T44" fmla="*/ 108 w 216"/>
                <a:gd name="T45" fmla="*/ 0 h 217"/>
                <a:gd name="T46" fmla="*/ 108 w 216"/>
                <a:gd name="T47" fmla="*/ 197 h 217"/>
                <a:gd name="T48" fmla="*/ 82 w 216"/>
                <a:gd name="T49" fmla="*/ 193 h 217"/>
                <a:gd name="T50" fmla="*/ 58 w 216"/>
                <a:gd name="T51" fmla="*/ 182 h 217"/>
                <a:gd name="T52" fmla="*/ 40 w 216"/>
                <a:gd name="T53" fmla="*/ 165 h 217"/>
                <a:gd name="T54" fmla="*/ 26 w 216"/>
                <a:gd name="T55" fmla="*/ 143 h 217"/>
                <a:gd name="T56" fmla="*/ 20 w 216"/>
                <a:gd name="T57" fmla="*/ 117 h 217"/>
                <a:gd name="T58" fmla="*/ 20 w 216"/>
                <a:gd name="T59" fmla="*/ 100 h 217"/>
                <a:gd name="T60" fmla="*/ 26 w 216"/>
                <a:gd name="T61" fmla="*/ 74 h 217"/>
                <a:gd name="T62" fmla="*/ 40 w 216"/>
                <a:gd name="T63" fmla="*/ 52 h 217"/>
                <a:gd name="T64" fmla="*/ 58 w 216"/>
                <a:gd name="T65" fmla="*/ 34 h 217"/>
                <a:gd name="T66" fmla="*/ 82 w 216"/>
                <a:gd name="T67" fmla="*/ 23 h 217"/>
                <a:gd name="T68" fmla="*/ 108 w 216"/>
                <a:gd name="T69" fmla="*/ 20 h 217"/>
                <a:gd name="T70" fmla="*/ 126 w 216"/>
                <a:gd name="T71" fmla="*/ 21 h 217"/>
                <a:gd name="T72" fmla="*/ 151 w 216"/>
                <a:gd name="T73" fmla="*/ 31 h 217"/>
                <a:gd name="T74" fmla="*/ 171 w 216"/>
                <a:gd name="T75" fmla="*/ 45 h 217"/>
                <a:gd name="T76" fmla="*/ 187 w 216"/>
                <a:gd name="T77" fmla="*/ 66 h 217"/>
                <a:gd name="T78" fmla="*/ 195 w 216"/>
                <a:gd name="T79" fmla="*/ 90 h 217"/>
                <a:gd name="T80" fmla="*/ 196 w 216"/>
                <a:gd name="T81" fmla="*/ 108 h 217"/>
                <a:gd name="T82" fmla="*/ 193 w 216"/>
                <a:gd name="T83" fmla="*/ 134 h 217"/>
                <a:gd name="T84" fmla="*/ 182 w 216"/>
                <a:gd name="T85" fmla="*/ 158 h 217"/>
                <a:gd name="T86" fmla="*/ 164 w 216"/>
                <a:gd name="T87" fmla="*/ 176 h 217"/>
                <a:gd name="T88" fmla="*/ 142 w 216"/>
                <a:gd name="T89" fmla="*/ 190 h 217"/>
                <a:gd name="T90" fmla="*/ 118 w 216"/>
                <a:gd name="T91" fmla="*/ 196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216" h="217">
                  <a:moveTo>
                    <a:pt x="108" y="0"/>
                  </a:moveTo>
                  <a:lnTo>
                    <a:pt x="108" y="0"/>
                  </a:lnTo>
                  <a:lnTo>
                    <a:pt x="97" y="1"/>
                  </a:lnTo>
                  <a:lnTo>
                    <a:pt x="87" y="2"/>
                  </a:lnTo>
                  <a:lnTo>
                    <a:pt x="76" y="5"/>
                  </a:lnTo>
                  <a:lnTo>
                    <a:pt x="66" y="8"/>
                  </a:lnTo>
                  <a:lnTo>
                    <a:pt x="56" y="13"/>
                  </a:lnTo>
                  <a:lnTo>
                    <a:pt x="47" y="18"/>
                  </a:lnTo>
                  <a:lnTo>
                    <a:pt x="40" y="24"/>
                  </a:lnTo>
                  <a:lnTo>
                    <a:pt x="31" y="32"/>
                  </a:lnTo>
                  <a:lnTo>
                    <a:pt x="25" y="39"/>
                  </a:lnTo>
                  <a:lnTo>
                    <a:pt x="19" y="48"/>
                  </a:lnTo>
                  <a:lnTo>
                    <a:pt x="13" y="57"/>
                  </a:lnTo>
                  <a:lnTo>
                    <a:pt x="9" y="66"/>
                  </a:lnTo>
                  <a:lnTo>
                    <a:pt x="5" y="76"/>
                  </a:lnTo>
                  <a:lnTo>
                    <a:pt x="2" y="86"/>
                  </a:lnTo>
                  <a:lnTo>
                    <a:pt x="0" y="97"/>
                  </a:lnTo>
                  <a:lnTo>
                    <a:pt x="0" y="108"/>
                  </a:lnTo>
                  <a:lnTo>
                    <a:pt x="0" y="108"/>
                  </a:lnTo>
                  <a:lnTo>
                    <a:pt x="0" y="119"/>
                  </a:lnTo>
                  <a:lnTo>
                    <a:pt x="2" y="131"/>
                  </a:lnTo>
                  <a:lnTo>
                    <a:pt x="5" y="140"/>
                  </a:lnTo>
                  <a:lnTo>
                    <a:pt x="9" y="150"/>
                  </a:lnTo>
                  <a:lnTo>
                    <a:pt x="13" y="160"/>
                  </a:lnTo>
                  <a:lnTo>
                    <a:pt x="19" y="169"/>
                  </a:lnTo>
                  <a:lnTo>
                    <a:pt x="25" y="177"/>
                  </a:lnTo>
                  <a:lnTo>
                    <a:pt x="31" y="185"/>
                  </a:lnTo>
                  <a:lnTo>
                    <a:pt x="40" y="191"/>
                  </a:lnTo>
                  <a:lnTo>
                    <a:pt x="47" y="198"/>
                  </a:lnTo>
                  <a:lnTo>
                    <a:pt x="56" y="203"/>
                  </a:lnTo>
                  <a:lnTo>
                    <a:pt x="66" y="208"/>
                  </a:lnTo>
                  <a:lnTo>
                    <a:pt x="76" y="212"/>
                  </a:lnTo>
                  <a:lnTo>
                    <a:pt x="87" y="214"/>
                  </a:lnTo>
                  <a:lnTo>
                    <a:pt x="97" y="216"/>
                  </a:lnTo>
                  <a:lnTo>
                    <a:pt x="108" y="217"/>
                  </a:lnTo>
                  <a:lnTo>
                    <a:pt x="108" y="217"/>
                  </a:lnTo>
                  <a:lnTo>
                    <a:pt x="119" y="216"/>
                  </a:lnTo>
                  <a:lnTo>
                    <a:pt x="130" y="214"/>
                  </a:lnTo>
                  <a:lnTo>
                    <a:pt x="140" y="212"/>
                  </a:lnTo>
                  <a:lnTo>
                    <a:pt x="150" y="208"/>
                  </a:lnTo>
                  <a:lnTo>
                    <a:pt x="159" y="203"/>
                  </a:lnTo>
                  <a:lnTo>
                    <a:pt x="168" y="198"/>
                  </a:lnTo>
                  <a:lnTo>
                    <a:pt x="177" y="191"/>
                  </a:lnTo>
                  <a:lnTo>
                    <a:pt x="184" y="185"/>
                  </a:lnTo>
                  <a:lnTo>
                    <a:pt x="192" y="177"/>
                  </a:lnTo>
                  <a:lnTo>
                    <a:pt x="198" y="169"/>
                  </a:lnTo>
                  <a:lnTo>
                    <a:pt x="203" y="160"/>
                  </a:lnTo>
                  <a:lnTo>
                    <a:pt x="208" y="150"/>
                  </a:lnTo>
                  <a:lnTo>
                    <a:pt x="211" y="140"/>
                  </a:lnTo>
                  <a:lnTo>
                    <a:pt x="214" y="131"/>
                  </a:lnTo>
                  <a:lnTo>
                    <a:pt x="215" y="119"/>
                  </a:lnTo>
                  <a:lnTo>
                    <a:pt x="216" y="108"/>
                  </a:lnTo>
                  <a:lnTo>
                    <a:pt x="216" y="108"/>
                  </a:lnTo>
                  <a:lnTo>
                    <a:pt x="215" y="97"/>
                  </a:lnTo>
                  <a:lnTo>
                    <a:pt x="214" y="86"/>
                  </a:lnTo>
                  <a:lnTo>
                    <a:pt x="211" y="76"/>
                  </a:lnTo>
                  <a:lnTo>
                    <a:pt x="208" y="66"/>
                  </a:lnTo>
                  <a:lnTo>
                    <a:pt x="203" y="57"/>
                  </a:lnTo>
                  <a:lnTo>
                    <a:pt x="198" y="48"/>
                  </a:lnTo>
                  <a:lnTo>
                    <a:pt x="192" y="39"/>
                  </a:lnTo>
                  <a:lnTo>
                    <a:pt x="184" y="32"/>
                  </a:lnTo>
                  <a:lnTo>
                    <a:pt x="177" y="24"/>
                  </a:lnTo>
                  <a:lnTo>
                    <a:pt x="168" y="18"/>
                  </a:lnTo>
                  <a:lnTo>
                    <a:pt x="159" y="13"/>
                  </a:lnTo>
                  <a:lnTo>
                    <a:pt x="150" y="8"/>
                  </a:lnTo>
                  <a:lnTo>
                    <a:pt x="140" y="5"/>
                  </a:lnTo>
                  <a:lnTo>
                    <a:pt x="130" y="2"/>
                  </a:lnTo>
                  <a:lnTo>
                    <a:pt x="119" y="1"/>
                  </a:lnTo>
                  <a:lnTo>
                    <a:pt x="108" y="0"/>
                  </a:lnTo>
                  <a:lnTo>
                    <a:pt x="108" y="0"/>
                  </a:lnTo>
                  <a:close/>
                  <a:moveTo>
                    <a:pt x="108" y="197"/>
                  </a:moveTo>
                  <a:lnTo>
                    <a:pt x="108" y="197"/>
                  </a:lnTo>
                  <a:lnTo>
                    <a:pt x="99" y="196"/>
                  </a:lnTo>
                  <a:lnTo>
                    <a:pt x="90" y="195"/>
                  </a:lnTo>
                  <a:lnTo>
                    <a:pt x="82" y="193"/>
                  </a:lnTo>
                  <a:lnTo>
                    <a:pt x="73" y="190"/>
                  </a:lnTo>
                  <a:lnTo>
                    <a:pt x="66" y="186"/>
                  </a:lnTo>
                  <a:lnTo>
                    <a:pt x="58" y="182"/>
                  </a:lnTo>
                  <a:lnTo>
                    <a:pt x="51" y="176"/>
                  </a:lnTo>
                  <a:lnTo>
                    <a:pt x="45" y="171"/>
                  </a:lnTo>
                  <a:lnTo>
                    <a:pt x="40" y="165"/>
                  </a:lnTo>
                  <a:lnTo>
                    <a:pt x="35" y="158"/>
                  </a:lnTo>
                  <a:lnTo>
                    <a:pt x="30" y="150"/>
                  </a:lnTo>
                  <a:lnTo>
                    <a:pt x="26" y="143"/>
                  </a:lnTo>
                  <a:lnTo>
                    <a:pt x="24" y="134"/>
                  </a:lnTo>
                  <a:lnTo>
                    <a:pt x="21" y="126"/>
                  </a:lnTo>
                  <a:lnTo>
                    <a:pt x="20" y="117"/>
                  </a:lnTo>
                  <a:lnTo>
                    <a:pt x="19" y="108"/>
                  </a:lnTo>
                  <a:lnTo>
                    <a:pt x="19" y="108"/>
                  </a:lnTo>
                  <a:lnTo>
                    <a:pt x="20" y="100"/>
                  </a:lnTo>
                  <a:lnTo>
                    <a:pt x="21" y="90"/>
                  </a:lnTo>
                  <a:lnTo>
                    <a:pt x="24" y="82"/>
                  </a:lnTo>
                  <a:lnTo>
                    <a:pt x="26" y="74"/>
                  </a:lnTo>
                  <a:lnTo>
                    <a:pt x="30" y="66"/>
                  </a:lnTo>
                  <a:lnTo>
                    <a:pt x="35" y="59"/>
                  </a:lnTo>
                  <a:lnTo>
                    <a:pt x="40" y="52"/>
                  </a:lnTo>
                  <a:lnTo>
                    <a:pt x="45" y="45"/>
                  </a:lnTo>
                  <a:lnTo>
                    <a:pt x="51" y="39"/>
                  </a:lnTo>
                  <a:lnTo>
                    <a:pt x="58" y="34"/>
                  </a:lnTo>
                  <a:lnTo>
                    <a:pt x="66" y="31"/>
                  </a:lnTo>
                  <a:lnTo>
                    <a:pt x="73" y="27"/>
                  </a:lnTo>
                  <a:lnTo>
                    <a:pt x="82" y="23"/>
                  </a:lnTo>
                  <a:lnTo>
                    <a:pt x="90" y="21"/>
                  </a:lnTo>
                  <a:lnTo>
                    <a:pt x="99" y="20"/>
                  </a:lnTo>
                  <a:lnTo>
                    <a:pt x="108" y="20"/>
                  </a:lnTo>
                  <a:lnTo>
                    <a:pt x="108" y="20"/>
                  </a:lnTo>
                  <a:lnTo>
                    <a:pt x="118" y="20"/>
                  </a:lnTo>
                  <a:lnTo>
                    <a:pt x="126" y="21"/>
                  </a:lnTo>
                  <a:lnTo>
                    <a:pt x="135" y="23"/>
                  </a:lnTo>
                  <a:lnTo>
                    <a:pt x="142" y="27"/>
                  </a:lnTo>
                  <a:lnTo>
                    <a:pt x="151" y="31"/>
                  </a:lnTo>
                  <a:lnTo>
                    <a:pt x="157" y="34"/>
                  </a:lnTo>
                  <a:lnTo>
                    <a:pt x="164" y="39"/>
                  </a:lnTo>
                  <a:lnTo>
                    <a:pt x="171" y="45"/>
                  </a:lnTo>
                  <a:lnTo>
                    <a:pt x="177" y="52"/>
                  </a:lnTo>
                  <a:lnTo>
                    <a:pt x="182" y="59"/>
                  </a:lnTo>
                  <a:lnTo>
                    <a:pt x="187" y="66"/>
                  </a:lnTo>
                  <a:lnTo>
                    <a:pt x="190" y="74"/>
                  </a:lnTo>
                  <a:lnTo>
                    <a:pt x="193" y="82"/>
                  </a:lnTo>
                  <a:lnTo>
                    <a:pt x="195" y="90"/>
                  </a:lnTo>
                  <a:lnTo>
                    <a:pt x="196" y="100"/>
                  </a:lnTo>
                  <a:lnTo>
                    <a:pt x="196" y="108"/>
                  </a:lnTo>
                  <a:lnTo>
                    <a:pt x="196" y="108"/>
                  </a:lnTo>
                  <a:lnTo>
                    <a:pt x="196" y="117"/>
                  </a:lnTo>
                  <a:lnTo>
                    <a:pt x="195" y="126"/>
                  </a:lnTo>
                  <a:lnTo>
                    <a:pt x="193" y="134"/>
                  </a:lnTo>
                  <a:lnTo>
                    <a:pt x="190" y="143"/>
                  </a:lnTo>
                  <a:lnTo>
                    <a:pt x="187" y="150"/>
                  </a:lnTo>
                  <a:lnTo>
                    <a:pt x="182" y="158"/>
                  </a:lnTo>
                  <a:lnTo>
                    <a:pt x="177" y="165"/>
                  </a:lnTo>
                  <a:lnTo>
                    <a:pt x="171" y="171"/>
                  </a:lnTo>
                  <a:lnTo>
                    <a:pt x="164" y="176"/>
                  </a:lnTo>
                  <a:lnTo>
                    <a:pt x="157" y="182"/>
                  </a:lnTo>
                  <a:lnTo>
                    <a:pt x="151" y="186"/>
                  </a:lnTo>
                  <a:lnTo>
                    <a:pt x="142" y="190"/>
                  </a:lnTo>
                  <a:lnTo>
                    <a:pt x="135" y="193"/>
                  </a:lnTo>
                  <a:lnTo>
                    <a:pt x="126" y="195"/>
                  </a:lnTo>
                  <a:lnTo>
                    <a:pt x="118" y="196"/>
                  </a:lnTo>
                  <a:lnTo>
                    <a:pt x="108" y="197"/>
                  </a:lnTo>
                  <a:lnTo>
                    <a:pt x="108" y="197"/>
                  </a:lnTo>
                  <a:close/>
                </a:path>
              </a:pathLst>
            </a:custGeom>
            <a:solidFill>
              <a:srgbClr val="1695A4"/>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9" name="Freeform 207">
              <a:extLst>
                <a:ext uri="{FF2B5EF4-FFF2-40B4-BE49-F238E27FC236}">
                  <a16:creationId xmlns:a16="http://schemas.microsoft.com/office/drawing/2014/main" id="{5CCF616A-092E-C33A-D9FD-0E99A74C7D5D}"/>
                </a:ext>
              </a:extLst>
            </p:cNvPr>
            <p:cNvSpPr>
              <a:spLocks/>
            </p:cNvSpPr>
            <p:nvPr/>
          </p:nvSpPr>
          <p:spPr bwMode="auto">
            <a:xfrm>
              <a:off x="3722688" y="409575"/>
              <a:ext cx="176213" cy="344488"/>
            </a:xfrm>
            <a:custGeom>
              <a:avLst/>
              <a:gdLst>
                <a:gd name="T0" fmla="*/ 3 w 111"/>
                <a:gd name="T1" fmla="*/ 0 h 217"/>
                <a:gd name="T2" fmla="*/ 0 w 111"/>
                <a:gd name="T3" fmla="*/ 20 h 217"/>
                <a:gd name="T4" fmla="*/ 3 w 111"/>
                <a:gd name="T5" fmla="*/ 20 h 217"/>
                <a:gd name="T6" fmla="*/ 13 w 111"/>
                <a:gd name="T7" fmla="*/ 20 h 217"/>
                <a:gd name="T8" fmla="*/ 30 w 111"/>
                <a:gd name="T9" fmla="*/ 23 h 217"/>
                <a:gd name="T10" fmla="*/ 46 w 111"/>
                <a:gd name="T11" fmla="*/ 31 h 217"/>
                <a:gd name="T12" fmla="*/ 59 w 111"/>
                <a:gd name="T13" fmla="*/ 39 h 217"/>
                <a:gd name="T14" fmla="*/ 72 w 111"/>
                <a:gd name="T15" fmla="*/ 52 h 217"/>
                <a:gd name="T16" fmla="*/ 82 w 111"/>
                <a:gd name="T17" fmla="*/ 66 h 217"/>
                <a:gd name="T18" fmla="*/ 88 w 111"/>
                <a:gd name="T19" fmla="*/ 82 h 217"/>
                <a:gd name="T20" fmla="*/ 91 w 111"/>
                <a:gd name="T21" fmla="*/ 100 h 217"/>
                <a:gd name="T22" fmla="*/ 91 w 111"/>
                <a:gd name="T23" fmla="*/ 108 h 217"/>
                <a:gd name="T24" fmla="*/ 90 w 111"/>
                <a:gd name="T25" fmla="*/ 126 h 217"/>
                <a:gd name="T26" fmla="*/ 85 w 111"/>
                <a:gd name="T27" fmla="*/ 143 h 217"/>
                <a:gd name="T28" fmla="*/ 77 w 111"/>
                <a:gd name="T29" fmla="*/ 158 h 217"/>
                <a:gd name="T30" fmla="*/ 66 w 111"/>
                <a:gd name="T31" fmla="*/ 171 h 217"/>
                <a:gd name="T32" fmla="*/ 52 w 111"/>
                <a:gd name="T33" fmla="*/ 182 h 217"/>
                <a:gd name="T34" fmla="*/ 37 w 111"/>
                <a:gd name="T35" fmla="*/ 190 h 217"/>
                <a:gd name="T36" fmla="*/ 21 w 111"/>
                <a:gd name="T37" fmla="*/ 195 h 217"/>
                <a:gd name="T38" fmla="*/ 3 w 111"/>
                <a:gd name="T39" fmla="*/ 197 h 217"/>
                <a:gd name="T40" fmla="*/ 0 w 111"/>
                <a:gd name="T41" fmla="*/ 197 h 217"/>
                <a:gd name="T42" fmla="*/ 0 w 111"/>
                <a:gd name="T43" fmla="*/ 216 h 217"/>
                <a:gd name="T44" fmla="*/ 3 w 111"/>
                <a:gd name="T45" fmla="*/ 217 h 217"/>
                <a:gd name="T46" fmla="*/ 25 w 111"/>
                <a:gd name="T47" fmla="*/ 214 h 217"/>
                <a:gd name="T48" fmla="*/ 45 w 111"/>
                <a:gd name="T49" fmla="*/ 208 h 217"/>
                <a:gd name="T50" fmla="*/ 63 w 111"/>
                <a:gd name="T51" fmla="*/ 198 h 217"/>
                <a:gd name="T52" fmla="*/ 79 w 111"/>
                <a:gd name="T53" fmla="*/ 185 h 217"/>
                <a:gd name="T54" fmla="*/ 93 w 111"/>
                <a:gd name="T55" fmla="*/ 169 h 217"/>
                <a:gd name="T56" fmla="*/ 103 w 111"/>
                <a:gd name="T57" fmla="*/ 150 h 217"/>
                <a:gd name="T58" fmla="*/ 109 w 111"/>
                <a:gd name="T59" fmla="*/ 131 h 217"/>
                <a:gd name="T60" fmla="*/ 111 w 111"/>
                <a:gd name="T61" fmla="*/ 108 h 217"/>
                <a:gd name="T62" fmla="*/ 110 w 111"/>
                <a:gd name="T63" fmla="*/ 97 h 217"/>
                <a:gd name="T64" fmla="*/ 106 w 111"/>
                <a:gd name="T65" fmla="*/ 76 h 217"/>
                <a:gd name="T66" fmla="*/ 98 w 111"/>
                <a:gd name="T67" fmla="*/ 57 h 217"/>
                <a:gd name="T68" fmla="*/ 87 w 111"/>
                <a:gd name="T69" fmla="*/ 39 h 217"/>
                <a:gd name="T70" fmla="*/ 72 w 111"/>
                <a:gd name="T71" fmla="*/ 24 h 217"/>
                <a:gd name="T72" fmla="*/ 54 w 111"/>
                <a:gd name="T73" fmla="*/ 13 h 217"/>
                <a:gd name="T74" fmla="*/ 35 w 111"/>
                <a:gd name="T75" fmla="*/ 5 h 217"/>
                <a:gd name="T76" fmla="*/ 14 w 111"/>
                <a:gd name="T77" fmla="*/ 1 h 217"/>
                <a:gd name="T78" fmla="*/ 3 w 111"/>
                <a:gd name="T79" fmla="*/ 0 h 21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Lst>
              <a:rect l="0" t="0" r="r" b="b"/>
              <a:pathLst>
                <a:path w="111" h="217">
                  <a:moveTo>
                    <a:pt x="3" y="0"/>
                  </a:moveTo>
                  <a:lnTo>
                    <a:pt x="3" y="0"/>
                  </a:lnTo>
                  <a:lnTo>
                    <a:pt x="0" y="0"/>
                  </a:lnTo>
                  <a:lnTo>
                    <a:pt x="0" y="20"/>
                  </a:lnTo>
                  <a:lnTo>
                    <a:pt x="0" y="20"/>
                  </a:lnTo>
                  <a:lnTo>
                    <a:pt x="3" y="20"/>
                  </a:lnTo>
                  <a:lnTo>
                    <a:pt x="3" y="20"/>
                  </a:lnTo>
                  <a:lnTo>
                    <a:pt x="13" y="20"/>
                  </a:lnTo>
                  <a:lnTo>
                    <a:pt x="21" y="21"/>
                  </a:lnTo>
                  <a:lnTo>
                    <a:pt x="30" y="23"/>
                  </a:lnTo>
                  <a:lnTo>
                    <a:pt x="37" y="27"/>
                  </a:lnTo>
                  <a:lnTo>
                    <a:pt x="46" y="31"/>
                  </a:lnTo>
                  <a:lnTo>
                    <a:pt x="52" y="34"/>
                  </a:lnTo>
                  <a:lnTo>
                    <a:pt x="59" y="39"/>
                  </a:lnTo>
                  <a:lnTo>
                    <a:pt x="66" y="45"/>
                  </a:lnTo>
                  <a:lnTo>
                    <a:pt x="72" y="52"/>
                  </a:lnTo>
                  <a:lnTo>
                    <a:pt x="77" y="59"/>
                  </a:lnTo>
                  <a:lnTo>
                    <a:pt x="82" y="66"/>
                  </a:lnTo>
                  <a:lnTo>
                    <a:pt x="85" y="74"/>
                  </a:lnTo>
                  <a:lnTo>
                    <a:pt x="88" y="82"/>
                  </a:lnTo>
                  <a:lnTo>
                    <a:pt x="90" y="90"/>
                  </a:lnTo>
                  <a:lnTo>
                    <a:pt x="91" y="100"/>
                  </a:lnTo>
                  <a:lnTo>
                    <a:pt x="91" y="108"/>
                  </a:lnTo>
                  <a:lnTo>
                    <a:pt x="91" y="108"/>
                  </a:lnTo>
                  <a:lnTo>
                    <a:pt x="91" y="117"/>
                  </a:lnTo>
                  <a:lnTo>
                    <a:pt x="90" y="126"/>
                  </a:lnTo>
                  <a:lnTo>
                    <a:pt x="88" y="134"/>
                  </a:lnTo>
                  <a:lnTo>
                    <a:pt x="85" y="143"/>
                  </a:lnTo>
                  <a:lnTo>
                    <a:pt x="82" y="150"/>
                  </a:lnTo>
                  <a:lnTo>
                    <a:pt x="77" y="158"/>
                  </a:lnTo>
                  <a:lnTo>
                    <a:pt x="72" y="165"/>
                  </a:lnTo>
                  <a:lnTo>
                    <a:pt x="66" y="171"/>
                  </a:lnTo>
                  <a:lnTo>
                    <a:pt x="59" y="176"/>
                  </a:lnTo>
                  <a:lnTo>
                    <a:pt x="52" y="182"/>
                  </a:lnTo>
                  <a:lnTo>
                    <a:pt x="46" y="186"/>
                  </a:lnTo>
                  <a:lnTo>
                    <a:pt x="37" y="190"/>
                  </a:lnTo>
                  <a:lnTo>
                    <a:pt x="30" y="193"/>
                  </a:lnTo>
                  <a:lnTo>
                    <a:pt x="21" y="195"/>
                  </a:lnTo>
                  <a:lnTo>
                    <a:pt x="13" y="196"/>
                  </a:lnTo>
                  <a:lnTo>
                    <a:pt x="3" y="197"/>
                  </a:lnTo>
                  <a:lnTo>
                    <a:pt x="3" y="197"/>
                  </a:lnTo>
                  <a:lnTo>
                    <a:pt x="0" y="197"/>
                  </a:lnTo>
                  <a:lnTo>
                    <a:pt x="0" y="216"/>
                  </a:lnTo>
                  <a:lnTo>
                    <a:pt x="0" y="216"/>
                  </a:lnTo>
                  <a:lnTo>
                    <a:pt x="3" y="217"/>
                  </a:lnTo>
                  <a:lnTo>
                    <a:pt x="3" y="217"/>
                  </a:lnTo>
                  <a:lnTo>
                    <a:pt x="14" y="216"/>
                  </a:lnTo>
                  <a:lnTo>
                    <a:pt x="25" y="214"/>
                  </a:lnTo>
                  <a:lnTo>
                    <a:pt x="35" y="212"/>
                  </a:lnTo>
                  <a:lnTo>
                    <a:pt x="45" y="208"/>
                  </a:lnTo>
                  <a:lnTo>
                    <a:pt x="54" y="203"/>
                  </a:lnTo>
                  <a:lnTo>
                    <a:pt x="63" y="198"/>
                  </a:lnTo>
                  <a:lnTo>
                    <a:pt x="72" y="191"/>
                  </a:lnTo>
                  <a:lnTo>
                    <a:pt x="79" y="185"/>
                  </a:lnTo>
                  <a:lnTo>
                    <a:pt x="87" y="177"/>
                  </a:lnTo>
                  <a:lnTo>
                    <a:pt x="93" y="169"/>
                  </a:lnTo>
                  <a:lnTo>
                    <a:pt x="98" y="160"/>
                  </a:lnTo>
                  <a:lnTo>
                    <a:pt x="103" y="150"/>
                  </a:lnTo>
                  <a:lnTo>
                    <a:pt x="106" y="140"/>
                  </a:lnTo>
                  <a:lnTo>
                    <a:pt x="109" y="131"/>
                  </a:lnTo>
                  <a:lnTo>
                    <a:pt x="110" y="119"/>
                  </a:lnTo>
                  <a:lnTo>
                    <a:pt x="111" y="108"/>
                  </a:lnTo>
                  <a:lnTo>
                    <a:pt x="111" y="108"/>
                  </a:lnTo>
                  <a:lnTo>
                    <a:pt x="110" y="97"/>
                  </a:lnTo>
                  <a:lnTo>
                    <a:pt x="109" y="86"/>
                  </a:lnTo>
                  <a:lnTo>
                    <a:pt x="106" y="76"/>
                  </a:lnTo>
                  <a:lnTo>
                    <a:pt x="103" y="66"/>
                  </a:lnTo>
                  <a:lnTo>
                    <a:pt x="98" y="57"/>
                  </a:lnTo>
                  <a:lnTo>
                    <a:pt x="93" y="48"/>
                  </a:lnTo>
                  <a:lnTo>
                    <a:pt x="87" y="39"/>
                  </a:lnTo>
                  <a:lnTo>
                    <a:pt x="79" y="32"/>
                  </a:lnTo>
                  <a:lnTo>
                    <a:pt x="72" y="24"/>
                  </a:lnTo>
                  <a:lnTo>
                    <a:pt x="63" y="18"/>
                  </a:lnTo>
                  <a:lnTo>
                    <a:pt x="54" y="13"/>
                  </a:lnTo>
                  <a:lnTo>
                    <a:pt x="45" y="8"/>
                  </a:lnTo>
                  <a:lnTo>
                    <a:pt x="35" y="5"/>
                  </a:lnTo>
                  <a:lnTo>
                    <a:pt x="25" y="2"/>
                  </a:lnTo>
                  <a:lnTo>
                    <a:pt x="14" y="1"/>
                  </a:lnTo>
                  <a:lnTo>
                    <a:pt x="3" y="0"/>
                  </a:lnTo>
                  <a:lnTo>
                    <a:pt x="3" y="0"/>
                  </a:lnTo>
                  <a:close/>
                </a:path>
              </a:pathLst>
            </a:custGeom>
            <a:solidFill>
              <a:srgbClr val="15B0B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0" name="Freeform 208">
              <a:extLst>
                <a:ext uri="{FF2B5EF4-FFF2-40B4-BE49-F238E27FC236}">
                  <a16:creationId xmlns:a16="http://schemas.microsoft.com/office/drawing/2014/main" id="{826842E7-DBBF-1D42-75FE-7833128138B0}"/>
                </a:ext>
              </a:extLst>
            </p:cNvPr>
            <p:cNvSpPr>
              <a:spLocks/>
            </p:cNvSpPr>
            <p:nvPr/>
          </p:nvSpPr>
          <p:spPr bwMode="auto">
            <a:xfrm>
              <a:off x="3762375" y="617538"/>
              <a:ext cx="276225" cy="276225"/>
            </a:xfrm>
            <a:custGeom>
              <a:avLst/>
              <a:gdLst>
                <a:gd name="T0" fmla="*/ 164 w 174"/>
                <a:gd name="T1" fmla="*/ 164 h 174"/>
                <a:gd name="T2" fmla="*/ 164 w 174"/>
                <a:gd name="T3" fmla="*/ 164 h 174"/>
                <a:gd name="T4" fmla="*/ 164 w 174"/>
                <a:gd name="T5" fmla="*/ 164 h 174"/>
                <a:gd name="T6" fmla="*/ 164 w 174"/>
                <a:gd name="T7" fmla="*/ 164 h 174"/>
                <a:gd name="T8" fmla="*/ 158 w 174"/>
                <a:gd name="T9" fmla="*/ 169 h 174"/>
                <a:gd name="T10" fmla="*/ 152 w 174"/>
                <a:gd name="T11" fmla="*/ 171 h 174"/>
                <a:gd name="T12" fmla="*/ 145 w 174"/>
                <a:gd name="T13" fmla="*/ 174 h 174"/>
                <a:gd name="T14" fmla="*/ 139 w 174"/>
                <a:gd name="T15" fmla="*/ 174 h 174"/>
                <a:gd name="T16" fmla="*/ 133 w 174"/>
                <a:gd name="T17" fmla="*/ 174 h 174"/>
                <a:gd name="T18" fmla="*/ 127 w 174"/>
                <a:gd name="T19" fmla="*/ 171 h 174"/>
                <a:gd name="T20" fmla="*/ 121 w 174"/>
                <a:gd name="T21" fmla="*/ 169 h 174"/>
                <a:gd name="T22" fmla="*/ 115 w 174"/>
                <a:gd name="T23" fmla="*/ 164 h 174"/>
                <a:gd name="T24" fmla="*/ 10 w 174"/>
                <a:gd name="T25" fmla="*/ 59 h 174"/>
                <a:gd name="T26" fmla="*/ 10 w 174"/>
                <a:gd name="T27" fmla="*/ 59 h 174"/>
                <a:gd name="T28" fmla="*/ 6 w 174"/>
                <a:gd name="T29" fmla="*/ 53 h 174"/>
                <a:gd name="T30" fmla="*/ 2 w 174"/>
                <a:gd name="T31" fmla="*/ 48 h 174"/>
                <a:gd name="T32" fmla="*/ 1 w 174"/>
                <a:gd name="T33" fmla="*/ 40 h 174"/>
                <a:gd name="T34" fmla="*/ 0 w 174"/>
                <a:gd name="T35" fmla="*/ 34 h 174"/>
                <a:gd name="T36" fmla="*/ 1 w 174"/>
                <a:gd name="T37" fmla="*/ 28 h 174"/>
                <a:gd name="T38" fmla="*/ 2 w 174"/>
                <a:gd name="T39" fmla="*/ 22 h 174"/>
                <a:gd name="T40" fmla="*/ 6 w 174"/>
                <a:gd name="T41" fmla="*/ 16 h 174"/>
                <a:gd name="T42" fmla="*/ 10 w 174"/>
                <a:gd name="T43" fmla="*/ 9 h 174"/>
                <a:gd name="T44" fmla="*/ 10 w 174"/>
                <a:gd name="T45" fmla="*/ 9 h 174"/>
                <a:gd name="T46" fmla="*/ 10 w 174"/>
                <a:gd name="T47" fmla="*/ 9 h 174"/>
                <a:gd name="T48" fmla="*/ 10 w 174"/>
                <a:gd name="T49" fmla="*/ 9 h 174"/>
                <a:gd name="T50" fmla="*/ 16 w 174"/>
                <a:gd name="T51" fmla="*/ 6 h 174"/>
                <a:gd name="T52" fmla="*/ 22 w 174"/>
                <a:gd name="T53" fmla="*/ 2 h 174"/>
                <a:gd name="T54" fmla="*/ 28 w 174"/>
                <a:gd name="T55" fmla="*/ 1 h 174"/>
                <a:gd name="T56" fmla="*/ 34 w 174"/>
                <a:gd name="T57" fmla="*/ 0 h 174"/>
                <a:gd name="T58" fmla="*/ 42 w 174"/>
                <a:gd name="T59" fmla="*/ 1 h 174"/>
                <a:gd name="T60" fmla="*/ 48 w 174"/>
                <a:gd name="T61" fmla="*/ 2 h 174"/>
                <a:gd name="T62" fmla="*/ 53 w 174"/>
                <a:gd name="T63" fmla="*/ 6 h 174"/>
                <a:gd name="T64" fmla="*/ 59 w 174"/>
                <a:gd name="T65" fmla="*/ 11 h 174"/>
                <a:gd name="T66" fmla="*/ 164 w 174"/>
                <a:gd name="T67" fmla="*/ 116 h 174"/>
                <a:gd name="T68" fmla="*/ 164 w 174"/>
                <a:gd name="T69" fmla="*/ 116 h 174"/>
                <a:gd name="T70" fmla="*/ 168 w 174"/>
                <a:gd name="T71" fmla="*/ 120 h 174"/>
                <a:gd name="T72" fmla="*/ 171 w 174"/>
                <a:gd name="T73" fmla="*/ 127 h 174"/>
                <a:gd name="T74" fmla="*/ 173 w 174"/>
                <a:gd name="T75" fmla="*/ 133 h 174"/>
                <a:gd name="T76" fmla="*/ 174 w 174"/>
                <a:gd name="T77" fmla="*/ 140 h 174"/>
                <a:gd name="T78" fmla="*/ 173 w 174"/>
                <a:gd name="T79" fmla="*/ 146 h 174"/>
                <a:gd name="T80" fmla="*/ 171 w 174"/>
                <a:gd name="T81" fmla="*/ 153 h 174"/>
                <a:gd name="T82" fmla="*/ 168 w 174"/>
                <a:gd name="T83" fmla="*/ 159 h 174"/>
                <a:gd name="T84" fmla="*/ 164 w 174"/>
                <a:gd name="T85" fmla="*/ 164 h 174"/>
                <a:gd name="T86" fmla="*/ 164 w 174"/>
                <a:gd name="T87" fmla="*/ 164 h 17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74" h="174">
                  <a:moveTo>
                    <a:pt x="164" y="164"/>
                  </a:moveTo>
                  <a:lnTo>
                    <a:pt x="164" y="164"/>
                  </a:lnTo>
                  <a:lnTo>
                    <a:pt x="164" y="164"/>
                  </a:lnTo>
                  <a:lnTo>
                    <a:pt x="164" y="164"/>
                  </a:lnTo>
                  <a:lnTo>
                    <a:pt x="158" y="169"/>
                  </a:lnTo>
                  <a:lnTo>
                    <a:pt x="152" y="171"/>
                  </a:lnTo>
                  <a:lnTo>
                    <a:pt x="145" y="174"/>
                  </a:lnTo>
                  <a:lnTo>
                    <a:pt x="139" y="174"/>
                  </a:lnTo>
                  <a:lnTo>
                    <a:pt x="133" y="174"/>
                  </a:lnTo>
                  <a:lnTo>
                    <a:pt x="127" y="171"/>
                  </a:lnTo>
                  <a:lnTo>
                    <a:pt x="121" y="169"/>
                  </a:lnTo>
                  <a:lnTo>
                    <a:pt x="115" y="164"/>
                  </a:lnTo>
                  <a:lnTo>
                    <a:pt x="10" y="59"/>
                  </a:lnTo>
                  <a:lnTo>
                    <a:pt x="10" y="59"/>
                  </a:lnTo>
                  <a:lnTo>
                    <a:pt x="6" y="53"/>
                  </a:lnTo>
                  <a:lnTo>
                    <a:pt x="2" y="48"/>
                  </a:lnTo>
                  <a:lnTo>
                    <a:pt x="1" y="40"/>
                  </a:lnTo>
                  <a:lnTo>
                    <a:pt x="0" y="34"/>
                  </a:lnTo>
                  <a:lnTo>
                    <a:pt x="1" y="28"/>
                  </a:lnTo>
                  <a:lnTo>
                    <a:pt x="2" y="22"/>
                  </a:lnTo>
                  <a:lnTo>
                    <a:pt x="6" y="16"/>
                  </a:lnTo>
                  <a:lnTo>
                    <a:pt x="10" y="9"/>
                  </a:lnTo>
                  <a:lnTo>
                    <a:pt x="10" y="9"/>
                  </a:lnTo>
                  <a:lnTo>
                    <a:pt x="10" y="9"/>
                  </a:lnTo>
                  <a:lnTo>
                    <a:pt x="10" y="9"/>
                  </a:lnTo>
                  <a:lnTo>
                    <a:pt x="16" y="6"/>
                  </a:lnTo>
                  <a:lnTo>
                    <a:pt x="22" y="2"/>
                  </a:lnTo>
                  <a:lnTo>
                    <a:pt x="28" y="1"/>
                  </a:lnTo>
                  <a:lnTo>
                    <a:pt x="34" y="0"/>
                  </a:lnTo>
                  <a:lnTo>
                    <a:pt x="42" y="1"/>
                  </a:lnTo>
                  <a:lnTo>
                    <a:pt x="48" y="2"/>
                  </a:lnTo>
                  <a:lnTo>
                    <a:pt x="53" y="6"/>
                  </a:lnTo>
                  <a:lnTo>
                    <a:pt x="59" y="11"/>
                  </a:lnTo>
                  <a:lnTo>
                    <a:pt x="164" y="116"/>
                  </a:lnTo>
                  <a:lnTo>
                    <a:pt x="164" y="116"/>
                  </a:lnTo>
                  <a:lnTo>
                    <a:pt x="168" y="120"/>
                  </a:lnTo>
                  <a:lnTo>
                    <a:pt x="171" y="127"/>
                  </a:lnTo>
                  <a:lnTo>
                    <a:pt x="173" y="133"/>
                  </a:lnTo>
                  <a:lnTo>
                    <a:pt x="174" y="140"/>
                  </a:lnTo>
                  <a:lnTo>
                    <a:pt x="173" y="146"/>
                  </a:lnTo>
                  <a:lnTo>
                    <a:pt x="171" y="153"/>
                  </a:lnTo>
                  <a:lnTo>
                    <a:pt x="168" y="159"/>
                  </a:lnTo>
                  <a:lnTo>
                    <a:pt x="164" y="164"/>
                  </a:lnTo>
                  <a:lnTo>
                    <a:pt x="164" y="164"/>
                  </a:lnTo>
                  <a:close/>
                </a:path>
              </a:pathLst>
            </a:custGeom>
            <a:solidFill>
              <a:srgbClr val="F99B1C"/>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1" name="Freeform 209">
              <a:extLst>
                <a:ext uri="{FF2B5EF4-FFF2-40B4-BE49-F238E27FC236}">
                  <a16:creationId xmlns:a16="http://schemas.microsoft.com/office/drawing/2014/main" id="{2437BA19-1163-6782-D252-709126429815}"/>
                </a:ext>
              </a:extLst>
            </p:cNvPr>
            <p:cNvSpPr>
              <a:spLocks/>
            </p:cNvSpPr>
            <p:nvPr/>
          </p:nvSpPr>
          <p:spPr bwMode="auto">
            <a:xfrm>
              <a:off x="3795713" y="673100"/>
              <a:ext cx="209550" cy="209550"/>
            </a:xfrm>
            <a:custGeom>
              <a:avLst/>
              <a:gdLst>
                <a:gd name="T0" fmla="*/ 128 w 132"/>
                <a:gd name="T1" fmla="*/ 129 h 132"/>
                <a:gd name="T2" fmla="*/ 128 w 132"/>
                <a:gd name="T3" fmla="*/ 129 h 132"/>
                <a:gd name="T4" fmla="*/ 123 w 132"/>
                <a:gd name="T5" fmla="*/ 131 h 132"/>
                <a:gd name="T6" fmla="*/ 118 w 132"/>
                <a:gd name="T7" fmla="*/ 132 h 132"/>
                <a:gd name="T8" fmla="*/ 113 w 132"/>
                <a:gd name="T9" fmla="*/ 131 h 132"/>
                <a:gd name="T10" fmla="*/ 108 w 132"/>
                <a:gd name="T11" fmla="*/ 129 h 132"/>
                <a:gd name="T12" fmla="*/ 4 w 132"/>
                <a:gd name="T13" fmla="*/ 23 h 132"/>
                <a:gd name="T14" fmla="*/ 4 w 132"/>
                <a:gd name="T15" fmla="*/ 23 h 132"/>
                <a:gd name="T16" fmla="*/ 1 w 132"/>
                <a:gd name="T17" fmla="*/ 19 h 132"/>
                <a:gd name="T18" fmla="*/ 0 w 132"/>
                <a:gd name="T19" fmla="*/ 14 h 132"/>
                <a:gd name="T20" fmla="*/ 1 w 132"/>
                <a:gd name="T21" fmla="*/ 9 h 132"/>
                <a:gd name="T22" fmla="*/ 4 w 132"/>
                <a:gd name="T23" fmla="*/ 4 h 132"/>
                <a:gd name="T24" fmla="*/ 4 w 132"/>
                <a:gd name="T25" fmla="*/ 4 h 132"/>
                <a:gd name="T26" fmla="*/ 8 w 132"/>
                <a:gd name="T27" fmla="*/ 2 h 132"/>
                <a:gd name="T28" fmla="*/ 13 w 132"/>
                <a:gd name="T29" fmla="*/ 0 h 132"/>
                <a:gd name="T30" fmla="*/ 18 w 132"/>
                <a:gd name="T31" fmla="*/ 2 h 132"/>
                <a:gd name="T32" fmla="*/ 23 w 132"/>
                <a:gd name="T33" fmla="*/ 4 h 132"/>
                <a:gd name="T34" fmla="*/ 128 w 132"/>
                <a:gd name="T35" fmla="*/ 109 h 132"/>
                <a:gd name="T36" fmla="*/ 128 w 132"/>
                <a:gd name="T37" fmla="*/ 109 h 132"/>
                <a:gd name="T38" fmla="*/ 131 w 132"/>
                <a:gd name="T39" fmla="*/ 114 h 132"/>
                <a:gd name="T40" fmla="*/ 132 w 132"/>
                <a:gd name="T41" fmla="*/ 119 h 132"/>
                <a:gd name="T42" fmla="*/ 131 w 132"/>
                <a:gd name="T43" fmla="*/ 124 h 132"/>
                <a:gd name="T44" fmla="*/ 128 w 132"/>
                <a:gd name="T45" fmla="*/ 129 h 132"/>
                <a:gd name="T46" fmla="*/ 128 w 132"/>
                <a:gd name="T47" fmla="*/ 129 h 13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132" h="132">
                  <a:moveTo>
                    <a:pt x="128" y="129"/>
                  </a:moveTo>
                  <a:lnTo>
                    <a:pt x="128" y="129"/>
                  </a:lnTo>
                  <a:lnTo>
                    <a:pt x="123" y="131"/>
                  </a:lnTo>
                  <a:lnTo>
                    <a:pt x="118" y="132"/>
                  </a:lnTo>
                  <a:lnTo>
                    <a:pt x="113" y="131"/>
                  </a:lnTo>
                  <a:lnTo>
                    <a:pt x="108" y="129"/>
                  </a:lnTo>
                  <a:lnTo>
                    <a:pt x="4" y="23"/>
                  </a:lnTo>
                  <a:lnTo>
                    <a:pt x="4" y="23"/>
                  </a:lnTo>
                  <a:lnTo>
                    <a:pt x="1" y="19"/>
                  </a:lnTo>
                  <a:lnTo>
                    <a:pt x="0" y="14"/>
                  </a:lnTo>
                  <a:lnTo>
                    <a:pt x="1" y="9"/>
                  </a:lnTo>
                  <a:lnTo>
                    <a:pt x="4" y="4"/>
                  </a:lnTo>
                  <a:lnTo>
                    <a:pt x="4" y="4"/>
                  </a:lnTo>
                  <a:lnTo>
                    <a:pt x="8" y="2"/>
                  </a:lnTo>
                  <a:lnTo>
                    <a:pt x="13" y="0"/>
                  </a:lnTo>
                  <a:lnTo>
                    <a:pt x="18" y="2"/>
                  </a:lnTo>
                  <a:lnTo>
                    <a:pt x="23" y="4"/>
                  </a:lnTo>
                  <a:lnTo>
                    <a:pt x="128" y="109"/>
                  </a:lnTo>
                  <a:lnTo>
                    <a:pt x="128" y="109"/>
                  </a:lnTo>
                  <a:lnTo>
                    <a:pt x="131" y="114"/>
                  </a:lnTo>
                  <a:lnTo>
                    <a:pt x="132" y="119"/>
                  </a:lnTo>
                  <a:lnTo>
                    <a:pt x="131" y="124"/>
                  </a:lnTo>
                  <a:lnTo>
                    <a:pt x="128" y="129"/>
                  </a:lnTo>
                  <a:lnTo>
                    <a:pt x="128" y="129"/>
                  </a:lnTo>
                  <a:close/>
                </a:path>
              </a:pathLst>
            </a:custGeom>
            <a:solidFill>
              <a:srgbClr val="FEC00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2" name="Freeform 210">
              <a:extLst>
                <a:ext uri="{FF2B5EF4-FFF2-40B4-BE49-F238E27FC236}">
                  <a16:creationId xmlns:a16="http://schemas.microsoft.com/office/drawing/2014/main" id="{F08A34DA-7E08-A7AA-4856-32EC9CDE1A69}"/>
                </a:ext>
              </a:extLst>
            </p:cNvPr>
            <p:cNvSpPr>
              <a:spLocks/>
            </p:cNvSpPr>
            <p:nvPr/>
          </p:nvSpPr>
          <p:spPr bwMode="auto">
            <a:xfrm>
              <a:off x="3392488" y="244475"/>
              <a:ext cx="427038" cy="427038"/>
            </a:xfrm>
            <a:custGeom>
              <a:avLst/>
              <a:gdLst>
                <a:gd name="T0" fmla="*/ 39 w 269"/>
                <a:gd name="T1" fmla="*/ 40 h 269"/>
                <a:gd name="T2" fmla="*/ 39 w 269"/>
                <a:gd name="T3" fmla="*/ 40 h 269"/>
                <a:gd name="T4" fmla="*/ 59 w 269"/>
                <a:gd name="T5" fmla="*/ 24 h 269"/>
                <a:gd name="T6" fmla="*/ 82 w 269"/>
                <a:gd name="T7" fmla="*/ 11 h 269"/>
                <a:gd name="T8" fmla="*/ 107 w 269"/>
                <a:gd name="T9" fmla="*/ 4 h 269"/>
                <a:gd name="T10" fmla="*/ 134 w 269"/>
                <a:gd name="T11" fmla="*/ 0 h 269"/>
                <a:gd name="T12" fmla="*/ 148 w 269"/>
                <a:gd name="T13" fmla="*/ 1 h 269"/>
                <a:gd name="T14" fmla="*/ 174 w 269"/>
                <a:gd name="T15" fmla="*/ 6 h 269"/>
                <a:gd name="T16" fmla="*/ 198 w 269"/>
                <a:gd name="T17" fmla="*/ 17 h 269"/>
                <a:gd name="T18" fmla="*/ 219 w 269"/>
                <a:gd name="T19" fmla="*/ 31 h 269"/>
                <a:gd name="T20" fmla="*/ 238 w 269"/>
                <a:gd name="T21" fmla="*/ 50 h 269"/>
                <a:gd name="T22" fmla="*/ 251 w 269"/>
                <a:gd name="T23" fmla="*/ 72 h 269"/>
                <a:gd name="T24" fmla="*/ 262 w 269"/>
                <a:gd name="T25" fmla="*/ 95 h 269"/>
                <a:gd name="T26" fmla="*/ 267 w 269"/>
                <a:gd name="T27" fmla="*/ 121 h 269"/>
                <a:gd name="T28" fmla="*/ 269 w 269"/>
                <a:gd name="T29" fmla="*/ 136 h 269"/>
                <a:gd name="T30" fmla="*/ 265 w 269"/>
                <a:gd name="T31" fmla="*/ 162 h 269"/>
                <a:gd name="T32" fmla="*/ 258 w 269"/>
                <a:gd name="T33" fmla="*/ 186 h 269"/>
                <a:gd name="T34" fmla="*/ 245 w 269"/>
                <a:gd name="T35" fmla="*/ 210 h 269"/>
                <a:gd name="T36" fmla="*/ 229 w 269"/>
                <a:gd name="T37" fmla="*/ 230 h 269"/>
                <a:gd name="T38" fmla="*/ 219 w 269"/>
                <a:gd name="T39" fmla="*/ 240 h 269"/>
                <a:gd name="T40" fmla="*/ 197 w 269"/>
                <a:gd name="T41" fmla="*/ 253 h 269"/>
                <a:gd name="T42" fmla="*/ 172 w 269"/>
                <a:gd name="T43" fmla="*/ 264 h 269"/>
                <a:gd name="T44" fmla="*/ 147 w 269"/>
                <a:gd name="T45" fmla="*/ 269 h 269"/>
                <a:gd name="T46" fmla="*/ 133 w 269"/>
                <a:gd name="T47" fmla="*/ 269 h 269"/>
                <a:gd name="T48" fmla="*/ 107 w 269"/>
                <a:gd name="T49" fmla="*/ 267 h 269"/>
                <a:gd name="T50" fmla="*/ 82 w 269"/>
                <a:gd name="T51" fmla="*/ 259 h 269"/>
                <a:gd name="T52" fmla="*/ 59 w 269"/>
                <a:gd name="T53" fmla="*/ 247 h 269"/>
                <a:gd name="T54" fmla="*/ 39 w 269"/>
                <a:gd name="T55" fmla="*/ 230 h 269"/>
                <a:gd name="T56" fmla="*/ 29 w 269"/>
                <a:gd name="T57" fmla="*/ 220 h 269"/>
                <a:gd name="T58" fmla="*/ 15 w 269"/>
                <a:gd name="T59" fmla="*/ 198 h 269"/>
                <a:gd name="T60" fmla="*/ 5 w 269"/>
                <a:gd name="T61" fmla="*/ 174 h 269"/>
                <a:gd name="T62" fmla="*/ 0 w 269"/>
                <a:gd name="T63" fmla="*/ 148 h 269"/>
                <a:gd name="T64" fmla="*/ 0 w 269"/>
                <a:gd name="T65" fmla="*/ 135 h 269"/>
                <a:gd name="T66" fmla="*/ 2 w 269"/>
                <a:gd name="T67" fmla="*/ 109 h 269"/>
                <a:gd name="T68" fmla="*/ 10 w 269"/>
                <a:gd name="T69" fmla="*/ 84 h 269"/>
                <a:gd name="T70" fmla="*/ 22 w 269"/>
                <a:gd name="T71" fmla="*/ 61 h 269"/>
                <a:gd name="T72" fmla="*/ 39 w 269"/>
                <a:gd name="T73" fmla="*/ 40 h 26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69" h="269">
                  <a:moveTo>
                    <a:pt x="39" y="40"/>
                  </a:moveTo>
                  <a:lnTo>
                    <a:pt x="39" y="40"/>
                  </a:lnTo>
                  <a:lnTo>
                    <a:pt x="39" y="40"/>
                  </a:lnTo>
                  <a:lnTo>
                    <a:pt x="39" y="40"/>
                  </a:lnTo>
                  <a:lnTo>
                    <a:pt x="49" y="31"/>
                  </a:lnTo>
                  <a:lnTo>
                    <a:pt x="59" y="24"/>
                  </a:lnTo>
                  <a:lnTo>
                    <a:pt x="70" y="16"/>
                  </a:lnTo>
                  <a:lnTo>
                    <a:pt x="82" y="11"/>
                  </a:lnTo>
                  <a:lnTo>
                    <a:pt x="95" y="6"/>
                  </a:lnTo>
                  <a:lnTo>
                    <a:pt x="107" y="4"/>
                  </a:lnTo>
                  <a:lnTo>
                    <a:pt x="121" y="1"/>
                  </a:lnTo>
                  <a:lnTo>
                    <a:pt x="134" y="0"/>
                  </a:lnTo>
                  <a:lnTo>
                    <a:pt x="134" y="0"/>
                  </a:lnTo>
                  <a:lnTo>
                    <a:pt x="148" y="1"/>
                  </a:lnTo>
                  <a:lnTo>
                    <a:pt x="161" y="4"/>
                  </a:lnTo>
                  <a:lnTo>
                    <a:pt x="174" y="6"/>
                  </a:lnTo>
                  <a:lnTo>
                    <a:pt x="186" y="11"/>
                  </a:lnTo>
                  <a:lnTo>
                    <a:pt x="198" y="17"/>
                  </a:lnTo>
                  <a:lnTo>
                    <a:pt x="209" y="24"/>
                  </a:lnTo>
                  <a:lnTo>
                    <a:pt x="219" y="31"/>
                  </a:lnTo>
                  <a:lnTo>
                    <a:pt x="229" y="40"/>
                  </a:lnTo>
                  <a:lnTo>
                    <a:pt x="238" y="50"/>
                  </a:lnTo>
                  <a:lnTo>
                    <a:pt x="245" y="61"/>
                  </a:lnTo>
                  <a:lnTo>
                    <a:pt x="251" y="72"/>
                  </a:lnTo>
                  <a:lnTo>
                    <a:pt x="258" y="83"/>
                  </a:lnTo>
                  <a:lnTo>
                    <a:pt x="262" y="95"/>
                  </a:lnTo>
                  <a:lnTo>
                    <a:pt x="265" y="109"/>
                  </a:lnTo>
                  <a:lnTo>
                    <a:pt x="267" y="121"/>
                  </a:lnTo>
                  <a:lnTo>
                    <a:pt x="269" y="136"/>
                  </a:lnTo>
                  <a:lnTo>
                    <a:pt x="269" y="136"/>
                  </a:lnTo>
                  <a:lnTo>
                    <a:pt x="267" y="148"/>
                  </a:lnTo>
                  <a:lnTo>
                    <a:pt x="265" y="162"/>
                  </a:lnTo>
                  <a:lnTo>
                    <a:pt x="262" y="174"/>
                  </a:lnTo>
                  <a:lnTo>
                    <a:pt x="258" y="186"/>
                  </a:lnTo>
                  <a:lnTo>
                    <a:pt x="253" y="199"/>
                  </a:lnTo>
                  <a:lnTo>
                    <a:pt x="245" y="210"/>
                  </a:lnTo>
                  <a:lnTo>
                    <a:pt x="238" y="220"/>
                  </a:lnTo>
                  <a:lnTo>
                    <a:pt x="229" y="230"/>
                  </a:lnTo>
                  <a:lnTo>
                    <a:pt x="229" y="230"/>
                  </a:lnTo>
                  <a:lnTo>
                    <a:pt x="219" y="240"/>
                  </a:lnTo>
                  <a:lnTo>
                    <a:pt x="208" y="247"/>
                  </a:lnTo>
                  <a:lnTo>
                    <a:pt x="197" y="253"/>
                  </a:lnTo>
                  <a:lnTo>
                    <a:pt x="185" y="259"/>
                  </a:lnTo>
                  <a:lnTo>
                    <a:pt x="172" y="264"/>
                  </a:lnTo>
                  <a:lnTo>
                    <a:pt x="160" y="267"/>
                  </a:lnTo>
                  <a:lnTo>
                    <a:pt x="147" y="269"/>
                  </a:lnTo>
                  <a:lnTo>
                    <a:pt x="133" y="269"/>
                  </a:lnTo>
                  <a:lnTo>
                    <a:pt x="133" y="269"/>
                  </a:lnTo>
                  <a:lnTo>
                    <a:pt x="121" y="269"/>
                  </a:lnTo>
                  <a:lnTo>
                    <a:pt x="107" y="267"/>
                  </a:lnTo>
                  <a:lnTo>
                    <a:pt x="95" y="263"/>
                  </a:lnTo>
                  <a:lnTo>
                    <a:pt x="82" y="259"/>
                  </a:lnTo>
                  <a:lnTo>
                    <a:pt x="70" y="253"/>
                  </a:lnTo>
                  <a:lnTo>
                    <a:pt x="59" y="247"/>
                  </a:lnTo>
                  <a:lnTo>
                    <a:pt x="49" y="238"/>
                  </a:lnTo>
                  <a:lnTo>
                    <a:pt x="39" y="230"/>
                  </a:lnTo>
                  <a:lnTo>
                    <a:pt x="39" y="230"/>
                  </a:lnTo>
                  <a:lnTo>
                    <a:pt x="29" y="220"/>
                  </a:lnTo>
                  <a:lnTo>
                    <a:pt x="22" y="209"/>
                  </a:lnTo>
                  <a:lnTo>
                    <a:pt x="15" y="198"/>
                  </a:lnTo>
                  <a:lnTo>
                    <a:pt x="10" y="186"/>
                  </a:lnTo>
                  <a:lnTo>
                    <a:pt x="5" y="174"/>
                  </a:lnTo>
                  <a:lnTo>
                    <a:pt x="2" y="162"/>
                  </a:lnTo>
                  <a:lnTo>
                    <a:pt x="0" y="148"/>
                  </a:lnTo>
                  <a:lnTo>
                    <a:pt x="0" y="135"/>
                  </a:lnTo>
                  <a:lnTo>
                    <a:pt x="0" y="135"/>
                  </a:lnTo>
                  <a:lnTo>
                    <a:pt x="0" y="121"/>
                  </a:lnTo>
                  <a:lnTo>
                    <a:pt x="2" y="109"/>
                  </a:lnTo>
                  <a:lnTo>
                    <a:pt x="5" y="96"/>
                  </a:lnTo>
                  <a:lnTo>
                    <a:pt x="10" y="84"/>
                  </a:lnTo>
                  <a:lnTo>
                    <a:pt x="16" y="72"/>
                  </a:lnTo>
                  <a:lnTo>
                    <a:pt x="22" y="61"/>
                  </a:lnTo>
                  <a:lnTo>
                    <a:pt x="29" y="50"/>
                  </a:lnTo>
                  <a:lnTo>
                    <a:pt x="39" y="40"/>
                  </a:lnTo>
                  <a:lnTo>
                    <a:pt x="39" y="40"/>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3" name="Freeform 211">
              <a:extLst>
                <a:ext uri="{FF2B5EF4-FFF2-40B4-BE49-F238E27FC236}">
                  <a16:creationId xmlns:a16="http://schemas.microsoft.com/office/drawing/2014/main" id="{A4CF59A0-D8A1-B6AB-BF8C-034870F9E740}"/>
                </a:ext>
              </a:extLst>
            </p:cNvPr>
            <p:cNvSpPr>
              <a:spLocks/>
            </p:cNvSpPr>
            <p:nvPr/>
          </p:nvSpPr>
          <p:spPr bwMode="auto">
            <a:xfrm>
              <a:off x="3446463" y="300038"/>
              <a:ext cx="317500" cy="317500"/>
            </a:xfrm>
            <a:custGeom>
              <a:avLst/>
              <a:gdLst>
                <a:gd name="T0" fmla="*/ 29 w 200"/>
                <a:gd name="T1" fmla="*/ 29 h 200"/>
                <a:gd name="T2" fmla="*/ 16 w 200"/>
                <a:gd name="T3" fmla="*/ 44 h 200"/>
                <a:gd name="T4" fmla="*/ 8 w 200"/>
                <a:gd name="T5" fmla="*/ 61 h 200"/>
                <a:gd name="T6" fmla="*/ 2 w 200"/>
                <a:gd name="T7" fmla="*/ 80 h 200"/>
                <a:gd name="T8" fmla="*/ 0 w 200"/>
                <a:gd name="T9" fmla="*/ 100 h 200"/>
                <a:gd name="T10" fmla="*/ 0 w 200"/>
                <a:gd name="T11" fmla="*/ 110 h 200"/>
                <a:gd name="T12" fmla="*/ 4 w 200"/>
                <a:gd name="T13" fmla="*/ 129 h 200"/>
                <a:gd name="T14" fmla="*/ 11 w 200"/>
                <a:gd name="T15" fmla="*/ 148 h 200"/>
                <a:gd name="T16" fmla="*/ 22 w 200"/>
                <a:gd name="T17" fmla="*/ 164 h 200"/>
                <a:gd name="T18" fmla="*/ 36 w 200"/>
                <a:gd name="T19" fmla="*/ 177 h 200"/>
                <a:gd name="T20" fmla="*/ 52 w 200"/>
                <a:gd name="T21" fmla="*/ 187 h 200"/>
                <a:gd name="T22" fmla="*/ 69 w 200"/>
                <a:gd name="T23" fmla="*/ 196 h 200"/>
                <a:gd name="T24" fmla="*/ 89 w 200"/>
                <a:gd name="T25" fmla="*/ 200 h 200"/>
                <a:gd name="T26" fmla="*/ 99 w 200"/>
                <a:gd name="T27" fmla="*/ 200 h 200"/>
                <a:gd name="T28" fmla="*/ 119 w 200"/>
                <a:gd name="T29" fmla="*/ 198 h 200"/>
                <a:gd name="T30" fmla="*/ 138 w 200"/>
                <a:gd name="T31" fmla="*/ 192 h 200"/>
                <a:gd name="T32" fmla="*/ 156 w 200"/>
                <a:gd name="T33" fmla="*/ 184 h 200"/>
                <a:gd name="T34" fmla="*/ 170 w 200"/>
                <a:gd name="T35" fmla="*/ 171 h 200"/>
                <a:gd name="T36" fmla="*/ 170 w 200"/>
                <a:gd name="T37" fmla="*/ 171 h 200"/>
                <a:gd name="T38" fmla="*/ 183 w 200"/>
                <a:gd name="T39" fmla="*/ 155 h 200"/>
                <a:gd name="T40" fmla="*/ 193 w 200"/>
                <a:gd name="T41" fmla="*/ 138 h 200"/>
                <a:gd name="T42" fmla="*/ 198 w 200"/>
                <a:gd name="T43" fmla="*/ 119 h 200"/>
                <a:gd name="T44" fmla="*/ 200 w 200"/>
                <a:gd name="T45" fmla="*/ 100 h 200"/>
                <a:gd name="T46" fmla="*/ 199 w 200"/>
                <a:gd name="T47" fmla="*/ 90 h 200"/>
                <a:gd name="T48" fmla="*/ 195 w 200"/>
                <a:gd name="T49" fmla="*/ 71 h 200"/>
                <a:gd name="T50" fmla="*/ 188 w 200"/>
                <a:gd name="T51" fmla="*/ 53 h 200"/>
                <a:gd name="T52" fmla="*/ 177 w 200"/>
                <a:gd name="T53" fmla="*/ 37 h 200"/>
                <a:gd name="T54" fmla="*/ 170 w 200"/>
                <a:gd name="T55" fmla="*/ 29 h 200"/>
                <a:gd name="T56" fmla="*/ 156 w 200"/>
                <a:gd name="T57" fmla="*/ 17 h 200"/>
                <a:gd name="T58" fmla="*/ 138 w 200"/>
                <a:gd name="T59" fmla="*/ 7 h 200"/>
                <a:gd name="T60" fmla="*/ 120 w 200"/>
                <a:gd name="T61" fmla="*/ 2 h 200"/>
                <a:gd name="T62" fmla="*/ 100 w 200"/>
                <a:gd name="T63" fmla="*/ 0 h 200"/>
                <a:gd name="T64" fmla="*/ 90 w 200"/>
                <a:gd name="T65" fmla="*/ 1 h 200"/>
                <a:gd name="T66" fmla="*/ 71 w 200"/>
                <a:gd name="T67" fmla="*/ 5 h 200"/>
                <a:gd name="T68" fmla="*/ 53 w 200"/>
                <a:gd name="T69" fmla="*/ 12 h 200"/>
                <a:gd name="T70" fmla="*/ 36 w 200"/>
                <a:gd name="T71" fmla="*/ 23 h 200"/>
                <a:gd name="T72" fmla="*/ 29 w 200"/>
                <a:gd name="T73" fmla="*/ 29 h 20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Lst>
              <a:rect l="0" t="0" r="r" b="b"/>
              <a:pathLst>
                <a:path w="200" h="200">
                  <a:moveTo>
                    <a:pt x="29" y="29"/>
                  </a:moveTo>
                  <a:lnTo>
                    <a:pt x="29" y="29"/>
                  </a:lnTo>
                  <a:lnTo>
                    <a:pt x="22" y="37"/>
                  </a:lnTo>
                  <a:lnTo>
                    <a:pt x="16" y="44"/>
                  </a:lnTo>
                  <a:lnTo>
                    <a:pt x="11" y="53"/>
                  </a:lnTo>
                  <a:lnTo>
                    <a:pt x="8" y="61"/>
                  </a:lnTo>
                  <a:lnTo>
                    <a:pt x="4" y="71"/>
                  </a:lnTo>
                  <a:lnTo>
                    <a:pt x="2" y="80"/>
                  </a:lnTo>
                  <a:lnTo>
                    <a:pt x="0" y="90"/>
                  </a:lnTo>
                  <a:lnTo>
                    <a:pt x="0" y="100"/>
                  </a:lnTo>
                  <a:lnTo>
                    <a:pt x="0" y="100"/>
                  </a:lnTo>
                  <a:lnTo>
                    <a:pt x="0" y="110"/>
                  </a:lnTo>
                  <a:lnTo>
                    <a:pt x="2" y="119"/>
                  </a:lnTo>
                  <a:lnTo>
                    <a:pt x="4" y="129"/>
                  </a:lnTo>
                  <a:lnTo>
                    <a:pt x="8" y="139"/>
                  </a:lnTo>
                  <a:lnTo>
                    <a:pt x="11" y="148"/>
                  </a:lnTo>
                  <a:lnTo>
                    <a:pt x="16" y="155"/>
                  </a:lnTo>
                  <a:lnTo>
                    <a:pt x="22" y="164"/>
                  </a:lnTo>
                  <a:lnTo>
                    <a:pt x="29" y="170"/>
                  </a:lnTo>
                  <a:lnTo>
                    <a:pt x="36" y="177"/>
                  </a:lnTo>
                  <a:lnTo>
                    <a:pt x="43" y="182"/>
                  </a:lnTo>
                  <a:lnTo>
                    <a:pt x="52" y="187"/>
                  </a:lnTo>
                  <a:lnTo>
                    <a:pt x="61" y="192"/>
                  </a:lnTo>
                  <a:lnTo>
                    <a:pt x="69" y="196"/>
                  </a:lnTo>
                  <a:lnTo>
                    <a:pt x="79" y="198"/>
                  </a:lnTo>
                  <a:lnTo>
                    <a:pt x="89" y="200"/>
                  </a:lnTo>
                  <a:lnTo>
                    <a:pt x="99" y="200"/>
                  </a:lnTo>
                  <a:lnTo>
                    <a:pt x="99" y="200"/>
                  </a:lnTo>
                  <a:lnTo>
                    <a:pt x="110" y="200"/>
                  </a:lnTo>
                  <a:lnTo>
                    <a:pt x="119" y="198"/>
                  </a:lnTo>
                  <a:lnTo>
                    <a:pt x="129" y="196"/>
                  </a:lnTo>
                  <a:lnTo>
                    <a:pt x="138" y="192"/>
                  </a:lnTo>
                  <a:lnTo>
                    <a:pt x="147" y="188"/>
                  </a:lnTo>
                  <a:lnTo>
                    <a:pt x="156" y="184"/>
                  </a:lnTo>
                  <a:lnTo>
                    <a:pt x="163" y="177"/>
                  </a:lnTo>
                  <a:lnTo>
                    <a:pt x="170" y="171"/>
                  </a:lnTo>
                  <a:lnTo>
                    <a:pt x="170" y="171"/>
                  </a:lnTo>
                  <a:lnTo>
                    <a:pt x="170" y="171"/>
                  </a:lnTo>
                  <a:lnTo>
                    <a:pt x="177" y="164"/>
                  </a:lnTo>
                  <a:lnTo>
                    <a:pt x="183" y="155"/>
                  </a:lnTo>
                  <a:lnTo>
                    <a:pt x="188" y="147"/>
                  </a:lnTo>
                  <a:lnTo>
                    <a:pt x="193" y="138"/>
                  </a:lnTo>
                  <a:lnTo>
                    <a:pt x="195" y="129"/>
                  </a:lnTo>
                  <a:lnTo>
                    <a:pt x="198" y="119"/>
                  </a:lnTo>
                  <a:lnTo>
                    <a:pt x="199" y="110"/>
                  </a:lnTo>
                  <a:lnTo>
                    <a:pt x="200" y="100"/>
                  </a:lnTo>
                  <a:lnTo>
                    <a:pt x="200" y="100"/>
                  </a:lnTo>
                  <a:lnTo>
                    <a:pt x="199" y="90"/>
                  </a:lnTo>
                  <a:lnTo>
                    <a:pt x="198" y="81"/>
                  </a:lnTo>
                  <a:lnTo>
                    <a:pt x="195" y="71"/>
                  </a:lnTo>
                  <a:lnTo>
                    <a:pt x="193" y="61"/>
                  </a:lnTo>
                  <a:lnTo>
                    <a:pt x="188" y="53"/>
                  </a:lnTo>
                  <a:lnTo>
                    <a:pt x="183" y="45"/>
                  </a:lnTo>
                  <a:lnTo>
                    <a:pt x="177" y="37"/>
                  </a:lnTo>
                  <a:lnTo>
                    <a:pt x="170" y="29"/>
                  </a:lnTo>
                  <a:lnTo>
                    <a:pt x="170" y="29"/>
                  </a:lnTo>
                  <a:lnTo>
                    <a:pt x="163" y="23"/>
                  </a:lnTo>
                  <a:lnTo>
                    <a:pt x="156" y="17"/>
                  </a:lnTo>
                  <a:lnTo>
                    <a:pt x="147" y="12"/>
                  </a:lnTo>
                  <a:lnTo>
                    <a:pt x="138" y="7"/>
                  </a:lnTo>
                  <a:lnTo>
                    <a:pt x="129" y="5"/>
                  </a:lnTo>
                  <a:lnTo>
                    <a:pt x="120" y="2"/>
                  </a:lnTo>
                  <a:lnTo>
                    <a:pt x="110" y="1"/>
                  </a:lnTo>
                  <a:lnTo>
                    <a:pt x="100" y="0"/>
                  </a:lnTo>
                  <a:lnTo>
                    <a:pt x="100" y="0"/>
                  </a:lnTo>
                  <a:lnTo>
                    <a:pt x="90" y="1"/>
                  </a:lnTo>
                  <a:lnTo>
                    <a:pt x="80" y="2"/>
                  </a:lnTo>
                  <a:lnTo>
                    <a:pt x="71" y="5"/>
                  </a:lnTo>
                  <a:lnTo>
                    <a:pt x="62" y="7"/>
                  </a:lnTo>
                  <a:lnTo>
                    <a:pt x="53" y="12"/>
                  </a:lnTo>
                  <a:lnTo>
                    <a:pt x="45" y="17"/>
                  </a:lnTo>
                  <a:lnTo>
                    <a:pt x="36" y="23"/>
                  </a:lnTo>
                  <a:lnTo>
                    <a:pt x="29" y="29"/>
                  </a:lnTo>
                  <a:lnTo>
                    <a:pt x="29" y="29"/>
                  </a:lnTo>
                  <a:close/>
                </a:path>
              </a:pathLst>
            </a:custGeom>
            <a:solidFill>
              <a:srgbClr val="D1ECFB"/>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4" name="Freeform 212">
              <a:extLst>
                <a:ext uri="{FF2B5EF4-FFF2-40B4-BE49-F238E27FC236}">
                  <a16:creationId xmlns:a16="http://schemas.microsoft.com/office/drawing/2014/main" id="{D21E802E-3DD8-0B77-1AD6-F061E4F7068F}"/>
                </a:ext>
              </a:extLst>
            </p:cNvPr>
            <p:cNvSpPr>
              <a:spLocks/>
            </p:cNvSpPr>
            <p:nvPr/>
          </p:nvSpPr>
          <p:spPr bwMode="auto">
            <a:xfrm>
              <a:off x="3476625" y="300038"/>
              <a:ext cx="287338" cy="306388"/>
            </a:xfrm>
            <a:custGeom>
              <a:avLst/>
              <a:gdLst>
                <a:gd name="T0" fmla="*/ 151 w 181"/>
                <a:gd name="T1" fmla="*/ 29 h 193"/>
                <a:gd name="T2" fmla="*/ 137 w 181"/>
                <a:gd name="T3" fmla="*/ 17 h 193"/>
                <a:gd name="T4" fmla="*/ 119 w 181"/>
                <a:gd name="T5" fmla="*/ 7 h 193"/>
                <a:gd name="T6" fmla="*/ 101 w 181"/>
                <a:gd name="T7" fmla="*/ 2 h 193"/>
                <a:gd name="T8" fmla="*/ 81 w 181"/>
                <a:gd name="T9" fmla="*/ 0 h 193"/>
                <a:gd name="T10" fmla="*/ 70 w 181"/>
                <a:gd name="T11" fmla="*/ 1 h 193"/>
                <a:gd name="T12" fmla="*/ 59 w 181"/>
                <a:gd name="T13" fmla="*/ 2 h 193"/>
                <a:gd name="T14" fmla="*/ 43 w 181"/>
                <a:gd name="T15" fmla="*/ 11 h 193"/>
                <a:gd name="T16" fmla="*/ 29 w 181"/>
                <a:gd name="T17" fmla="*/ 23 h 193"/>
                <a:gd name="T18" fmla="*/ 23 w 181"/>
                <a:gd name="T19" fmla="*/ 31 h 193"/>
                <a:gd name="T20" fmla="*/ 12 w 181"/>
                <a:gd name="T21" fmla="*/ 47 h 193"/>
                <a:gd name="T22" fmla="*/ 5 w 181"/>
                <a:gd name="T23" fmla="*/ 64 h 193"/>
                <a:gd name="T24" fmla="*/ 1 w 181"/>
                <a:gd name="T25" fmla="*/ 84 h 193"/>
                <a:gd name="T26" fmla="*/ 0 w 181"/>
                <a:gd name="T27" fmla="*/ 93 h 193"/>
                <a:gd name="T28" fmla="*/ 2 w 181"/>
                <a:gd name="T29" fmla="*/ 113 h 193"/>
                <a:gd name="T30" fmla="*/ 7 w 181"/>
                <a:gd name="T31" fmla="*/ 133 h 193"/>
                <a:gd name="T32" fmla="*/ 17 w 181"/>
                <a:gd name="T33" fmla="*/ 149 h 193"/>
                <a:gd name="T34" fmla="*/ 29 w 181"/>
                <a:gd name="T35" fmla="*/ 164 h 193"/>
                <a:gd name="T36" fmla="*/ 44 w 181"/>
                <a:gd name="T37" fmla="*/ 176 h 193"/>
                <a:gd name="T38" fmla="*/ 61 w 181"/>
                <a:gd name="T39" fmla="*/ 186 h 193"/>
                <a:gd name="T40" fmla="*/ 80 w 181"/>
                <a:gd name="T41" fmla="*/ 191 h 193"/>
                <a:gd name="T42" fmla="*/ 100 w 181"/>
                <a:gd name="T43" fmla="*/ 193 h 193"/>
                <a:gd name="T44" fmla="*/ 111 w 181"/>
                <a:gd name="T45" fmla="*/ 193 h 193"/>
                <a:gd name="T46" fmla="*/ 122 w 181"/>
                <a:gd name="T47" fmla="*/ 191 h 193"/>
                <a:gd name="T48" fmla="*/ 138 w 181"/>
                <a:gd name="T49" fmla="*/ 182 h 193"/>
                <a:gd name="T50" fmla="*/ 151 w 181"/>
                <a:gd name="T51" fmla="*/ 171 h 193"/>
                <a:gd name="T52" fmla="*/ 151 w 181"/>
                <a:gd name="T53" fmla="*/ 171 h 193"/>
                <a:gd name="T54" fmla="*/ 164 w 181"/>
                <a:gd name="T55" fmla="*/ 155 h 193"/>
                <a:gd name="T56" fmla="*/ 174 w 181"/>
                <a:gd name="T57" fmla="*/ 138 h 193"/>
                <a:gd name="T58" fmla="*/ 179 w 181"/>
                <a:gd name="T59" fmla="*/ 119 h 193"/>
                <a:gd name="T60" fmla="*/ 181 w 181"/>
                <a:gd name="T61" fmla="*/ 100 h 193"/>
                <a:gd name="T62" fmla="*/ 180 w 181"/>
                <a:gd name="T63" fmla="*/ 90 h 193"/>
                <a:gd name="T64" fmla="*/ 176 w 181"/>
                <a:gd name="T65" fmla="*/ 71 h 193"/>
                <a:gd name="T66" fmla="*/ 169 w 181"/>
                <a:gd name="T67" fmla="*/ 53 h 193"/>
                <a:gd name="T68" fmla="*/ 158 w 181"/>
                <a:gd name="T69" fmla="*/ 37 h 193"/>
                <a:gd name="T70" fmla="*/ 151 w 181"/>
                <a:gd name="T71" fmla="*/ 29 h 19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Lst>
              <a:rect l="0" t="0" r="r" b="b"/>
              <a:pathLst>
                <a:path w="181" h="193">
                  <a:moveTo>
                    <a:pt x="151" y="29"/>
                  </a:moveTo>
                  <a:lnTo>
                    <a:pt x="151" y="29"/>
                  </a:lnTo>
                  <a:lnTo>
                    <a:pt x="144" y="23"/>
                  </a:lnTo>
                  <a:lnTo>
                    <a:pt x="137" y="17"/>
                  </a:lnTo>
                  <a:lnTo>
                    <a:pt x="128" y="12"/>
                  </a:lnTo>
                  <a:lnTo>
                    <a:pt x="119" y="7"/>
                  </a:lnTo>
                  <a:lnTo>
                    <a:pt x="110" y="5"/>
                  </a:lnTo>
                  <a:lnTo>
                    <a:pt x="101" y="2"/>
                  </a:lnTo>
                  <a:lnTo>
                    <a:pt x="91" y="1"/>
                  </a:lnTo>
                  <a:lnTo>
                    <a:pt x="81" y="0"/>
                  </a:lnTo>
                  <a:lnTo>
                    <a:pt x="81" y="0"/>
                  </a:lnTo>
                  <a:lnTo>
                    <a:pt x="70" y="1"/>
                  </a:lnTo>
                  <a:lnTo>
                    <a:pt x="59" y="2"/>
                  </a:lnTo>
                  <a:lnTo>
                    <a:pt x="59" y="2"/>
                  </a:lnTo>
                  <a:lnTo>
                    <a:pt x="50" y="7"/>
                  </a:lnTo>
                  <a:lnTo>
                    <a:pt x="43" y="11"/>
                  </a:lnTo>
                  <a:lnTo>
                    <a:pt x="36" y="17"/>
                  </a:lnTo>
                  <a:lnTo>
                    <a:pt x="29" y="23"/>
                  </a:lnTo>
                  <a:lnTo>
                    <a:pt x="29" y="23"/>
                  </a:lnTo>
                  <a:lnTo>
                    <a:pt x="23" y="31"/>
                  </a:lnTo>
                  <a:lnTo>
                    <a:pt x="17" y="38"/>
                  </a:lnTo>
                  <a:lnTo>
                    <a:pt x="12" y="47"/>
                  </a:lnTo>
                  <a:lnTo>
                    <a:pt x="7" y="55"/>
                  </a:lnTo>
                  <a:lnTo>
                    <a:pt x="5" y="64"/>
                  </a:lnTo>
                  <a:lnTo>
                    <a:pt x="2" y="74"/>
                  </a:lnTo>
                  <a:lnTo>
                    <a:pt x="1" y="84"/>
                  </a:lnTo>
                  <a:lnTo>
                    <a:pt x="0" y="93"/>
                  </a:lnTo>
                  <a:lnTo>
                    <a:pt x="0" y="93"/>
                  </a:lnTo>
                  <a:lnTo>
                    <a:pt x="1" y="103"/>
                  </a:lnTo>
                  <a:lnTo>
                    <a:pt x="2" y="113"/>
                  </a:lnTo>
                  <a:lnTo>
                    <a:pt x="5" y="123"/>
                  </a:lnTo>
                  <a:lnTo>
                    <a:pt x="7" y="133"/>
                  </a:lnTo>
                  <a:lnTo>
                    <a:pt x="12" y="142"/>
                  </a:lnTo>
                  <a:lnTo>
                    <a:pt x="17" y="149"/>
                  </a:lnTo>
                  <a:lnTo>
                    <a:pt x="23" y="158"/>
                  </a:lnTo>
                  <a:lnTo>
                    <a:pt x="29" y="164"/>
                  </a:lnTo>
                  <a:lnTo>
                    <a:pt x="37" y="171"/>
                  </a:lnTo>
                  <a:lnTo>
                    <a:pt x="44" y="176"/>
                  </a:lnTo>
                  <a:lnTo>
                    <a:pt x="52" y="181"/>
                  </a:lnTo>
                  <a:lnTo>
                    <a:pt x="61" y="186"/>
                  </a:lnTo>
                  <a:lnTo>
                    <a:pt x="70" y="188"/>
                  </a:lnTo>
                  <a:lnTo>
                    <a:pt x="80" y="191"/>
                  </a:lnTo>
                  <a:lnTo>
                    <a:pt x="90" y="193"/>
                  </a:lnTo>
                  <a:lnTo>
                    <a:pt x="100" y="193"/>
                  </a:lnTo>
                  <a:lnTo>
                    <a:pt x="100" y="193"/>
                  </a:lnTo>
                  <a:lnTo>
                    <a:pt x="111" y="193"/>
                  </a:lnTo>
                  <a:lnTo>
                    <a:pt x="122" y="191"/>
                  </a:lnTo>
                  <a:lnTo>
                    <a:pt x="122" y="191"/>
                  </a:lnTo>
                  <a:lnTo>
                    <a:pt x="129" y="187"/>
                  </a:lnTo>
                  <a:lnTo>
                    <a:pt x="138" y="182"/>
                  </a:lnTo>
                  <a:lnTo>
                    <a:pt x="144" y="177"/>
                  </a:lnTo>
                  <a:lnTo>
                    <a:pt x="151" y="171"/>
                  </a:lnTo>
                  <a:lnTo>
                    <a:pt x="151" y="171"/>
                  </a:lnTo>
                  <a:lnTo>
                    <a:pt x="151" y="171"/>
                  </a:lnTo>
                  <a:lnTo>
                    <a:pt x="158" y="164"/>
                  </a:lnTo>
                  <a:lnTo>
                    <a:pt x="164" y="155"/>
                  </a:lnTo>
                  <a:lnTo>
                    <a:pt x="169" y="147"/>
                  </a:lnTo>
                  <a:lnTo>
                    <a:pt x="174" y="138"/>
                  </a:lnTo>
                  <a:lnTo>
                    <a:pt x="176" y="129"/>
                  </a:lnTo>
                  <a:lnTo>
                    <a:pt x="179" y="119"/>
                  </a:lnTo>
                  <a:lnTo>
                    <a:pt x="180" y="110"/>
                  </a:lnTo>
                  <a:lnTo>
                    <a:pt x="181" y="100"/>
                  </a:lnTo>
                  <a:lnTo>
                    <a:pt x="181" y="100"/>
                  </a:lnTo>
                  <a:lnTo>
                    <a:pt x="180" y="90"/>
                  </a:lnTo>
                  <a:lnTo>
                    <a:pt x="179" y="81"/>
                  </a:lnTo>
                  <a:lnTo>
                    <a:pt x="176" y="71"/>
                  </a:lnTo>
                  <a:lnTo>
                    <a:pt x="174" y="61"/>
                  </a:lnTo>
                  <a:lnTo>
                    <a:pt x="169" y="53"/>
                  </a:lnTo>
                  <a:lnTo>
                    <a:pt x="164" y="45"/>
                  </a:lnTo>
                  <a:lnTo>
                    <a:pt x="158" y="37"/>
                  </a:lnTo>
                  <a:lnTo>
                    <a:pt x="151" y="29"/>
                  </a:lnTo>
                  <a:lnTo>
                    <a:pt x="151" y="29"/>
                  </a:lnTo>
                  <a:close/>
                </a:path>
              </a:pathLst>
            </a:custGeom>
            <a:solidFill>
              <a:srgbClr val="FFFFF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5" name="Freeform 213">
              <a:extLst>
                <a:ext uri="{FF2B5EF4-FFF2-40B4-BE49-F238E27FC236}">
                  <a16:creationId xmlns:a16="http://schemas.microsoft.com/office/drawing/2014/main" id="{4A321388-5E79-6D32-5B1D-A4B3FE4DE2CD}"/>
                </a:ext>
              </a:extLst>
            </p:cNvPr>
            <p:cNvSpPr>
              <a:spLocks/>
            </p:cNvSpPr>
            <p:nvPr/>
          </p:nvSpPr>
          <p:spPr bwMode="auto">
            <a:xfrm>
              <a:off x="3719513" y="573088"/>
              <a:ext cx="87313" cy="90488"/>
            </a:xfrm>
            <a:custGeom>
              <a:avLst/>
              <a:gdLst>
                <a:gd name="T0" fmla="*/ 50 w 55"/>
                <a:gd name="T1" fmla="*/ 52 h 57"/>
                <a:gd name="T2" fmla="*/ 50 w 55"/>
                <a:gd name="T3" fmla="*/ 52 h 57"/>
                <a:gd name="T4" fmla="*/ 45 w 55"/>
                <a:gd name="T5" fmla="*/ 56 h 57"/>
                <a:gd name="T6" fmla="*/ 39 w 55"/>
                <a:gd name="T7" fmla="*/ 57 h 57"/>
                <a:gd name="T8" fmla="*/ 32 w 55"/>
                <a:gd name="T9" fmla="*/ 56 h 57"/>
                <a:gd name="T10" fmla="*/ 27 w 55"/>
                <a:gd name="T11" fmla="*/ 52 h 57"/>
                <a:gd name="T12" fmla="*/ 5 w 55"/>
                <a:gd name="T13" fmla="*/ 30 h 57"/>
                <a:gd name="T14" fmla="*/ 5 w 55"/>
                <a:gd name="T15" fmla="*/ 30 h 57"/>
                <a:gd name="T16" fmla="*/ 1 w 55"/>
                <a:gd name="T17" fmla="*/ 24 h 57"/>
                <a:gd name="T18" fmla="*/ 0 w 55"/>
                <a:gd name="T19" fmla="*/ 18 h 57"/>
                <a:gd name="T20" fmla="*/ 1 w 55"/>
                <a:gd name="T21" fmla="*/ 12 h 57"/>
                <a:gd name="T22" fmla="*/ 5 w 55"/>
                <a:gd name="T23" fmla="*/ 5 h 57"/>
                <a:gd name="T24" fmla="*/ 5 w 55"/>
                <a:gd name="T25" fmla="*/ 5 h 57"/>
                <a:gd name="T26" fmla="*/ 5 w 55"/>
                <a:gd name="T27" fmla="*/ 5 h 57"/>
                <a:gd name="T28" fmla="*/ 5 w 55"/>
                <a:gd name="T29" fmla="*/ 5 h 57"/>
                <a:gd name="T30" fmla="*/ 11 w 55"/>
                <a:gd name="T31" fmla="*/ 2 h 57"/>
                <a:gd name="T32" fmla="*/ 17 w 55"/>
                <a:gd name="T33" fmla="*/ 0 h 57"/>
                <a:gd name="T34" fmla="*/ 23 w 55"/>
                <a:gd name="T35" fmla="*/ 2 h 57"/>
                <a:gd name="T36" fmla="*/ 29 w 55"/>
                <a:gd name="T37" fmla="*/ 5 h 57"/>
                <a:gd name="T38" fmla="*/ 50 w 55"/>
                <a:gd name="T39" fmla="*/ 28 h 57"/>
                <a:gd name="T40" fmla="*/ 50 w 55"/>
                <a:gd name="T41" fmla="*/ 28 h 57"/>
                <a:gd name="T42" fmla="*/ 54 w 55"/>
                <a:gd name="T43" fmla="*/ 34 h 57"/>
                <a:gd name="T44" fmla="*/ 55 w 55"/>
                <a:gd name="T45" fmla="*/ 40 h 57"/>
                <a:gd name="T46" fmla="*/ 54 w 55"/>
                <a:gd name="T47" fmla="*/ 46 h 57"/>
                <a:gd name="T48" fmla="*/ 50 w 55"/>
                <a:gd name="T49" fmla="*/ 52 h 57"/>
                <a:gd name="T50" fmla="*/ 50 w 55"/>
                <a:gd name="T51" fmla="*/ 52 h 57"/>
                <a:gd name="T52" fmla="*/ 50 w 55"/>
                <a:gd name="T53" fmla="*/ 52 h 57"/>
                <a:gd name="T54" fmla="*/ 50 w 55"/>
                <a:gd name="T55" fmla="*/ 52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Lst>
              <a:rect l="0" t="0" r="r" b="b"/>
              <a:pathLst>
                <a:path w="55" h="57">
                  <a:moveTo>
                    <a:pt x="50" y="52"/>
                  </a:moveTo>
                  <a:lnTo>
                    <a:pt x="50" y="52"/>
                  </a:lnTo>
                  <a:lnTo>
                    <a:pt x="45" y="56"/>
                  </a:lnTo>
                  <a:lnTo>
                    <a:pt x="39" y="57"/>
                  </a:lnTo>
                  <a:lnTo>
                    <a:pt x="32" y="56"/>
                  </a:lnTo>
                  <a:lnTo>
                    <a:pt x="27" y="52"/>
                  </a:lnTo>
                  <a:lnTo>
                    <a:pt x="5" y="30"/>
                  </a:lnTo>
                  <a:lnTo>
                    <a:pt x="5" y="30"/>
                  </a:lnTo>
                  <a:lnTo>
                    <a:pt x="1" y="24"/>
                  </a:lnTo>
                  <a:lnTo>
                    <a:pt x="0" y="18"/>
                  </a:lnTo>
                  <a:lnTo>
                    <a:pt x="1" y="12"/>
                  </a:lnTo>
                  <a:lnTo>
                    <a:pt x="5" y="5"/>
                  </a:lnTo>
                  <a:lnTo>
                    <a:pt x="5" y="5"/>
                  </a:lnTo>
                  <a:lnTo>
                    <a:pt x="5" y="5"/>
                  </a:lnTo>
                  <a:lnTo>
                    <a:pt x="5" y="5"/>
                  </a:lnTo>
                  <a:lnTo>
                    <a:pt x="11" y="2"/>
                  </a:lnTo>
                  <a:lnTo>
                    <a:pt x="17" y="0"/>
                  </a:lnTo>
                  <a:lnTo>
                    <a:pt x="23" y="2"/>
                  </a:lnTo>
                  <a:lnTo>
                    <a:pt x="29" y="5"/>
                  </a:lnTo>
                  <a:lnTo>
                    <a:pt x="50" y="28"/>
                  </a:lnTo>
                  <a:lnTo>
                    <a:pt x="50" y="28"/>
                  </a:lnTo>
                  <a:lnTo>
                    <a:pt x="54" y="34"/>
                  </a:lnTo>
                  <a:lnTo>
                    <a:pt x="55" y="40"/>
                  </a:lnTo>
                  <a:lnTo>
                    <a:pt x="54" y="46"/>
                  </a:lnTo>
                  <a:lnTo>
                    <a:pt x="50" y="52"/>
                  </a:lnTo>
                  <a:lnTo>
                    <a:pt x="50" y="52"/>
                  </a:lnTo>
                  <a:lnTo>
                    <a:pt x="50" y="52"/>
                  </a:lnTo>
                  <a:lnTo>
                    <a:pt x="50" y="52"/>
                  </a:lnTo>
                  <a:close/>
                </a:path>
              </a:pathLst>
            </a:custGeom>
            <a:solidFill>
              <a:srgbClr val="0E303F"/>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6" name="Freeform 214">
              <a:extLst>
                <a:ext uri="{FF2B5EF4-FFF2-40B4-BE49-F238E27FC236}">
                  <a16:creationId xmlns:a16="http://schemas.microsoft.com/office/drawing/2014/main" id="{8E7B72F6-DBD9-F99C-8775-5A528E95CFD0}"/>
                </a:ext>
              </a:extLst>
            </p:cNvPr>
            <p:cNvSpPr>
              <a:spLocks/>
            </p:cNvSpPr>
            <p:nvPr/>
          </p:nvSpPr>
          <p:spPr bwMode="auto">
            <a:xfrm>
              <a:off x="3603625" y="258763"/>
              <a:ext cx="201613" cy="401638"/>
            </a:xfrm>
            <a:custGeom>
              <a:avLst/>
              <a:gdLst>
                <a:gd name="T0" fmla="*/ 1 w 127"/>
                <a:gd name="T1" fmla="*/ 0 h 253"/>
                <a:gd name="T2" fmla="*/ 27 w 127"/>
                <a:gd name="T3" fmla="*/ 2 h 253"/>
                <a:gd name="T4" fmla="*/ 51 w 127"/>
                <a:gd name="T5" fmla="*/ 10 h 253"/>
                <a:gd name="T6" fmla="*/ 71 w 127"/>
                <a:gd name="T7" fmla="*/ 21 h 253"/>
                <a:gd name="T8" fmla="*/ 90 w 127"/>
                <a:gd name="T9" fmla="*/ 37 h 253"/>
                <a:gd name="T10" fmla="*/ 106 w 127"/>
                <a:gd name="T11" fmla="*/ 55 h 253"/>
                <a:gd name="T12" fmla="*/ 117 w 127"/>
                <a:gd name="T13" fmla="*/ 78 h 253"/>
                <a:gd name="T14" fmla="*/ 125 w 127"/>
                <a:gd name="T15" fmla="*/ 101 h 253"/>
                <a:gd name="T16" fmla="*/ 127 w 127"/>
                <a:gd name="T17" fmla="*/ 126 h 253"/>
                <a:gd name="T18" fmla="*/ 127 w 127"/>
                <a:gd name="T19" fmla="*/ 139 h 253"/>
                <a:gd name="T20" fmla="*/ 122 w 127"/>
                <a:gd name="T21" fmla="*/ 163 h 253"/>
                <a:gd name="T22" fmla="*/ 112 w 127"/>
                <a:gd name="T23" fmla="*/ 186 h 253"/>
                <a:gd name="T24" fmla="*/ 99 w 127"/>
                <a:gd name="T25" fmla="*/ 206 h 253"/>
                <a:gd name="T26" fmla="*/ 90 w 127"/>
                <a:gd name="T27" fmla="*/ 216 h 253"/>
                <a:gd name="T28" fmla="*/ 71 w 127"/>
                <a:gd name="T29" fmla="*/ 232 h 253"/>
                <a:gd name="T30" fmla="*/ 49 w 127"/>
                <a:gd name="T31" fmla="*/ 243 h 253"/>
                <a:gd name="T32" fmla="*/ 26 w 127"/>
                <a:gd name="T33" fmla="*/ 250 h 253"/>
                <a:gd name="T34" fmla="*/ 1 w 127"/>
                <a:gd name="T35" fmla="*/ 253 h 253"/>
                <a:gd name="T36" fmla="*/ 0 w 127"/>
                <a:gd name="T37" fmla="*/ 253 h 253"/>
                <a:gd name="T38" fmla="*/ 1 w 127"/>
                <a:gd name="T39" fmla="*/ 235 h 253"/>
                <a:gd name="T40" fmla="*/ 1 w 127"/>
                <a:gd name="T41" fmla="*/ 235 h 253"/>
                <a:gd name="T42" fmla="*/ 22 w 127"/>
                <a:gd name="T43" fmla="*/ 234 h 253"/>
                <a:gd name="T44" fmla="*/ 43 w 127"/>
                <a:gd name="T45" fmla="*/ 228 h 253"/>
                <a:gd name="T46" fmla="*/ 62 w 127"/>
                <a:gd name="T47" fmla="*/ 217 h 253"/>
                <a:gd name="T48" fmla="*/ 79 w 127"/>
                <a:gd name="T49" fmla="*/ 203 h 253"/>
                <a:gd name="T50" fmla="*/ 86 w 127"/>
                <a:gd name="T51" fmla="*/ 196 h 253"/>
                <a:gd name="T52" fmla="*/ 97 w 127"/>
                <a:gd name="T53" fmla="*/ 177 h 253"/>
                <a:gd name="T54" fmla="*/ 106 w 127"/>
                <a:gd name="T55" fmla="*/ 158 h 253"/>
                <a:gd name="T56" fmla="*/ 110 w 127"/>
                <a:gd name="T57" fmla="*/ 137 h 253"/>
                <a:gd name="T58" fmla="*/ 111 w 127"/>
                <a:gd name="T59" fmla="*/ 126 h 253"/>
                <a:gd name="T60" fmla="*/ 108 w 127"/>
                <a:gd name="T61" fmla="*/ 105 h 253"/>
                <a:gd name="T62" fmla="*/ 102 w 127"/>
                <a:gd name="T63" fmla="*/ 84 h 253"/>
                <a:gd name="T64" fmla="*/ 92 w 127"/>
                <a:gd name="T65" fmla="*/ 65 h 253"/>
                <a:gd name="T66" fmla="*/ 79 w 127"/>
                <a:gd name="T67" fmla="*/ 49 h 253"/>
                <a:gd name="T68" fmla="*/ 63 w 127"/>
                <a:gd name="T69" fmla="*/ 36 h 253"/>
                <a:gd name="T70" fmla="*/ 43 w 127"/>
                <a:gd name="T71" fmla="*/ 25 h 253"/>
                <a:gd name="T72" fmla="*/ 23 w 127"/>
                <a:gd name="T73" fmla="*/ 18 h 253"/>
                <a:gd name="T74" fmla="*/ 1 w 127"/>
                <a:gd name="T75" fmla="*/ 16 h 253"/>
                <a:gd name="T76" fmla="*/ 1 w 127"/>
                <a:gd name="T77" fmla="*/ 0 h 2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127" h="253">
                  <a:moveTo>
                    <a:pt x="1" y="0"/>
                  </a:moveTo>
                  <a:lnTo>
                    <a:pt x="1" y="0"/>
                  </a:lnTo>
                  <a:lnTo>
                    <a:pt x="14" y="0"/>
                  </a:lnTo>
                  <a:lnTo>
                    <a:pt x="27" y="2"/>
                  </a:lnTo>
                  <a:lnTo>
                    <a:pt x="38" y="5"/>
                  </a:lnTo>
                  <a:lnTo>
                    <a:pt x="51" y="10"/>
                  </a:lnTo>
                  <a:lnTo>
                    <a:pt x="62" y="15"/>
                  </a:lnTo>
                  <a:lnTo>
                    <a:pt x="71" y="21"/>
                  </a:lnTo>
                  <a:lnTo>
                    <a:pt x="81" y="28"/>
                  </a:lnTo>
                  <a:lnTo>
                    <a:pt x="90" y="37"/>
                  </a:lnTo>
                  <a:lnTo>
                    <a:pt x="99" y="45"/>
                  </a:lnTo>
                  <a:lnTo>
                    <a:pt x="106" y="55"/>
                  </a:lnTo>
                  <a:lnTo>
                    <a:pt x="112" y="66"/>
                  </a:lnTo>
                  <a:lnTo>
                    <a:pt x="117" y="78"/>
                  </a:lnTo>
                  <a:lnTo>
                    <a:pt x="122" y="89"/>
                  </a:lnTo>
                  <a:lnTo>
                    <a:pt x="125" y="101"/>
                  </a:lnTo>
                  <a:lnTo>
                    <a:pt x="127" y="113"/>
                  </a:lnTo>
                  <a:lnTo>
                    <a:pt x="127" y="126"/>
                  </a:lnTo>
                  <a:lnTo>
                    <a:pt x="127" y="126"/>
                  </a:lnTo>
                  <a:lnTo>
                    <a:pt x="127" y="139"/>
                  </a:lnTo>
                  <a:lnTo>
                    <a:pt x="125" y="152"/>
                  </a:lnTo>
                  <a:lnTo>
                    <a:pt x="122" y="163"/>
                  </a:lnTo>
                  <a:lnTo>
                    <a:pt x="118" y="175"/>
                  </a:lnTo>
                  <a:lnTo>
                    <a:pt x="112" y="186"/>
                  </a:lnTo>
                  <a:lnTo>
                    <a:pt x="106" y="196"/>
                  </a:lnTo>
                  <a:lnTo>
                    <a:pt x="99" y="206"/>
                  </a:lnTo>
                  <a:lnTo>
                    <a:pt x="90" y="216"/>
                  </a:lnTo>
                  <a:lnTo>
                    <a:pt x="90" y="216"/>
                  </a:lnTo>
                  <a:lnTo>
                    <a:pt x="81" y="224"/>
                  </a:lnTo>
                  <a:lnTo>
                    <a:pt x="71" y="232"/>
                  </a:lnTo>
                  <a:lnTo>
                    <a:pt x="60" y="238"/>
                  </a:lnTo>
                  <a:lnTo>
                    <a:pt x="49" y="243"/>
                  </a:lnTo>
                  <a:lnTo>
                    <a:pt x="38" y="248"/>
                  </a:lnTo>
                  <a:lnTo>
                    <a:pt x="26" y="250"/>
                  </a:lnTo>
                  <a:lnTo>
                    <a:pt x="14" y="253"/>
                  </a:lnTo>
                  <a:lnTo>
                    <a:pt x="1" y="253"/>
                  </a:lnTo>
                  <a:lnTo>
                    <a:pt x="1" y="253"/>
                  </a:lnTo>
                  <a:lnTo>
                    <a:pt x="0" y="253"/>
                  </a:lnTo>
                  <a:lnTo>
                    <a:pt x="1" y="235"/>
                  </a:lnTo>
                  <a:lnTo>
                    <a:pt x="1" y="235"/>
                  </a:lnTo>
                  <a:lnTo>
                    <a:pt x="1" y="235"/>
                  </a:lnTo>
                  <a:lnTo>
                    <a:pt x="1" y="235"/>
                  </a:lnTo>
                  <a:lnTo>
                    <a:pt x="12" y="235"/>
                  </a:lnTo>
                  <a:lnTo>
                    <a:pt x="22" y="234"/>
                  </a:lnTo>
                  <a:lnTo>
                    <a:pt x="33" y="232"/>
                  </a:lnTo>
                  <a:lnTo>
                    <a:pt x="43" y="228"/>
                  </a:lnTo>
                  <a:lnTo>
                    <a:pt x="53" y="223"/>
                  </a:lnTo>
                  <a:lnTo>
                    <a:pt x="62" y="217"/>
                  </a:lnTo>
                  <a:lnTo>
                    <a:pt x="70" y="211"/>
                  </a:lnTo>
                  <a:lnTo>
                    <a:pt x="79" y="203"/>
                  </a:lnTo>
                  <a:lnTo>
                    <a:pt x="79" y="203"/>
                  </a:lnTo>
                  <a:lnTo>
                    <a:pt x="86" y="196"/>
                  </a:lnTo>
                  <a:lnTo>
                    <a:pt x="92" y="187"/>
                  </a:lnTo>
                  <a:lnTo>
                    <a:pt x="97" y="177"/>
                  </a:lnTo>
                  <a:lnTo>
                    <a:pt x="102" y="168"/>
                  </a:lnTo>
                  <a:lnTo>
                    <a:pt x="106" y="158"/>
                  </a:lnTo>
                  <a:lnTo>
                    <a:pt x="108" y="148"/>
                  </a:lnTo>
                  <a:lnTo>
                    <a:pt x="110" y="137"/>
                  </a:lnTo>
                  <a:lnTo>
                    <a:pt x="111" y="126"/>
                  </a:lnTo>
                  <a:lnTo>
                    <a:pt x="111" y="126"/>
                  </a:lnTo>
                  <a:lnTo>
                    <a:pt x="110" y="115"/>
                  </a:lnTo>
                  <a:lnTo>
                    <a:pt x="108" y="105"/>
                  </a:lnTo>
                  <a:lnTo>
                    <a:pt x="106" y="94"/>
                  </a:lnTo>
                  <a:lnTo>
                    <a:pt x="102" y="84"/>
                  </a:lnTo>
                  <a:lnTo>
                    <a:pt x="97" y="74"/>
                  </a:lnTo>
                  <a:lnTo>
                    <a:pt x="92" y="65"/>
                  </a:lnTo>
                  <a:lnTo>
                    <a:pt x="85" y="57"/>
                  </a:lnTo>
                  <a:lnTo>
                    <a:pt x="79" y="49"/>
                  </a:lnTo>
                  <a:lnTo>
                    <a:pt x="70" y="42"/>
                  </a:lnTo>
                  <a:lnTo>
                    <a:pt x="63" y="36"/>
                  </a:lnTo>
                  <a:lnTo>
                    <a:pt x="53" y="29"/>
                  </a:lnTo>
                  <a:lnTo>
                    <a:pt x="43" y="25"/>
                  </a:lnTo>
                  <a:lnTo>
                    <a:pt x="33" y="21"/>
                  </a:lnTo>
                  <a:lnTo>
                    <a:pt x="23" y="18"/>
                  </a:lnTo>
                  <a:lnTo>
                    <a:pt x="12" y="17"/>
                  </a:lnTo>
                  <a:lnTo>
                    <a:pt x="1" y="16"/>
                  </a:lnTo>
                  <a:lnTo>
                    <a:pt x="1" y="0"/>
                  </a:lnTo>
                  <a:lnTo>
                    <a:pt x="1" y="0"/>
                  </a:lnTo>
                  <a:close/>
                </a:path>
              </a:pathLst>
            </a:custGeom>
            <a:solidFill>
              <a:srgbClr val="2C587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7" name="Freeform 215">
              <a:extLst>
                <a:ext uri="{FF2B5EF4-FFF2-40B4-BE49-F238E27FC236}">
                  <a16:creationId xmlns:a16="http://schemas.microsoft.com/office/drawing/2014/main" id="{03800A2A-3969-51DC-6336-8E7A4E0CF956}"/>
                </a:ext>
              </a:extLst>
            </p:cNvPr>
            <p:cNvSpPr>
              <a:spLocks/>
            </p:cNvSpPr>
            <p:nvPr/>
          </p:nvSpPr>
          <p:spPr bwMode="auto">
            <a:xfrm>
              <a:off x="3471863" y="323850"/>
              <a:ext cx="290513" cy="293688"/>
            </a:xfrm>
            <a:custGeom>
              <a:avLst/>
              <a:gdLst>
                <a:gd name="T0" fmla="*/ 72 w 183"/>
                <a:gd name="T1" fmla="*/ 162 h 185"/>
                <a:gd name="T2" fmla="*/ 74 w 183"/>
                <a:gd name="T3" fmla="*/ 144 h 185"/>
                <a:gd name="T4" fmla="*/ 79 w 183"/>
                <a:gd name="T5" fmla="*/ 128 h 185"/>
                <a:gd name="T6" fmla="*/ 88 w 183"/>
                <a:gd name="T7" fmla="*/ 113 h 185"/>
                <a:gd name="T8" fmla="*/ 98 w 183"/>
                <a:gd name="T9" fmla="*/ 99 h 185"/>
                <a:gd name="T10" fmla="*/ 111 w 183"/>
                <a:gd name="T11" fmla="*/ 88 h 185"/>
                <a:gd name="T12" fmla="*/ 126 w 183"/>
                <a:gd name="T13" fmla="*/ 81 h 185"/>
                <a:gd name="T14" fmla="*/ 143 w 183"/>
                <a:gd name="T15" fmla="*/ 75 h 185"/>
                <a:gd name="T16" fmla="*/ 161 w 183"/>
                <a:gd name="T17" fmla="*/ 74 h 185"/>
                <a:gd name="T18" fmla="*/ 172 w 183"/>
                <a:gd name="T19" fmla="*/ 75 h 185"/>
                <a:gd name="T20" fmla="*/ 183 w 183"/>
                <a:gd name="T21" fmla="*/ 76 h 185"/>
                <a:gd name="T22" fmla="*/ 180 w 183"/>
                <a:gd name="T23" fmla="*/ 59 h 185"/>
                <a:gd name="T24" fmla="*/ 174 w 183"/>
                <a:gd name="T25" fmla="*/ 43 h 185"/>
                <a:gd name="T26" fmla="*/ 166 w 183"/>
                <a:gd name="T27" fmla="*/ 28 h 185"/>
                <a:gd name="T28" fmla="*/ 154 w 183"/>
                <a:gd name="T29" fmla="*/ 14 h 185"/>
                <a:gd name="T30" fmla="*/ 145 w 183"/>
                <a:gd name="T31" fmla="*/ 7 h 185"/>
                <a:gd name="T32" fmla="*/ 135 w 183"/>
                <a:gd name="T33" fmla="*/ 0 h 185"/>
                <a:gd name="T34" fmla="*/ 134 w 183"/>
                <a:gd name="T35" fmla="*/ 4 h 185"/>
                <a:gd name="T36" fmla="*/ 134 w 183"/>
                <a:gd name="T37" fmla="*/ 25 h 185"/>
                <a:gd name="T38" fmla="*/ 113 w 183"/>
                <a:gd name="T39" fmla="*/ 30 h 185"/>
                <a:gd name="T40" fmla="*/ 103 w 183"/>
                <a:gd name="T41" fmla="*/ 14 h 185"/>
                <a:gd name="T42" fmla="*/ 98 w 183"/>
                <a:gd name="T43" fmla="*/ 9 h 185"/>
                <a:gd name="T44" fmla="*/ 90 w 183"/>
                <a:gd name="T45" fmla="*/ 11 h 185"/>
                <a:gd name="T46" fmla="*/ 61 w 183"/>
                <a:gd name="T47" fmla="*/ 28 h 185"/>
                <a:gd name="T48" fmla="*/ 57 w 183"/>
                <a:gd name="T49" fmla="*/ 33 h 185"/>
                <a:gd name="T50" fmla="*/ 58 w 183"/>
                <a:gd name="T51" fmla="*/ 39 h 185"/>
                <a:gd name="T52" fmla="*/ 68 w 183"/>
                <a:gd name="T53" fmla="*/ 58 h 185"/>
                <a:gd name="T54" fmla="*/ 53 w 183"/>
                <a:gd name="T55" fmla="*/ 72 h 185"/>
                <a:gd name="T56" fmla="*/ 36 w 183"/>
                <a:gd name="T57" fmla="*/ 62 h 185"/>
                <a:gd name="T58" fmla="*/ 30 w 183"/>
                <a:gd name="T59" fmla="*/ 62 h 185"/>
                <a:gd name="T60" fmla="*/ 25 w 183"/>
                <a:gd name="T61" fmla="*/ 66 h 185"/>
                <a:gd name="T62" fmla="*/ 8 w 183"/>
                <a:gd name="T63" fmla="*/ 96 h 185"/>
                <a:gd name="T64" fmla="*/ 6 w 183"/>
                <a:gd name="T65" fmla="*/ 102 h 185"/>
                <a:gd name="T66" fmla="*/ 10 w 183"/>
                <a:gd name="T67" fmla="*/ 107 h 185"/>
                <a:gd name="T68" fmla="*/ 29 w 183"/>
                <a:gd name="T69" fmla="*/ 118 h 185"/>
                <a:gd name="T70" fmla="*/ 23 w 183"/>
                <a:gd name="T71" fmla="*/ 139 h 185"/>
                <a:gd name="T72" fmla="*/ 3 w 183"/>
                <a:gd name="T73" fmla="*/ 139 h 185"/>
                <a:gd name="T74" fmla="*/ 0 w 183"/>
                <a:gd name="T75" fmla="*/ 139 h 185"/>
                <a:gd name="T76" fmla="*/ 14 w 183"/>
                <a:gd name="T77" fmla="*/ 156 h 185"/>
                <a:gd name="T78" fmla="*/ 32 w 183"/>
                <a:gd name="T79" fmla="*/ 170 h 185"/>
                <a:gd name="T80" fmla="*/ 52 w 183"/>
                <a:gd name="T81" fmla="*/ 180 h 185"/>
                <a:gd name="T82" fmla="*/ 76 w 183"/>
                <a:gd name="T83" fmla="*/ 185 h 185"/>
                <a:gd name="T84" fmla="*/ 73 w 183"/>
                <a:gd name="T85" fmla="*/ 173 h 185"/>
                <a:gd name="T86" fmla="*/ 72 w 183"/>
                <a:gd name="T87" fmla="*/ 162 h 18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Lst>
              <a:rect l="0" t="0" r="r" b="b"/>
              <a:pathLst>
                <a:path w="183" h="185">
                  <a:moveTo>
                    <a:pt x="72" y="162"/>
                  </a:moveTo>
                  <a:lnTo>
                    <a:pt x="72" y="162"/>
                  </a:lnTo>
                  <a:lnTo>
                    <a:pt x="73" y="154"/>
                  </a:lnTo>
                  <a:lnTo>
                    <a:pt x="74" y="144"/>
                  </a:lnTo>
                  <a:lnTo>
                    <a:pt x="77" y="136"/>
                  </a:lnTo>
                  <a:lnTo>
                    <a:pt x="79" y="128"/>
                  </a:lnTo>
                  <a:lnTo>
                    <a:pt x="83" y="120"/>
                  </a:lnTo>
                  <a:lnTo>
                    <a:pt x="88" y="113"/>
                  </a:lnTo>
                  <a:lnTo>
                    <a:pt x="93" y="106"/>
                  </a:lnTo>
                  <a:lnTo>
                    <a:pt x="98" y="99"/>
                  </a:lnTo>
                  <a:lnTo>
                    <a:pt x="104" y="93"/>
                  </a:lnTo>
                  <a:lnTo>
                    <a:pt x="111" y="88"/>
                  </a:lnTo>
                  <a:lnTo>
                    <a:pt x="119" y="85"/>
                  </a:lnTo>
                  <a:lnTo>
                    <a:pt x="126" y="81"/>
                  </a:lnTo>
                  <a:lnTo>
                    <a:pt x="135" y="77"/>
                  </a:lnTo>
                  <a:lnTo>
                    <a:pt x="143" y="75"/>
                  </a:lnTo>
                  <a:lnTo>
                    <a:pt x="152" y="74"/>
                  </a:lnTo>
                  <a:lnTo>
                    <a:pt x="161" y="74"/>
                  </a:lnTo>
                  <a:lnTo>
                    <a:pt x="161" y="74"/>
                  </a:lnTo>
                  <a:lnTo>
                    <a:pt x="172" y="75"/>
                  </a:lnTo>
                  <a:lnTo>
                    <a:pt x="183" y="76"/>
                  </a:lnTo>
                  <a:lnTo>
                    <a:pt x="183" y="76"/>
                  </a:lnTo>
                  <a:lnTo>
                    <a:pt x="182" y="67"/>
                  </a:lnTo>
                  <a:lnTo>
                    <a:pt x="180" y="59"/>
                  </a:lnTo>
                  <a:lnTo>
                    <a:pt x="178" y="51"/>
                  </a:lnTo>
                  <a:lnTo>
                    <a:pt x="174" y="43"/>
                  </a:lnTo>
                  <a:lnTo>
                    <a:pt x="171" y="35"/>
                  </a:lnTo>
                  <a:lnTo>
                    <a:pt x="166" y="28"/>
                  </a:lnTo>
                  <a:lnTo>
                    <a:pt x="161" y="21"/>
                  </a:lnTo>
                  <a:lnTo>
                    <a:pt x="154" y="14"/>
                  </a:lnTo>
                  <a:lnTo>
                    <a:pt x="154" y="14"/>
                  </a:lnTo>
                  <a:lnTo>
                    <a:pt x="145" y="7"/>
                  </a:lnTo>
                  <a:lnTo>
                    <a:pt x="135" y="0"/>
                  </a:lnTo>
                  <a:lnTo>
                    <a:pt x="135" y="0"/>
                  </a:lnTo>
                  <a:lnTo>
                    <a:pt x="134" y="2"/>
                  </a:lnTo>
                  <a:lnTo>
                    <a:pt x="134" y="4"/>
                  </a:lnTo>
                  <a:lnTo>
                    <a:pt x="134" y="25"/>
                  </a:lnTo>
                  <a:lnTo>
                    <a:pt x="134" y="25"/>
                  </a:lnTo>
                  <a:lnTo>
                    <a:pt x="122" y="28"/>
                  </a:lnTo>
                  <a:lnTo>
                    <a:pt x="113" y="30"/>
                  </a:lnTo>
                  <a:lnTo>
                    <a:pt x="103" y="14"/>
                  </a:lnTo>
                  <a:lnTo>
                    <a:pt x="103" y="14"/>
                  </a:lnTo>
                  <a:lnTo>
                    <a:pt x="100" y="11"/>
                  </a:lnTo>
                  <a:lnTo>
                    <a:pt x="98" y="9"/>
                  </a:lnTo>
                  <a:lnTo>
                    <a:pt x="94" y="9"/>
                  </a:lnTo>
                  <a:lnTo>
                    <a:pt x="90" y="11"/>
                  </a:lnTo>
                  <a:lnTo>
                    <a:pt x="61" y="28"/>
                  </a:lnTo>
                  <a:lnTo>
                    <a:pt x="61" y="28"/>
                  </a:lnTo>
                  <a:lnTo>
                    <a:pt x="58" y="30"/>
                  </a:lnTo>
                  <a:lnTo>
                    <a:pt x="57" y="33"/>
                  </a:lnTo>
                  <a:lnTo>
                    <a:pt x="57" y="37"/>
                  </a:lnTo>
                  <a:lnTo>
                    <a:pt x="58" y="39"/>
                  </a:lnTo>
                  <a:lnTo>
                    <a:pt x="68" y="58"/>
                  </a:lnTo>
                  <a:lnTo>
                    <a:pt x="68" y="58"/>
                  </a:lnTo>
                  <a:lnTo>
                    <a:pt x="61" y="65"/>
                  </a:lnTo>
                  <a:lnTo>
                    <a:pt x="53" y="72"/>
                  </a:lnTo>
                  <a:lnTo>
                    <a:pt x="36" y="62"/>
                  </a:lnTo>
                  <a:lnTo>
                    <a:pt x="36" y="62"/>
                  </a:lnTo>
                  <a:lnTo>
                    <a:pt x="34" y="61"/>
                  </a:lnTo>
                  <a:lnTo>
                    <a:pt x="30" y="62"/>
                  </a:lnTo>
                  <a:lnTo>
                    <a:pt x="26" y="64"/>
                  </a:lnTo>
                  <a:lnTo>
                    <a:pt x="25" y="66"/>
                  </a:lnTo>
                  <a:lnTo>
                    <a:pt x="8" y="96"/>
                  </a:lnTo>
                  <a:lnTo>
                    <a:pt x="8" y="96"/>
                  </a:lnTo>
                  <a:lnTo>
                    <a:pt x="6" y="98"/>
                  </a:lnTo>
                  <a:lnTo>
                    <a:pt x="6" y="102"/>
                  </a:lnTo>
                  <a:lnTo>
                    <a:pt x="8" y="104"/>
                  </a:lnTo>
                  <a:lnTo>
                    <a:pt x="10" y="107"/>
                  </a:lnTo>
                  <a:lnTo>
                    <a:pt x="29" y="118"/>
                  </a:lnTo>
                  <a:lnTo>
                    <a:pt x="29" y="118"/>
                  </a:lnTo>
                  <a:lnTo>
                    <a:pt x="25" y="128"/>
                  </a:lnTo>
                  <a:lnTo>
                    <a:pt x="23" y="139"/>
                  </a:lnTo>
                  <a:lnTo>
                    <a:pt x="3" y="139"/>
                  </a:lnTo>
                  <a:lnTo>
                    <a:pt x="3" y="139"/>
                  </a:lnTo>
                  <a:lnTo>
                    <a:pt x="0" y="139"/>
                  </a:lnTo>
                  <a:lnTo>
                    <a:pt x="0" y="139"/>
                  </a:lnTo>
                  <a:lnTo>
                    <a:pt x="6" y="149"/>
                  </a:lnTo>
                  <a:lnTo>
                    <a:pt x="14" y="156"/>
                  </a:lnTo>
                  <a:lnTo>
                    <a:pt x="23" y="164"/>
                  </a:lnTo>
                  <a:lnTo>
                    <a:pt x="32" y="170"/>
                  </a:lnTo>
                  <a:lnTo>
                    <a:pt x="42" y="176"/>
                  </a:lnTo>
                  <a:lnTo>
                    <a:pt x="52" y="180"/>
                  </a:lnTo>
                  <a:lnTo>
                    <a:pt x="63" y="183"/>
                  </a:lnTo>
                  <a:lnTo>
                    <a:pt x="76" y="185"/>
                  </a:lnTo>
                  <a:lnTo>
                    <a:pt x="76" y="185"/>
                  </a:lnTo>
                  <a:lnTo>
                    <a:pt x="73" y="173"/>
                  </a:lnTo>
                  <a:lnTo>
                    <a:pt x="72" y="162"/>
                  </a:lnTo>
                  <a:lnTo>
                    <a:pt x="72" y="162"/>
                  </a:lnTo>
                  <a:close/>
                </a:path>
              </a:pathLst>
            </a:custGeom>
            <a:solidFill>
              <a:srgbClr val="A6DAE9"/>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sp>
          <p:nvSpPr>
            <p:cNvPr id="18" name="Freeform 216">
              <a:extLst>
                <a:ext uri="{FF2B5EF4-FFF2-40B4-BE49-F238E27FC236}">
                  <a16:creationId xmlns:a16="http://schemas.microsoft.com/office/drawing/2014/main" id="{07C1EA91-F1A3-9B65-AA4D-9094614E33FB}"/>
                </a:ext>
              </a:extLst>
            </p:cNvPr>
            <p:cNvSpPr>
              <a:spLocks/>
            </p:cNvSpPr>
            <p:nvPr/>
          </p:nvSpPr>
          <p:spPr bwMode="auto">
            <a:xfrm>
              <a:off x="3471863" y="544513"/>
              <a:ext cx="120650" cy="73025"/>
            </a:xfrm>
            <a:custGeom>
              <a:avLst/>
              <a:gdLst>
                <a:gd name="T0" fmla="*/ 23 w 76"/>
                <a:gd name="T1" fmla="*/ 0 h 46"/>
                <a:gd name="T2" fmla="*/ 23 w 76"/>
                <a:gd name="T3" fmla="*/ 0 h 46"/>
                <a:gd name="T4" fmla="*/ 23 w 76"/>
                <a:gd name="T5" fmla="*/ 0 h 46"/>
                <a:gd name="T6" fmla="*/ 3 w 76"/>
                <a:gd name="T7" fmla="*/ 0 h 46"/>
                <a:gd name="T8" fmla="*/ 3 w 76"/>
                <a:gd name="T9" fmla="*/ 0 h 46"/>
                <a:gd name="T10" fmla="*/ 0 w 76"/>
                <a:gd name="T11" fmla="*/ 0 h 46"/>
                <a:gd name="T12" fmla="*/ 0 w 76"/>
                <a:gd name="T13" fmla="*/ 0 h 46"/>
                <a:gd name="T14" fmla="*/ 3 w 76"/>
                <a:gd name="T15" fmla="*/ 4 h 46"/>
                <a:gd name="T16" fmla="*/ 3 w 76"/>
                <a:gd name="T17" fmla="*/ 4 h 46"/>
                <a:gd name="T18" fmla="*/ 4 w 76"/>
                <a:gd name="T19" fmla="*/ 6 h 46"/>
                <a:gd name="T20" fmla="*/ 4 w 76"/>
                <a:gd name="T21" fmla="*/ 6 h 46"/>
                <a:gd name="T22" fmla="*/ 9 w 76"/>
                <a:gd name="T23" fmla="*/ 12 h 46"/>
                <a:gd name="T24" fmla="*/ 9 w 76"/>
                <a:gd name="T25" fmla="*/ 12 h 46"/>
                <a:gd name="T26" fmla="*/ 11 w 76"/>
                <a:gd name="T27" fmla="*/ 15 h 46"/>
                <a:gd name="T28" fmla="*/ 11 w 76"/>
                <a:gd name="T29" fmla="*/ 15 h 46"/>
                <a:gd name="T30" fmla="*/ 15 w 76"/>
                <a:gd name="T31" fmla="*/ 18 h 46"/>
                <a:gd name="T32" fmla="*/ 15 w 76"/>
                <a:gd name="T33" fmla="*/ 18 h 46"/>
                <a:gd name="T34" fmla="*/ 19 w 76"/>
                <a:gd name="T35" fmla="*/ 22 h 46"/>
                <a:gd name="T36" fmla="*/ 19 w 76"/>
                <a:gd name="T37" fmla="*/ 22 h 46"/>
                <a:gd name="T38" fmla="*/ 23 w 76"/>
                <a:gd name="T39" fmla="*/ 25 h 46"/>
                <a:gd name="T40" fmla="*/ 23 w 76"/>
                <a:gd name="T41" fmla="*/ 25 h 46"/>
                <a:gd name="T42" fmla="*/ 25 w 76"/>
                <a:gd name="T43" fmla="*/ 27 h 46"/>
                <a:gd name="T44" fmla="*/ 25 w 76"/>
                <a:gd name="T45" fmla="*/ 27 h 46"/>
                <a:gd name="T46" fmla="*/ 30 w 76"/>
                <a:gd name="T47" fmla="*/ 31 h 46"/>
                <a:gd name="T48" fmla="*/ 30 w 76"/>
                <a:gd name="T49" fmla="*/ 31 h 46"/>
                <a:gd name="T50" fmla="*/ 34 w 76"/>
                <a:gd name="T51" fmla="*/ 32 h 46"/>
                <a:gd name="T52" fmla="*/ 34 w 76"/>
                <a:gd name="T53" fmla="*/ 32 h 46"/>
                <a:gd name="T54" fmla="*/ 40 w 76"/>
                <a:gd name="T55" fmla="*/ 36 h 46"/>
                <a:gd name="T56" fmla="*/ 40 w 76"/>
                <a:gd name="T57" fmla="*/ 36 h 46"/>
                <a:gd name="T58" fmla="*/ 42 w 76"/>
                <a:gd name="T59" fmla="*/ 37 h 46"/>
                <a:gd name="T60" fmla="*/ 42 w 76"/>
                <a:gd name="T61" fmla="*/ 37 h 46"/>
                <a:gd name="T62" fmla="*/ 47 w 76"/>
                <a:gd name="T63" fmla="*/ 39 h 46"/>
                <a:gd name="T64" fmla="*/ 47 w 76"/>
                <a:gd name="T65" fmla="*/ 39 h 46"/>
                <a:gd name="T66" fmla="*/ 51 w 76"/>
                <a:gd name="T67" fmla="*/ 41 h 46"/>
                <a:gd name="T68" fmla="*/ 51 w 76"/>
                <a:gd name="T69" fmla="*/ 41 h 46"/>
                <a:gd name="T70" fmla="*/ 57 w 76"/>
                <a:gd name="T71" fmla="*/ 42 h 46"/>
                <a:gd name="T72" fmla="*/ 57 w 76"/>
                <a:gd name="T73" fmla="*/ 42 h 46"/>
                <a:gd name="T74" fmla="*/ 60 w 76"/>
                <a:gd name="T75" fmla="*/ 43 h 46"/>
                <a:gd name="T76" fmla="*/ 60 w 76"/>
                <a:gd name="T77" fmla="*/ 43 h 46"/>
                <a:gd name="T78" fmla="*/ 67 w 76"/>
                <a:gd name="T79" fmla="*/ 44 h 46"/>
                <a:gd name="T80" fmla="*/ 67 w 76"/>
                <a:gd name="T81" fmla="*/ 44 h 46"/>
                <a:gd name="T82" fmla="*/ 71 w 76"/>
                <a:gd name="T83" fmla="*/ 46 h 46"/>
                <a:gd name="T84" fmla="*/ 71 w 76"/>
                <a:gd name="T85" fmla="*/ 46 h 46"/>
                <a:gd name="T86" fmla="*/ 76 w 76"/>
                <a:gd name="T87" fmla="*/ 46 h 46"/>
                <a:gd name="T88" fmla="*/ 76 w 76"/>
                <a:gd name="T89" fmla="*/ 46 h 46"/>
                <a:gd name="T90" fmla="*/ 73 w 76"/>
                <a:gd name="T91" fmla="*/ 34 h 46"/>
                <a:gd name="T92" fmla="*/ 73 w 76"/>
                <a:gd name="T93" fmla="*/ 34 h 46"/>
                <a:gd name="T94" fmla="*/ 58 w 76"/>
                <a:gd name="T95" fmla="*/ 30 h 46"/>
                <a:gd name="T96" fmla="*/ 45 w 76"/>
                <a:gd name="T97" fmla="*/ 21 h 46"/>
                <a:gd name="T98" fmla="*/ 34 w 76"/>
                <a:gd name="T99" fmla="*/ 11 h 46"/>
                <a:gd name="T100" fmla="*/ 23 w 76"/>
                <a:gd name="T101" fmla="*/ 0 h 46"/>
                <a:gd name="T102" fmla="*/ 23 w 76"/>
                <a:gd name="T103" fmla="*/ 0 h 4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Lst>
              <a:rect l="0" t="0" r="r" b="b"/>
              <a:pathLst>
                <a:path w="76" h="46">
                  <a:moveTo>
                    <a:pt x="23" y="0"/>
                  </a:moveTo>
                  <a:lnTo>
                    <a:pt x="23" y="0"/>
                  </a:lnTo>
                  <a:lnTo>
                    <a:pt x="23" y="0"/>
                  </a:lnTo>
                  <a:lnTo>
                    <a:pt x="3" y="0"/>
                  </a:lnTo>
                  <a:lnTo>
                    <a:pt x="3" y="0"/>
                  </a:lnTo>
                  <a:lnTo>
                    <a:pt x="0" y="0"/>
                  </a:lnTo>
                  <a:lnTo>
                    <a:pt x="0" y="0"/>
                  </a:lnTo>
                  <a:lnTo>
                    <a:pt x="3" y="4"/>
                  </a:lnTo>
                  <a:lnTo>
                    <a:pt x="3" y="4"/>
                  </a:lnTo>
                  <a:lnTo>
                    <a:pt x="4" y="6"/>
                  </a:lnTo>
                  <a:lnTo>
                    <a:pt x="4" y="6"/>
                  </a:lnTo>
                  <a:lnTo>
                    <a:pt x="9" y="12"/>
                  </a:lnTo>
                  <a:lnTo>
                    <a:pt x="9" y="12"/>
                  </a:lnTo>
                  <a:lnTo>
                    <a:pt x="11" y="15"/>
                  </a:lnTo>
                  <a:lnTo>
                    <a:pt x="11" y="15"/>
                  </a:lnTo>
                  <a:lnTo>
                    <a:pt x="15" y="18"/>
                  </a:lnTo>
                  <a:lnTo>
                    <a:pt x="15" y="18"/>
                  </a:lnTo>
                  <a:lnTo>
                    <a:pt x="19" y="22"/>
                  </a:lnTo>
                  <a:lnTo>
                    <a:pt x="19" y="22"/>
                  </a:lnTo>
                  <a:lnTo>
                    <a:pt x="23" y="25"/>
                  </a:lnTo>
                  <a:lnTo>
                    <a:pt x="23" y="25"/>
                  </a:lnTo>
                  <a:lnTo>
                    <a:pt x="25" y="27"/>
                  </a:lnTo>
                  <a:lnTo>
                    <a:pt x="25" y="27"/>
                  </a:lnTo>
                  <a:lnTo>
                    <a:pt x="30" y="31"/>
                  </a:lnTo>
                  <a:lnTo>
                    <a:pt x="30" y="31"/>
                  </a:lnTo>
                  <a:lnTo>
                    <a:pt x="34" y="32"/>
                  </a:lnTo>
                  <a:lnTo>
                    <a:pt x="34" y="32"/>
                  </a:lnTo>
                  <a:lnTo>
                    <a:pt x="40" y="36"/>
                  </a:lnTo>
                  <a:lnTo>
                    <a:pt x="40" y="36"/>
                  </a:lnTo>
                  <a:lnTo>
                    <a:pt x="42" y="37"/>
                  </a:lnTo>
                  <a:lnTo>
                    <a:pt x="42" y="37"/>
                  </a:lnTo>
                  <a:lnTo>
                    <a:pt x="47" y="39"/>
                  </a:lnTo>
                  <a:lnTo>
                    <a:pt x="47" y="39"/>
                  </a:lnTo>
                  <a:lnTo>
                    <a:pt x="51" y="41"/>
                  </a:lnTo>
                  <a:lnTo>
                    <a:pt x="51" y="41"/>
                  </a:lnTo>
                  <a:lnTo>
                    <a:pt x="57" y="42"/>
                  </a:lnTo>
                  <a:lnTo>
                    <a:pt x="57" y="42"/>
                  </a:lnTo>
                  <a:lnTo>
                    <a:pt x="60" y="43"/>
                  </a:lnTo>
                  <a:lnTo>
                    <a:pt x="60" y="43"/>
                  </a:lnTo>
                  <a:lnTo>
                    <a:pt x="67" y="44"/>
                  </a:lnTo>
                  <a:lnTo>
                    <a:pt x="67" y="44"/>
                  </a:lnTo>
                  <a:lnTo>
                    <a:pt x="71" y="46"/>
                  </a:lnTo>
                  <a:lnTo>
                    <a:pt x="71" y="46"/>
                  </a:lnTo>
                  <a:lnTo>
                    <a:pt x="76" y="46"/>
                  </a:lnTo>
                  <a:lnTo>
                    <a:pt x="76" y="46"/>
                  </a:lnTo>
                  <a:lnTo>
                    <a:pt x="73" y="34"/>
                  </a:lnTo>
                  <a:lnTo>
                    <a:pt x="73" y="34"/>
                  </a:lnTo>
                  <a:lnTo>
                    <a:pt x="58" y="30"/>
                  </a:lnTo>
                  <a:lnTo>
                    <a:pt x="45" y="21"/>
                  </a:lnTo>
                  <a:lnTo>
                    <a:pt x="34" y="11"/>
                  </a:lnTo>
                  <a:lnTo>
                    <a:pt x="23" y="0"/>
                  </a:lnTo>
                  <a:lnTo>
                    <a:pt x="23" y="0"/>
                  </a:lnTo>
                  <a:close/>
                </a:path>
              </a:pathLst>
            </a:custGeom>
            <a:solidFill>
              <a:srgbClr val="8FC4D7"/>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GB"/>
            </a:p>
          </p:txBody>
        </p:sp>
      </p:grpSp>
      <p:sp>
        <p:nvSpPr>
          <p:cNvPr id="20" name="Triangolo isoscele 19">
            <a:extLst>
              <a:ext uri="{FF2B5EF4-FFF2-40B4-BE49-F238E27FC236}">
                <a16:creationId xmlns:a16="http://schemas.microsoft.com/office/drawing/2014/main" id="{9C46937E-C489-643F-3854-1122E612FA8B}"/>
              </a:ext>
            </a:extLst>
          </p:cNvPr>
          <p:cNvSpPr/>
          <p:nvPr/>
        </p:nvSpPr>
        <p:spPr>
          <a:xfrm rot="10800000">
            <a:off x="5167735" y="2410723"/>
            <a:ext cx="1856531" cy="517721"/>
          </a:xfrm>
          <a:prstGeom prst="triangle">
            <a:avLst/>
          </a:prstGeom>
          <a:solidFill>
            <a:schemeClr val="bg1">
              <a:lumMod val="95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it-IT"/>
          </a:p>
        </p:txBody>
      </p:sp>
      <p:sp>
        <p:nvSpPr>
          <p:cNvPr id="21" name="Segnaposto numero diapositiva 20">
            <a:extLst>
              <a:ext uri="{FF2B5EF4-FFF2-40B4-BE49-F238E27FC236}">
                <a16:creationId xmlns:a16="http://schemas.microsoft.com/office/drawing/2014/main" id="{C4C39111-E6ED-C5B1-28DA-8323A52BAF5B}"/>
              </a:ext>
            </a:extLst>
          </p:cNvPr>
          <p:cNvSpPr>
            <a:spLocks noGrp="1"/>
          </p:cNvSpPr>
          <p:nvPr>
            <p:ph type="sldNum" sz="quarter" idx="12"/>
          </p:nvPr>
        </p:nvSpPr>
        <p:spPr/>
        <p:txBody>
          <a:bodyPr/>
          <a:lstStyle/>
          <a:p>
            <a:fld id="{00F0C1FD-41C3-4D85-8E51-9C56B45C685D}" type="slidenum">
              <a:rPr lang="it-IT" smtClean="0">
                <a:latin typeface="Open Sans Light" panose="020B0306030504020204" pitchFamily="34" charset="0"/>
                <a:ea typeface="Open Sans Light" panose="020B0306030504020204" pitchFamily="34" charset="0"/>
                <a:cs typeface="Open Sans Light" panose="020B0306030504020204" pitchFamily="34" charset="0"/>
              </a:rPr>
              <a:t>9</a:t>
            </a:fld>
            <a:endParaRPr lang="it-IT">
              <a:latin typeface="Open Sans Light" panose="020B0306030504020204" pitchFamily="34" charset="0"/>
              <a:ea typeface="Open Sans Light" panose="020B0306030504020204" pitchFamily="34" charset="0"/>
              <a:cs typeface="Open Sans Light" panose="020B0306030504020204" pitchFamily="34" charset="0"/>
            </a:endParaRPr>
          </a:p>
        </p:txBody>
      </p:sp>
    </p:spTree>
    <p:extLst>
      <p:ext uri="{BB962C8B-B14F-4D97-AF65-F5344CB8AC3E}">
        <p14:creationId xmlns:p14="http://schemas.microsoft.com/office/powerpoint/2010/main" val="655018557"/>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_mU.NzYZVUWc0XzsDZ_uNg"/>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_mU.NzYZVUWc0XzsDZ_uNg"/>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_mU.NzYZVUWc0XzsDZ_uNg"/>
</p:tagLst>
</file>

<file path=ppt/theme/theme1.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1_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Tema di Office">
  <a:themeElements>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font script="Armn" typeface="Arial"/>
        <a:font script="Bugi" typeface="Leelawadee UI"/>
        <a:font script="Bopo" typeface="Microsoft JhengHei"/>
        <a:font script="Java" typeface="Javanese Text"/>
        <a:font script="Lisu" typeface="Segoe UI"/>
        <a:font script="Mymr" typeface="Myanmar Text"/>
        <a:font script="Nkoo" typeface="Ebrima"/>
        <a:font script="Olck" typeface="Nirmala UI"/>
        <a:font script="Osma" typeface="Ebrima"/>
        <a:font script="Phag" typeface="Phagspa"/>
        <a:font script="Syrn" typeface="Estrangelo Edessa"/>
        <a:font script="Syrj" typeface="Estrangelo Edessa"/>
        <a:font script="Syre" typeface="Estrangelo Edessa"/>
        <a:font script="Sora" typeface="Nirmala UI"/>
        <a:font script="Tale" typeface="Microsoft Tai Le"/>
        <a:font script="Talu" typeface="Microsoft New Tai Lue"/>
        <a:font script="Tfng" typeface="Ebrima"/>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Override1.xml><?xml version="1.0" encoding="utf-8"?>
<a:themeOverride xmlns:a="http://schemas.openxmlformats.org/drawingml/2006/main">
  <a:clrScheme name="Office">
    <a:dk1>
      <a:sysClr val="windowText" lastClr="000000"/>
    </a:dk1>
    <a:lt1>
      <a:sysClr val="window" lastClr="FFFFFF"/>
    </a:lt1>
    <a:dk2>
      <a:srgbClr val="44546A"/>
    </a:dk2>
    <a:lt2>
      <a:srgbClr val="E7E6E6"/>
    </a:lt2>
    <a:accent1>
      <a:srgbClr val="4472C4"/>
    </a:accent1>
    <a:accent2>
      <a:srgbClr val="ED7D31"/>
    </a:accent2>
    <a:accent3>
      <a:srgbClr val="A5A5A5"/>
    </a:accent3>
    <a:accent4>
      <a:srgbClr val="FFC000"/>
    </a:accent4>
    <a:accent5>
      <a:srgbClr val="5B9BD5"/>
    </a:accent5>
    <a:accent6>
      <a:srgbClr val="70AD47"/>
    </a:accent6>
    <a:hlink>
      <a:srgbClr val="0563C1"/>
    </a:hlink>
    <a:folHlink>
      <a:srgbClr val="954F72"/>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_activity xmlns="8c3c3aba-1c94-4c59-baa0-1a426c85e1fd" xsi:nil="true"/>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2041B1CBE89ECD4194A97600B763DF19" ma:contentTypeVersion="13" ma:contentTypeDescription="Create a new document." ma:contentTypeScope="" ma:versionID="df5e509ea1a743b24ef8a280094b785a">
  <xsd:schema xmlns:xsd="http://www.w3.org/2001/XMLSchema" xmlns:xs="http://www.w3.org/2001/XMLSchema" xmlns:p="http://schemas.microsoft.com/office/2006/metadata/properties" xmlns:ns3="039b7753-5e5d-49e9-b10e-889f45b6321f" xmlns:ns4="8c3c3aba-1c94-4c59-baa0-1a426c85e1fd" targetNamespace="http://schemas.microsoft.com/office/2006/metadata/properties" ma:root="true" ma:fieldsID="582ca926fa67a80d6d09c6b493275f3e" ns3:_="" ns4:_="">
    <xsd:import namespace="039b7753-5e5d-49e9-b10e-889f45b6321f"/>
    <xsd:import namespace="8c3c3aba-1c94-4c59-baa0-1a426c85e1fd"/>
    <xsd:element name="properties">
      <xsd:complexType>
        <xsd:sequence>
          <xsd:element name="documentManagement">
            <xsd:complexType>
              <xsd:all>
                <xsd:element ref="ns3:SharedWithUsers" minOccurs="0"/>
                <xsd:element ref="ns3:SharedWithDetails" minOccurs="0"/>
                <xsd:element ref="ns3:SharingHintHash" minOccurs="0"/>
                <xsd:element ref="ns4:MediaServiceMetadata" minOccurs="0"/>
                <xsd:element ref="ns4:MediaServiceFastMetadata" minOccurs="0"/>
                <xsd:element ref="ns4:MediaServiceAutoTags" minOccurs="0"/>
                <xsd:element ref="ns4:MediaServiceOCR" minOccurs="0"/>
                <xsd:element ref="ns4:MediaServiceGenerationTime" minOccurs="0"/>
                <xsd:element ref="ns4:MediaServiceEventHashCode" minOccurs="0"/>
                <xsd:element ref="ns4:MediaServiceDateTaken" minOccurs="0"/>
                <xsd:element ref="ns4:MediaLengthInSeconds" minOccurs="0"/>
                <xsd:element ref="ns4:_activity" minOccurs="0"/>
                <xsd:element ref="ns4:MediaServiceObjectDetectorVersions"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039b7753-5e5d-49e9-b10e-889f45b6321f" elementFormDefault="qualified">
    <xsd:import namespace="http://schemas.microsoft.com/office/2006/documentManagement/types"/>
    <xsd:import namespace="http://schemas.microsoft.com/office/infopath/2007/PartnerControls"/>
    <xsd:element name="SharedWithUsers" ma:index="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9" nillable="true" ma:displayName="Shared With Details" ma:internalName="SharedWithDetails" ma:readOnly="true">
      <xsd:simpleType>
        <xsd:restriction base="dms:Note">
          <xsd:maxLength value="255"/>
        </xsd:restriction>
      </xsd:simpleType>
    </xsd:element>
    <xsd:element name="SharingHintHash" ma:index="10" nillable="true" ma:displayName="Sharing Hint Hash" ma:hidden="true" ma:internalName="SharingHintHash"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8c3c3aba-1c94-4c59-baa0-1a426c85e1fd" elementFormDefault="qualified">
    <xsd:import namespace="http://schemas.microsoft.com/office/2006/documentManagement/types"/>
    <xsd:import namespace="http://schemas.microsoft.com/office/infopath/2007/PartnerControls"/>
    <xsd:element name="MediaServiceMetadata" ma:index="11" nillable="true" ma:displayName="MediaServiceMetadata" ma:hidden="true" ma:internalName="MediaServiceMetadata" ma:readOnly="true">
      <xsd:simpleType>
        <xsd:restriction base="dms:Note"/>
      </xsd:simpleType>
    </xsd:element>
    <xsd:element name="MediaServiceFastMetadata" ma:index="12" nillable="true" ma:displayName="MediaServiceFastMetadata" ma:hidden="true" ma:internalName="MediaServiceFastMetadata" ma:readOnly="true">
      <xsd:simpleType>
        <xsd:restriction base="dms:Note"/>
      </xsd:simpleType>
    </xsd:element>
    <xsd:element name="MediaServiceAutoTags" ma:index="13" nillable="true" ma:displayName="Tags" ma:internalName="MediaServiceAutoTags"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GenerationTime" ma:index="15" nillable="true" ma:displayName="MediaServiceGenerationTime" ma:hidden="true" ma:internalName="MediaServiceGenerationTime" ma:readOnly="true">
      <xsd:simpleType>
        <xsd:restriction base="dms:Text"/>
      </xsd:simpleType>
    </xsd:element>
    <xsd:element name="MediaServiceEventHashCode" ma:index="16" nillable="true" ma:displayName="MediaServiceEventHashCode" ma:hidden="true" ma:internalName="MediaServiceEventHashCode" ma:readOnly="true">
      <xsd:simpleType>
        <xsd:restriction base="dms:Text"/>
      </xsd:simpleType>
    </xsd:element>
    <xsd:element name="MediaServiceDateTaken" ma:index="17" nillable="true" ma:displayName="MediaServiceDateTaken" ma:hidden="true" ma:internalName="MediaServiceDateTaken" ma:readOnly="true">
      <xsd:simpleType>
        <xsd:restriction base="dms:Text"/>
      </xsd:simpleType>
    </xsd:element>
    <xsd:element name="MediaLengthInSeconds" ma:index="18" nillable="true" ma:displayName="MediaLengthInSeconds" ma:hidden="true" ma:internalName="MediaLengthInSeconds" ma:readOnly="true">
      <xsd:simpleType>
        <xsd:restriction base="dms:Unknown"/>
      </xsd:simpleType>
    </xsd:element>
    <xsd:element name="_activity" ma:index="19" nillable="true" ma:displayName="_activity" ma:hidden="true" ma:internalName="_activity">
      <xsd:simpleType>
        <xsd:restriction base="dms:Note"/>
      </xsd:simpleType>
    </xsd:element>
    <xsd:element name="MediaServiceObjectDetectorVersions" ma:index="20" nillable="true" ma:displayName="MediaServiceObjectDetectorVersions" ma:hidden="true" ma:indexed="true" ma:internalName="MediaServiceObjectDetectorVersions"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1710DFE8-62C7-4A47-AA01-9995901A1FFD}">
  <ds:schemaRefs>
    <ds:schemaRef ds:uri="http://schemas.microsoft.com/sharepoint/v3/contenttype/forms"/>
  </ds:schemaRefs>
</ds:datastoreItem>
</file>

<file path=customXml/itemProps2.xml><?xml version="1.0" encoding="utf-8"?>
<ds:datastoreItem xmlns:ds="http://schemas.openxmlformats.org/officeDocument/2006/customXml" ds:itemID="{A9C7447B-D1E0-48BD-B61A-BA4478D45CDC}">
  <ds:schemaRefs>
    <ds:schemaRef ds:uri="039b7753-5e5d-49e9-b10e-889f45b6321f"/>
    <ds:schemaRef ds:uri="8c3c3aba-1c94-4c59-baa0-1a426c85e1fd"/>
    <ds:schemaRef ds:uri="http://purl.org/dc/dcmitype/"/>
    <ds:schemaRef ds:uri="http://purl.org/dc/elements/1.1/"/>
    <ds:schemaRef ds:uri="http://purl.org/dc/terms/"/>
    <ds:schemaRef ds:uri="http://schemas.microsoft.com/office/2006/documentManagement/types"/>
    <ds:schemaRef ds:uri="http://schemas.microsoft.com/office/2006/metadata/properties"/>
    <ds:schemaRef ds:uri="http://schemas.microsoft.com/office/infopath/2007/PartnerControls"/>
    <ds:schemaRef ds:uri="http://schemas.openxmlformats.org/package/2006/metadata/core-properties"/>
    <ds:schemaRef ds:uri="http://www.w3.org/XML/1998/namespace"/>
  </ds:schemaRefs>
</ds:datastoreItem>
</file>

<file path=customXml/itemProps3.xml><?xml version="1.0" encoding="utf-8"?>
<ds:datastoreItem xmlns:ds="http://schemas.openxmlformats.org/officeDocument/2006/customXml" ds:itemID="{9F021BD4-E735-4E9A-AAEA-9A63BF2B644F}">
  <ds:schemaRefs>
    <ds:schemaRef ds:uri="039b7753-5e5d-49e9-b10e-889f45b6321f"/>
    <ds:schemaRef ds:uri="8c3c3aba-1c94-4c59-baa0-1a426c85e1fd"/>
    <ds:schemaRef ds:uri="http://purl.org/dc/elements/1.1/"/>
    <ds:schemaRef ds:uri="http://purl.org/dc/terms/"/>
    <ds:schemaRef ds:uri="http://schemas.microsoft.com/internal/obd"/>
    <ds:schemaRef ds:uri="http://schemas.microsoft.com/office/2006/documentManagement/types"/>
    <ds:schemaRef ds:uri="http://schemas.microsoft.com/office/2006/metadata/contentType"/>
    <ds:schemaRef ds:uri="http://schemas.microsoft.com/office/2006/metadata/properties"/>
    <ds:schemaRef ds:uri="http://schemas.microsoft.com/office/2006/metadata/properties/metaAttributes"/>
    <ds:schemaRef ds:uri="http://schemas.microsoft.com/office/infopath/2007/PartnerControls"/>
    <ds:schemaRef ds:uri="http://schemas.openxmlformats.org/package/2006/metadata/core-properties"/>
    <ds:schemaRef ds:uri="http://www.w3.org/2001/XMLSchema"/>
  </ds:schemaRefs>
</ds:datastoreItem>
</file>

<file path=docMetadata/LabelInfo.xml><?xml version="1.0" encoding="utf-8"?>
<clbl:labelList xmlns:clbl="http://schemas.microsoft.com/office/2020/mipLabelMetadata">
  <clbl:label id="{deff24bb-2089-4400-8c8e-f71e680378b2}" enabled="0" method="" siteId="{deff24bb-2089-4400-8c8e-f71e680378b2}" removed="1"/>
</clbl:labelList>
</file>

<file path=docProps/app.xml><?xml version="1.0" encoding="utf-8"?>
<Properties xmlns="http://schemas.openxmlformats.org/officeDocument/2006/extended-properties" xmlns:vt="http://schemas.openxmlformats.org/officeDocument/2006/docPropsVTypes">
  <TotalTime>5772</TotalTime>
  <Words>2352</Words>
  <Application>Microsoft Office PowerPoint</Application>
  <PresentationFormat>Widescreen</PresentationFormat>
  <Paragraphs>194</Paragraphs>
  <Slides>26</Slides>
  <Notes>9</Notes>
  <HiddenSlides>0</HiddenSlides>
  <MMClips>0</MMClips>
  <ScaleCrop>false</ScaleCrop>
  <HeadingPairs>
    <vt:vector size="8" baseType="variant">
      <vt:variant>
        <vt:lpstr>Caratteri utilizzati</vt:lpstr>
      </vt:variant>
      <vt:variant>
        <vt:i4>6</vt:i4>
      </vt:variant>
      <vt:variant>
        <vt:lpstr>Tema</vt:lpstr>
      </vt:variant>
      <vt:variant>
        <vt:i4>2</vt:i4>
      </vt:variant>
      <vt:variant>
        <vt:lpstr>Server OLE incorporati</vt:lpstr>
      </vt:variant>
      <vt:variant>
        <vt:i4>1</vt:i4>
      </vt:variant>
      <vt:variant>
        <vt:lpstr>Titoli diapositive</vt:lpstr>
      </vt:variant>
      <vt:variant>
        <vt:i4>26</vt:i4>
      </vt:variant>
    </vt:vector>
  </HeadingPairs>
  <TitlesOfParts>
    <vt:vector size="35" baseType="lpstr">
      <vt:lpstr>Arial</vt:lpstr>
      <vt:lpstr>Calibri</vt:lpstr>
      <vt:lpstr>Calibri Light</vt:lpstr>
      <vt:lpstr>Open Sans</vt:lpstr>
      <vt:lpstr>Open Sans Light</vt:lpstr>
      <vt:lpstr>Wingdings</vt:lpstr>
      <vt:lpstr>Tema di Office</vt:lpstr>
      <vt:lpstr>1_Tema di Office</vt:lpstr>
      <vt:lpstr>Diapositiva think-cell</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Presentazione standard di PowerPoint</vt:lpstr>
      <vt:lpstr>UNICA: abilitazione e funzioni Abilitazione dei docenti tutor</vt:lpstr>
      <vt:lpstr>UNICA: abilitazione e funzioni Visualizzazione E-Portfolio degli studenti associati</vt:lpstr>
      <vt:lpstr>UNICA: abilitazione e funzioni Calendario degli incontri e delle scadenze</vt:lpstr>
      <vt:lpstr>UNICA: abilitazione e funzioni Canali di assistenza</vt:lpstr>
      <vt:lpstr>Presentazione standard di PowerPoint</vt:lpstr>
      <vt:lpstr>Presentazione standard di PowerPoint</vt:lpstr>
      <vt:lpstr>Presentazione standard di PowerPoint</vt:lpstr>
      <vt:lpstr>Presentazione standard di PowerPoint</vt:lpstr>
    </vt:vector>
  </TitlesOfParts>
  <Company>MIUR</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Linee guida per l’orientamento (D.M. 22 dicembre 2022, n. 328)</dc:title>
  <dc:creator>NAPOLI DIANA</dc:creator>
  <cp:lastModifiedBy>Lattanzi, Giulietta</cp:lastModifiedBy>
  <cp:revision>9</cp:revision>
  <dcterms:created xsi:type="dcterms:W3CDTF">2023-10-31T10:21:51Z</dcterms:created>
  <dcterms:modified xsi:type="dcterms:W3CDTF">2023-11-13T14:23:41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2041B1CBE89ECD4194A97600B763DF19</vt:lpwstr>
  </property>
</Properties>
</file>